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xml" ContentType="application/vnd.openxmlformats-officedocument.drawingml.chartshape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87"/>
  </p:notesMasterIdLst>
  <p:handoutMasterIdLst>
    <p:handoutMasterId r:id="rId88"/>
  </p:handoutMasterIdLst>
  <p:sldIdLst>
    <p:sldId id="1042" r:id="rId6"/>
    <p:sldId id="2147196812" r:id="rId7"/>
    <p:sldId id="30051" r:id="rId8"/>
    <p:sldId id="2147196794" r:id="rId9"/>
    <p:sldId id="2147196803" r:id="rId10"/>
    <p:sldId id="2147196802" r:id="rId11"/>
    <p:sldId id="2147196804" r:id="rId12"/>
    <p:sldId id="2147196799" r:id="rId13"/>
    <p:sldId id="2147196806" r:id="rId14"/>
    <p:sldId id="2147196805" r:id="rId15"/>
    <p:sldId id="30052" r:id="rId16"/>
    <p:sldId id="2147196807" r:id="rId17"/>
    <p:sldId id="30053" r:id="rId18"/>
    <p:sldId id="2147196798" r:id="rId19"/>
    <p:sldId id="2147196834" r:id="rId20"/>
    <p:sldId id="2147196820" r:id="rId21"/>
    <p:sldId id="2147196821" r:id="rId22"/>
    <p:sldId id="2147196823" r:id="rId23"/>
    <p:sldId id="2147196824" r:id="rId24"/>
    <p:sldId id="2147196822" r:id="rId25"/>
    <p:sldId id="30054" r:id="rId26"/>
    <p:sldId id="2147196835" r:id="rId27"/>
    <p:sldId id="30055" r:id="rId28"/>
    <p:sldId id="2147196828" r:id="rId29"/>
    <p:sldId id="2147196808" r:id="rId30"/>
    <p:sldId id="2147196836" r:id="rId31"/>
    <p:sldId id="2147196826" r:id="rId32"/>
    <p:sldId id="2147196837" r:id="rId33"/>
    <p:sldId id="2147196830" r:id="rId34"/>
    <p:sldId id="2147196810" r:id="rId35"/>
    <p:sldId id="2147196831" r:id="rId36"/>
    <p:sldId id="2147196811" r:id="rId37"/>
    <p:sldId id="2147196818" r:id="rId38"/>
    <p:sldId id="2147196832" r:id="rId39"/>
    <p:sldId id="2147196809" r:id="rId40"/>
    <p:sldId id="2147196796" r:id="rId41"/>
    <p:sldId id="2147196825" r:id="rId42"/>
    <p:sldId id="2147196827" r:id="rId43"/>
    <p:sldId id="1051" r:id="rId44"/>
    <p:sldId id="390" r:id="rId45"/>
    <p:sldId id="30056" r:id="rId46"/>
    <p:sldId id="391" r:id="rId47"/>
    <p:sldId id="392" r:id="rId48"/>
    <p:sldId id="2147196795" r:id="rId49"/>
    <p:sldId id="1043" r:id="rId50"/>
    <p:sldId id="1044" r:id="rId51"/>
    <p:sldId id="1001" r:id="rId52"/>
    <p:sldId id="1007" r:id="rId53"/>
    <p:sldId id="276" r:id="rId54"/>
    <p:sldId id="1008" r:id="rId55"/>
    <p:sldId id="1045" r:id="rId56"/>
    <p:sldId id="1046" r:id="rId57"/>
    <p:sldId id="1049" r:id="rId58"/>
    <p:sldId id="1039" r:id="rId59"/>
    <p:sldId id="265" r:id="rId60"/>
    <p:sldId id="1033" r:id="rId61"/>
    <p:sldId id="261" r:id="rId62"/>
    <p:sldId id="1015" r:id="rId63"/>
    <p:sldId id="999" r:id="rId64"/>
    <p:sldId id="266" r:id="rId65"/>
    <p:sldId id="267" r:id="rId66"/>
    <p:sldId id="1037" r:id="rId67"/>
    <p:sldId id="1009" r:id="rId68"/>
    <p:sldId id="1010" r:id="rId69"/>
    <p:sldId id="1023" r:id="rId70"/>
    <p:sldId id="1011" r:id="rId71"/>
    <p:sldId id="273" r:id="rId72"/>
    <p:sldId id="1038" r:id="rId73"/>
    <p:sldId id="285" r:id="rId74"/>
    <p:sldId id="638" r:id="rId75"/>
    <p:sldId id="1027" r:id="rId76"/>
    <p:sldId id="1028" r:id="rId77"/>
    <p:sldId id="1041" r:id="rId78"/>
    <p:sldId id="1025" r:id="rId79"/>
    <p:sldId id="1050" r:id="rId80"/>
    <p:sldId id="414" r:id="rId81"/>
    <p:sldId id="995" r:id="rId82"/>
    <p:sldId id="996" r:id="rId83"/>
    <p:sldId id="270" r:id="rId84"/>
    <p:sldId id="269" r:id="rId85"/>
    <p:sldId id="1030" r:id="rId86"/>
  </p:sldIdLst>
  <p:sldSz cx="12192000" cy="6858000"/>
  <p:notesSz cx="6858000" cy="9144000"/>
  <p:embeddedFontLst>
    <p:embeddedFont>
      <p:font typeface="Calibri" panose="020F0502020204030204" pitchFamily="34" charset="0"/>
      <p:regular r:id="rId89"/>
      <p:bold r:id="rId90"/>
      <p:italic r:id="rId91"/>
      <p:boldItalic r:id="rId92"/>
    </p:embeddedFont>
    <p:embeddedFont>
      <p:font typeface="Open Sans" panose="020B0606030504020204" pitchFamily="34" charset="0"/>
      <p:regular r:id="rId93"/>
      <p:bold r:id="rId94"/>
      <p:italic r:id="rId95"/>
      <p:boldItalic r:id="rId96"/>
    </p:embeddedFont>
    <p:embeddedFont>
      <p:font typeface="Ubuntu" panose="020B0504030602030204" pitchFamily="34" charset="0"/>
      <p:regular r:id="rId97"/>
      <p:bold r:id="rId98"/>
      <p:italic r:id="rId99"/>
      <p:boldItalic r:id="rId100"/>
    </p:embeddedFont>
    <p:embeddedFont>
      <p:font typeface="Ubuntu Light" panose="020B0304030602030204" pitchFamily="34" charset="0"/>
      <p:regular r:id="rId101"/>
      <p:italic r:id="rId102"/>
    </p:embeddedFont>
    <p:embeddedFont>
      <p:font typeface="Ubuntu Medium" panose="020B0504030602030204" pitchFamily="34" charset="0"/>
      <p:regular r:id="rId103"/>
      <p:italic r:id="rId104"/>
    </p:embeddedFont>
    <p:embeddedFont>
      <p:font typeface="Verdana" panose="020B0604030504040204" pitchFamily="34" charset="0"/>
      <p:regular r:id="rId105"/>
      <p:bold r:id="rId106"/>
      <p:italic r:id="rId107"/>
      <p:boldItalic r:id="rId108"/>
    </p:embeddedFont>
  </p:embeddedFontLst>
  <p:custDataLst>
    <p:tags r:id="rId10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CF4B10E-ED96-4933-AD61-0CE41D013653}">
          <p14:sldIdLst>
            <p14:sldId id="1042"/>
          </p14:sldIdLst>
        </p14:section>
        <p14:section name="Introduction" id="{D41BE3DA-75E1-485F-B5A4-26A38B392C20}">
          <p14:sldIdLst>
            <p14:sldId id="2147196812"/>
            <p14:sldId id="30051"/>
            <p14:sldId id="2147196794"/>
            <p14:sldId id="2147196803"/>
            <p14:sldId id="2147196802"/>
            <p14:sldId id="2147196804"/>
            <p14:sldId id="2147196799"/>
            <p14:sldId id="2147196806"/>
            <p14:sldId id="2147196805"/>
          </p14:sldIdLst>
        </p14:section>
        <p14:section name="Governance domains" id="{B99A2D51-F661-49EF-B6F6-9DA610EC32A1}">
          <p14:sldIdLst>
            <p14:sldId id="30052"/>
            <p14:sldId id="2147196807"/>
            <p14:sldId id="30053"/>
            <p14:sldId id="2147196798"/>
            <p14:sldId id="2147196834"/>
            <p14:sldId id="2147196820"/>
            <p14:sldId id="2147196821"/>
            <p14:sldId id="2147196823"/>
            <p14:sldId id="2147196824"/>
            <p14:sldId id="2147196822"/>
            <p14:sldId id="30054"/>
            <p14:sldId id="2147196835"/>
            <p14:sldId id="30055"/>
            <p14:sldId id="2147196828"/>
            <p14:sldId id="2147196808"/>
            <p14:sldId id="2147196836"/>
            <p14:sldId id="2147196826"/>
            <p14:sldId id="2147196837"/>
          </p14:sldIdLst>
        </p14:section>
        <p14:section name="Wrap up" id="{F8B3532F-F2F0-46C9-9BC8-0DA8FE88CB03}">
          <p14:sldIdLst>
            <p14:sldId id="2147196830"/>
            <p14:sldId id="2147196810"/>
            <p14:sldId id="2147196831"/>
            <p14:sldId id="2147196811"/>
            <p14:sldId id="2147196818"/>
            <p14:sldId id="2147196832"/>
            <p14:sldId id="2147196809"/>
            <p14:sldId id="2147196796"/>
            <p14:sldId id="2147196825"/>
            <p14:sldId id="2147196827"/>
            <p14:sldId id="1051"/>
            <p14:sldId id="390"/>
            <p14:sldId id="30056"/>
            <p14:sldId id="391"/>
            <p14:sldId id="392"/>
            <p14:sldId id="2147196795"/>
            <p14:sldId id="1043"/>
            <p14:sldId id="1044"/>
            <p14:sldId id="1001"/>
            <p14:sldId id="1007"/>
            <p14:sldId id="276"/>
            <p14:sldId id="1008"/>
            <p14:sldId id="1045"/>
            <p14:sldId id="1046"/>
            <p14:sldId id="1049"/>
            <p14:sldId id="1039"/>
            <p14:sldId id="265"/>
            <p14:sldId id="1033"/>
            <p14:sldId id="261"/>
            <p14:sldId id="1015"/>
            <p14:sldId id="999"/>
            <p14:sldId id="266"/>
            <p14:sldId id="267"/>
            <p14:sldId id="1037"/>
            <p14:sldId id="1009"/>
            <p14:sldId id="1010"/>
            <p14:sldId id="1023"/>
            <p14:sldId id="1011"/>
            <p14:sldId id="273"/>
            <p14:sldId id="1038"/>
            <p14:sldId id="285"/>
            <p14:sldId id="638"/>
            <p14:sldId id="1027"/>
            <p14:sldId id="1028"/>
            <p14:sldId id="1041"/>
            <p14:sldId id="1025"/>
            <p14:sldId id="1050"/>
            <p14:sldId id="414"/>
            <p14:sldId id="995"/>
            <p14:sldId id="996"/>
            <p14:sldId id="270"/>
            <p14:sldId id="269"/>
            <p14:sldId id="1030"/>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BCD9"/>
    <a:srgbClr val="000000"/>
    <a:srgbClr val="57A0C9"/>
    <a:srgbClr val="272936"/>
    <a:srgbClr val="0E80A4"/>
    <a:srgbClr val="246E5B"/>
    <a:srgbClr val="12ABDB"/>
    <a:srgbClr val="0070AD"/>
    <a:srgbClr val="880865"/>
    <a:srgbClr val="C5CA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7523A0-D843-0C40-BBCC-47822E2AEDC2}" v="60" dt="2022-06-02T13:38:30.6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52"/>
    <p:restoredTop sz="90981" autoAdjust="0"/>
  </p:normalViewPr>
  <p:slideViewPr>
    <p:cSldViewPr snapToGrid="0">
      <p:cViewPr varScale="1">
        <p:scale>
          <a:sx n="99" d="100"/>
          <a:sy n="99" d="100"/>
        </p:scale>
        <p:origin x="960" y="168"/>
      </p:cViewPr>
      <p:guideLst>
        <p:guide orient="horz" pos="2341"/>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font" Target="fonts/font1.fntdata"/><Relationship Id="rId112" Type="http://schemas.openxmlformats.org/officeDocument/2006/relationships/theme" Target="theme/theme1.xml"/><Relationship Id="rId16" Type="http://schemas.openxmlformats.org/officeDocument/2006/relationships/slide" Target="slides/slide11.xml"/><Relationship Id="rId107" Type="http://schemas.openxmlformats.org/officeDocument/2006/relationships/font" Target="fonts/font19.fntdata"/><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font" Target="fonts/font14.fntdata"/><Relationship Id="rId5" Type="http://schemas.openxmlformats.org/officeDocument/2006/relationships/slideMaster" Target="slideMasters/slideMaster2.xml"/><Relationship Id="rId90" Type="http://schemas.openxmlformats.org/officeDocument/2006/relationships/font" Target="fonts/font2.fntdata"/><Relationship Id="rId95" Type="http://schemas.openxmlformats.org/officeDocument/2006/relationships/font" Target="fonts/font7.fntdata"/><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tableStyles" Target="tableStyle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font" Target="fonts/font15.fntdata"/><Relationship Id="rId108" Type="http://schemas.openxmlformats.org/officeDocument/2006/relationships/font" Target="fonts/font20.fntdata"/><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font" Target="fonts/font3.fntdata"/><Relationship Id="rId96"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font" Target="fonts/font18.fntdata"/><Relationship Id="rId114" Type="http://schemas.microsoft.com/office/2015/10/relationships/revisionInfo" Target="revisionInfo.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font" Target="fonts/font6.fntdata"/><Relationship Id="rId99" Type="http://schemas.openxmlformats.org/officeDocument/2006/relationships/font" Target="fonts/font11.fntdata"/><Relationship Id="rId101"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tags" Target="tags/tag1.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font" Target="fonts/font9.fntdata"/><Relationship Id="rId104" Type="http://schemas.openxmlformats.org/officeDocument/2006/relationships/font" Target="fonts/font16.fntdata"/><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font" Target="fonts/font4.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notesMaster" Target="notesMasters/notesMaster1.xml"/><Relationship Id="rId110" Type="http://schemas.openxmlformats.org/officeDocument/2006/relationships/presProps" Target="presProp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font" Target="fonts/font12.fntdata"/><Relationship Id="rId105" Type="http://schemas.openxmlformats.org/officeDocument/2006/relationships/font" Target="fonts/font17.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font" Target="fonts/font5.fntdata"/><Relationship Id="rId98" Type="http://schemas.openxmlformats.org/officeDocument/2006/relationships/font" Target="fonts/font10.fntdata"/><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handoutMaster" Target="handoutMasters/handoutMaster1.xml"/><Relationship Id="rId11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regneark.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regneark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regneark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regneark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regneark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regneark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regneark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r>
              <a:rPr lang="en-GB" b="1">
                <a:latin typeface="Ubuntu" panose="020B0504030602030204" pitchFamily="34" charset="0"/>
              </a:rPr>
              <a:t>Title</a:t>
            </a:r>
          </a:p>
          <a:p>
            <a:pPr algn="l">
              <a:defRPr sz="1862" b="0" i="0" u="none" strike="noStrike" kern="1200" spc="0" baseline="0">
                <a:solidFill>
                  <a:schemeClr val="tx1"/>
                </a:solidFill>
                <a:latin typeface="Ubuntu" panose="020B0504030602030204" pitchFamily="34" charset="0"/>
                <a:ea typeface="+mn-ea"/>
                <a:cs typeface="+mn-cs"/>
              </a:defRPr>
            </a:pPr>
            <a:r>
              <a:rPr lang="en-GB">
                <a:latin typeface="Ubuntu" panose="020B0504030602030204" pitchFamily="34" charset="0"/>
              </a:rPr>
              <a:t>Unit of measurement</a:t>
            </a:r>
            <a:endParaRPr lang="en-US">
              <a:latin typeface="Ubuntu" panose="020B0504030602030204" pitchFamily="34" charset="0"/>
            </a:endParaRPr>
          </a:p>
        </c:rich>
      </c:tx>
      <c:layout>
        <c:manualLayout>
          <c:xMode val="edge"/>
          <c:yMode val="edge"/>
          <c:x val="7.2362947596073951E-2"/>
          <c:y val="1.602136181575434E-2"/>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endParaRPr lang="nb-NO"/>
        </a:p>
      </c:txPr>
    </c:title>
    <c:autoTitleDeleted val="0"/>
    <c:plotArea>
      <c:layout>
        <c:manualLayout>
          <c:layoutTarget val="inner"/>
          <c:xMode val="edge"/>
          <c:yMode val="edge"/>
          <c:x val="4.0652523933918841E-2"/>
          <c:y val="0.11959946595460615"/>
          <c:w val="0.91869495213216235"/>
          <c:h val="0.80736520084522145"/>
        </c:manualLayout>
      </c:layout>
      <c:barChart>
        <c:barDir val="col"/>
        <c:grouping val="stacked"/>
        <c:varyColors val="0"/>
        <c:ser>
          <c:idx val="0"/>
          <c:order val="0"/>
          <c:tx>
            <c:strRef>
              <c:f>Sheet1!$B$1</c:f>
              <c:strCache>
                <c:ptCount val="1"/>
                <c:pt idx="0">
                  <c:v>Sales</c:v>
                </c:pt>
              </c:strCache>
            </c:strRef>
          </c:tx>
          <c:spPr>
            <a:solidFill>
              <a:schemeClr val="accent1"/>
            </a:solidFill>
            <a:ln w="19050">
              <a:noFill/>
            </a:ln>
            <a:effectLst/>
          </c:spPr>
          <c:invertIfNegative val="0"/>
          <c:dPt>
            <c:idx val="0"/>
            <c:invertIfNegative val="0"/>
            <c:bubble3D val="0"/>
            <c:extLst>
              <c:ext xmlns:c16="http://schemas.microsoft.com/office/drawing/2014/chart" uri="{C3380CC4-5D6E-409C-BE32-E72D297353CC}">
                <c16:uniqueId val="{00000001-C16F-47A7-9861-D1AB0D9FAD2A}"/>
              </c:ext>
            </c:extLst>
          </c:dPt>
          <c:dPt>
            <c:idx val="1"/>
            <c:invertIfNegative val="0"/>
            <c:bubble3D val="0"/>
            <c:spPr>
              <a:solidFill>
                <a:schemeClr val="accent2"/>
              </a:solidFill>
              <a:ln w="19050">
                <a:noFill/>
              </a:ln>
              <a:effectLst/>
            </c:spPr>
            <c:extLst>
              <c:ext xmlns:c16="http://schemas.microsoft.com/office/drawing/2014/chart" uri="{C3380CC4-5D6E-409C-BE32-E72D297353CC}">
                <c16:uniqueId val="{00000003-C16F-47A7-9861-D1AB0D9FAD2A}"/>
              </c:ext>
            </c:extLst>
          </c:dPt>
          <c:dPt>
            <c:idx val="2"/>
            <c:invertIfNegative val="0"/>
            <c:bubble3D val="0"/>
            <c:spPr>
              <a:solidFill>
                <a:schemeClr val="accent3"/>
              </a:solidFill>
              <a:ln w="19050">
                <a:noFill/>
              </a:ln>
              <a:effectLst/>
            </c:spPr>
            <c:extLst>
              <c:ext xmlns:c16="http://schemas.microsoft.com/office/drawing/2014/chart" uri="{C3380CC4-5D6E-409C-BE32-E72D297353CC}">
                <c16:uniqueId val="{00000005-C16F-47A7-9861-D1AB0D9FAD2A}"/>
              </c:ext>
            </c:extLst>
          </c:dPt>
          <c:dPt>
            <c:idx val="3"/>
            <c:invertIfNegative val="0"/>
            <c:bubble3D val="0"/>
            <c:spPr>
              <a:solidFill>
                <a:schemeClr val="accent4"/>
              </a:solidFill>
              <a:ln w="19050">
                <a:noFill/>
              </a:ln>
              <a:effectLst/>
            </c:spPr>
            <c:extLst>
              <c:ext xmlns:c16="http://schemas.microsoft.com/office/drawing/2014/chart" uri="{C3380CC4-5D6E-409C-BE32-E72D297353CC}">
                <c16:uniqueId val="{00000007-C16F-47A7-9861-D1AB0D9FAD2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dLbls>
        <c:gapWidth val="37"/>
        <c:overlap val="100"/>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Ubuntu" panose="020B0504030602030204" pitchFamily="34" charset="0"/>
                <a:ea typeface="+mn-ea"/>
                <a:cs typeface="+mn-cs"/>
              </a:defRPr>
            </a:pPr>
            <a:endParaRPr lang="nb-NO"/>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r>
              <a:rPr lang="en-GB" b="1"/>
              <a:t>Title</a:t>
            </a:r>
          </a:p>
          <a:p>
            <a:pPr algn="l">
              <a:defRPr sz="1862" b="0" i="0" u="none" strike="noStrike" kern="1200" spc="0" baseline="0">
                <a:solidFill>
                  <a:schemeClr val="tx1"/>
                </a:solidFill>
                <a:latin typeface="Ubuntu" panose="020B0504030602030204" pitchFamily="34" charset="0"/>
                <a:ea typeface="+mn-ea"/>
                <a:cs typeface="+mn-cs"/>
              </a:defRPr>
            </a:pPr>
            <a:r>
              <a:rPr lang="en-GB"/>
              <a:t>Unit of measurement</a:t>
            </a:r>
            <a:endParaRPr lang="en-US"/>
          </a:p>
        </c:rich>
      </c:tx>
      <c:layout>
        <c:manualLayout>
          <c:xMode val="edge"/>
          <c:yMode val="edge"/>
          <c:x val="7.2362947596073951E-2"/>
          <c:y val="1.602136181575434E-2"/>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endParaRPr lang="nb-NO"/>
        </a:p>
      </c:txPr>
    </c:title>
    <c:autoTitleDeleted val="0"/>
    <c:plotArea>
      <c:layout>
        <c:manualLayout>
          <c:layoutTarget val="inner"/>
          <c:xMode val="edge"/>
          <c:yMode val="edge"/>
          <c:x val="4.0652523933918841E-2"/>
          <c:y val="0.11959946595460615"/>
          <c:w val="0.91869495213216235"/>
          <c:h val="0.80736520084522145"/>
        </c:manualLayout>
      </c:layout>
      <c:barChart>
        <c:barDir val="col"/>
        <c:grouping val="stacked"/>
        <c:varyColors val="0"/>
        <c:ser>
          <c:idx val="0"/>
          <c:order val="0"/>
          <c:tx>
            <c:strRef>
              <c:f>Sheet1!$B$1</c:f>
              <c:strCache>
                <c:ptCount val="1"/>
                <c:pt idx="0">
                  <c:v>Sales</c:v>
                </c:pt>
              </c:strCache>
            </c:strRef>
          </c:tx>
          <c:spPr>
            <a:solidFill>
              <a:schemeClr val="accent1"/>
            </a:solidFill>
            <a:ln w="19050">
              <a:noFill/>
            </a:ln>
            <a:effectLst/>
          </c:spPr>
          <c:invertIfNegative val="0"/>
          <c:dPt>
            <c:idx val="0"/>
            <c:invertIfNegative val="0"/>
            <c:bubble3D val="0"/>
            <c:spPr>
              <a:solidFill>
                <a:srgbClr val="2EA657"/>
              </a:solidFill>
              <a:ln w="1905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00BFBF"/>
              </a:solidFill>
              <a:ln w="1905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0F878A"/>
              </a:solidFill>
              <a:ln w="1905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14596B"/>
              </a:solidFill>
              <a:ln w="19050">
                <a:noFill/>
              </a:ln>
              <a:effectLst/>
            </c:spPr>
            <c:extLst>
              <c:ext xmlns:c16="http://schemas.microsoft.com/office/drawing/2014/chart" uri="{C3380CC4-5D6E-409C-BE32-E72D297353CC}">
                <c16:uniqueId val="{00000007-C16F-47A7-9861-D1AB0D9FAD2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dLbls>
        <c:gapWidth val="37"/>
        <c:overlap val="100"/>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Ubuntu" panose="020B0504030602030204" pitchFamily="34" charset="0"/>
                <a:ea typeface="+mn-ea"/>
                <a:cs typeface="+mn-cs"/>
              </a:defRPr>
            </a:pPr>
            <a:endParaRPr lang="nb-NO"/>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latin typeface="Ubuntu" panose="020B0504030602030204" pitchFamily="34" charset="0"/>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r>
              <a:rPr lang="en-GB" b="1"/>
              <a:t>Title</a:t>
            </a:r>
          </a:p>
          <a:p>
            <a:pPr algn="l">
              <a:defRPr sz="1862" b="0" i="0" u="none" strike="noStrike" kern="1200" spc="0" baseline="0">
                <a:solidFill>
                  <a:schemeClr val="tx1"/>
                </a:solidFill>
                <a:latin typeface="Ubuntu" panose="020B0504030602030204" pitchFamily="34" charset="0"/>
                <a:ea typeface="+mn-ea"/>
                <a:cs typeface="+mn-cs"/>
              </a:defRPr>
            </a:pPr>
            <a:r>
              <a:rPr lang="en-GB"/>
              <a:t>Unit of measurement</a:t>
            </a:r>
            <a:endParaRPr lang="en-US"/>
          </a:p>
        </c:rich>
      </c:tx>
      <c:layout>
        <c:manualLayout>
          <c:xMode val="edge"/>
          <c:yMode val="edge"/>
          <c:x val="7.2362947596073951E-2"/>
          <c:y val="1.602136181575434E-2"/>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solidFill>
              <a:latin typeface="Ubuntu" panose="020B0504030602030204" pitchFamily="34" charset="0"/>
              <a:ea typeface="+mn-ea"/>
              <a:cs typeface="+mn-cs"/>
            </a:defRPr>
          </a:pPr>
          <a:endParaRPr lang="nb-NO"/>
        </a:p>
      </c:txPr>
    </c:title>
    <c:autoTitleDeleted val="0"/>
    <c:plotArea>
      <c:layout>
        <c:manualLayout>
          <c:layoutTarget val="inner"/>
          <c:xMode val="edge"/>
          <c:yMode val="edge"/>
          <c:x val="4.0652523933918841E-2"/>
          <c:y val="0.11959946595460615"/>
          <c:w val="0.91869495213216235"/>
          <c:h val="0.80736520084522145"/>
        </c:manualLayout>
      </c:layout>
      <c:barChart>
        <c:barDir val="col"/>
        <c:grouping val="stacked"/>
        <c:varyColors val="0"/>
        <c:ser>
          <c:idx val="0"/>
          <c:order val="0"/>
          <c:tx>
            <c:strRef>
              <c:f>Sheet1!$B$1</c:f>
              <c:strCache>
                <c:ptCount val="1"/>
                <c:pt idx="0">
                  <c:v>Sales</c:v>
                </c:pt>
              </c:strCache>
            </c:strRef>
          </c:tx>
          <c:spPr>
            <a:solidFill>
              <a:schemeClr val="accent1"/>
            </a:solidFill>
            <a:ln w="19050">
              <a:noFill/>
            </a:ln>
            <a:effectLst/>
          </c:spPr>
          <c:invertIfNegative val="0"/>
          <c:dPt>
            <c:idx val="0"/>
            <c:invertIfNegative val="0"/>
            <c:bubble3D val="0"/>
            <c:spPr>
              <a:solidFill>
                <a:srgbClr val="BA2980"/>
              </a:solidFill>
              <a:ln w="19050">
                <a:noFill/>
              </a:ln>
              <a:effectLst/>
            </c:spPr>
            <c:extLst>
              <c:ext xmlns:c16="http://schemas.microsoft.com/office/drawing/2014/chart" uri="{C3380CC4-5D6E-409C-BE32-E72D297353CC}">
                <c16:uniqueId val="{00000001-C16F-47A7-9861-D1AB0D9FAD2A}"/>
              </c:ext>
            </c:extLst>
          </c:dPt>
          <c:dPt>
            <c:idx val="1"/>
            <c:invertIfNegative val="0"/>
            <c:bubble3D val="0"/>
            <c:spPr>
              <a:solidFill>
                <a:srgbClr val="FFB24A"/>
              </a:solidFill>
              <a:ln w="19050">
                <a:noFill/>
              </a:ln>
              <a:effectLst/>
            </c:spPr>
            <c:extLst>
              <c:ext xmlns:c16="http://schemas.microsoft.com/office/drawing/2014/chart" uri="{C3380CC4-5D6E-409C-BE32-E72D297353CC}">
                <c16:uniqueId val="{00000003-C16F-47A7-9861-D1AB0D9FAD2A}"/>
              </c:ext>
            </c:extLst>
          </c:dPt>
          <c:dPt>
            <c:idx val="2"/>
            <c:invertIfNegative val="0"/>
            <c:bubble3D val="0"/>
            <c:spPr>
              <a:solidFill>
                <a:srgbClr val="750D5C"/>
              </a:solidFill>
              <a:ln w="19050">
                <a:noFill/>
              </a:ln>
              <a:effectLst/>
            </c:spPr>
            <c:extLst>
              <c:ext xmlns:c16="http://schemas.microsoft.com/office/drawing/2014/chart" uri="{C3380CC4-5D6E-409C-BE32-E72D297353CC}">
                <c16:uniqueId val="{00000005-C16F-47A7-9861-D1AB0D9FAD2A}"/>
              </c:ext>
            </c:extLst>
          </c:dPt>
          <c:dPt>
            <c:idx val="3"/>
            <c:invertIfNegative val="0"/>
            <c:bubble3D val="0"/>
            <c:spPr>
              <a:solidFill>
                <a:srgbClr val="FF304D"/>
              </a:solidFill>
              <a:ln w="19050">
                <a:noFill/>
              </a:ln>
              <a:effectLst/>
            </c:spPr>
            <c:extLst>
              <c:ext xmlns:c16="http://schemas.microsoft.com/office/drawing/2014/chart" uri="{C3380CC4-5D6E-409C-BE32-E72D297353CC}">
                <c16:uniqueId val="{00000007-C16F-47A7-9861-D1AB0D9FAD2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dLbls>
        <c:gapWidth val="37"/>
        <c:overlap val="100"/>
        <c:axId val="195660160"/>
        <c:axId val="195653920"/>
      </c:barChart>
      <c:catAx>
        <c:axId val="1956601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Ubuntu" panose="020B0504030602030204" pitchFamily="34" charset="0"/>
                <a:ea typeface="+mn-ea"/>
                <a:cs typeface="+mn-cs"/>
              </a:defRPr>
            </a:pPr>
            <a:endParaRPr lang="nb-NO"/>
          </a:p>
        </c:txPr>
        <c:crossAx val="195653920"/>
        <c:crosses val="autoZero"/>
        <c:auto val="1"/>
        <c:lblAlgn val="ctr"/>
        <c:lblOffset val="100"/>
        <c:noMultiLvlLbl val="0"/>
      </c:catAx>
      <c:valAx>
        <c:axId val="195653920"/>
        <c:scaling>
          <c:orientation val="minMax"/>
        </c:scaling>
        <c:delete val="1"/>
        <c:axPos val="l"/>
        <c:numFmt formatCode="General" sourceLinked="1"/>
        <c:majorTickMark val="out"/>
        <c:minorTickMark val="none"/>
        <c:tickLblPos val="nextTo"/>
        <c:crossAx val="195660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tx1"/>
          </a:solidFill>
          <a:latin typeface="Ubuntu" panose="020B0504030602030204" pitchFamily="34" charset="0"/>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C40B-4436-B38B-BD45775543FE}"/>
              </c:ext>
            </c:extLst>
          </c:dPt>
          <c:dPt>
            <c:idx val="1"/>
            <c:bubble3D val="0"/>
            <c:spPr>
              <a:solidFill>
                <a:schemeClr val="accent2"/>
              </a:solidFill>
              <a:ln w="19050">
                <a:noFill/>
              </a:ln>
              <a:effectLst/>
            </c:spPr>
            <c:extLst>
              <c:ext xmlns:c16="http://schemas.microsoft.com/office/drawing/2014/chart" uri="{C3380CC4-5D6E-409C-BE32-E72D297353CC}">
                <c16:uniqueId val="{00000003-C40B-4436-B38B-BD45775543FE}"/>
              </c:ext>
            </c:extLst>
          </c:dPt>
          <c:dPt>
            <c:idx val="2"/>
            <c:bubble3D val="0"/>
            <c:spPr>
              <a:solidFill>
                <a:schemeClr val="accent3"/>
              </a:solidFill>
              <a:ln w="19050">
                <a:noFill/>
              </a:ln>
              <a:effectLst/>
            </c:spPr>
            <c:extLst>
              <c:ext xmlns:c16="http://schemas.microsoft.com/office/drawing/2014/chart" uri="{C3380CC4-5D6E-409C-BE32-E72D297353CC}">
                <c16:uniqueId val="{00000005-C40B-4436-B38B-BD45775543FE}"/>
              </c:ext>
            </c:extLst>
          </c:dPt>
          <c:dPt>
            <c:idx val="3"/>
            <c:bubble3D val="0"/>
            <c:spPr>
              <a:solidFill>
                <a:schemeClr val="accent4"/>
              </a:solidFill>
              <a:ln w="19050">
                <a:noFill/>
              </a:ln>
              <a:effectLst/>
            </c:spPr>
            <c:extLst>
              <c:ext xmlns:c16="http://schemas.microsoft.com/office/drawing/2014/chart" uri="{C3380CC4-5D6E-409C-BE32-E72D297353CC}">
                <c16:uniqueId val="{00000007-C40B-4436-B38B-BD45775543F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2EA657"/>
              </a:solidFill>
              <a:ln w="19050">
                <a:noFill/>
              </a:ln>
              <a:effectLst/>
            </c:spPr>
            <c:extLst>
              <c:ext xmlns:c16="http://schemas.microsoft.com/office/drawing/2014/chart" uri="{C3380CC4-5D6E-409C-BE32-E72D297353CC}">
                <c16:uniqueId val="{00000001-BBC9-4EE1-85AD-7628E22EC4C5}"/>
              </c:ext>
            </c:extLst>
          </c:dPt>
          <c:dPt>
            <c:idx val="1"/>
            <c:bubble3D val="0"/>
            <c:spPr>
              <a:solidFill>
                <a:srgbClr val="00BFBF"/>
              </a:solidFill>
              <a:ln w="19050">
                <a:noFill/>
              </a:ln>
              <a:effectLst/>
            </c:spPr>
            <c:extLst>
              <c:ext xmlns:c16="http://schemas.microsoft.com/office/drawing/2014/chart" uri="{C3380CC4-5D6E-409C-BE32-E72D297353CC}">
                <c16:uniqueId val="{00000003-BBC9-4EE1-85AD-7628E22EC4C5}"/>
              </c:ext>
            </c:extLst>
          </c:dPt>
          <c:dPt>
            <c:idx val="2"/>
            <c:bubble3D val="0"/>
            <c:spPr>
              <a:solidFill>
                <a:srgbClr val="0F878A"/>
              </a:solidFill>
              <a:ln w="19050">
                <a:noFill/>
              </a:ln>
              <a:effectLst/>
            </c:spPr>
            <c:extLst>
              <c:ext xmlns:c16="http://schemas.microsoft.com/office/drawing/2014/chart" uri="{C3380CC4-5D6E-409C-BE32-E72D297353CC}">
                <c16:uniqueId val="{00000005-BBC9-4EE1-85AD-7628E22EC4C5}"/>
              </c:ext>
            </c:extLst>
          </c:dPt>
          <c:dPt>
            <c:idx val="3"/>
            <c:bubble3D val="0"/>
            <c:spPr>
              <a:solidFill>
                <a:srgbClr val="14596B"/>
              </a:solidFill>
              <a:ln w="19050">
                <a:noFill/>
              </a:ln>
              <a:effectLst/>
            </c:spPr>
            <c:extLst>
              <c:ext xmlns:c16="http://schemas.microsoft.com/office/drawing/2014/chart" uri="{C3380CC4-5D6E-409C-BE32-E72D297353CC}">
                <c16:uniqueId val="{00000007-BBC9-4EE1-85AD-7628E22EC4C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BA2980"/>
              </a:solidFill>
              <a:ln w="19050">
                <a:noFill/>
              </a:ln>
              <a:effectLst/>
            </c:spPr>
            <c:extLst>
              <c:ext xmlns:c16="http://schemas.microsoft.com/office/drawing/2014/chart" uri="{C3380CC4-5D6E-409C-BE32-E72D297353CC}">
                <c16:uniqueId val="{00000001-BBC9-4EE1-85AD-7628E22EC4C5}"/>
              </c:ext>
            </c:extLst>
          </c:dPt>
          <c:dPt>
            <c:idx val="1"/>
            <c:bubble3D val="0"/>
            <c:spPr>
              <a:solidFill>
                <a:srgbClr val="FFB24A"/>
              </a:solidFill>
              <a:ln w="19050">
                <a:noFill/>
              </a:ln>
              <a:effectLst/>
            </c:spPr>
            <c:extLst>
              <c:ext xmlns:c16="http://schemas.microsoft.com/office/drawing/2014/chart" uri="{C3380CC4-5D6E-409C-BE32-E72D297353CC}">
                <c16:uniqueId val="{00000003-BBC9-4EE1-85AD-7628E22EC4C5}"/>
              </c:ext>
            </c:extLst>
          </c:dPt>
          <c:dPt>
            <c:idx val="2"/>
            <c:bubble3D val="0"/>
            <c:spPr>
              <a:solidFill>
                <a:srgbClr val="750D5C"/>
              </a:solidFill>
              <a:ln w="19050">
                <a:noFill/>
              </a:ln>
              <a:effectLst/>
            </c:spPr>
            <c:extLst>
              <c:ext xmlns:c16="http://schemas.microsoft.com/office/drawing/2014/chart" uri="{C3380CC4-5D6E-409C-BE32-E72D297353CC}">
                <c16:uniqueId val="{00000005-BBC9-4EE1-85AD-7628E22EC4C5}"/>
              </c:ext>
            </c:extLst>
          </c:dPt>
          <c:dPt>
            <c:idx val="3"/>
            <c:bubble3D val="0"/>
            <c:spPr>
              <a:solidFill>
                <a:srgbClr val="FF304D"/>
              </a:solidFill>
              <a:ln w="19050">
                <a:noFill/>
              </a:ln>
              <a:effectLst/>
            </c:spPr>
            <c:extLst>
              <c:ext xmlns:c16="http://schemas.microsoft.com/office/drawing/2014/chart" uri="{C3380CC4-5D6E-409C-BE32-E72D297353CC}">
                <c16:uniqueId val="{00000007-BBC9-4EE1-85AD-7628E22EC4C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6B4B-49E0-A1BA-0A77678C708A}"/>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hart</c:v>
                </c:pt>
              </c:strCache>
            </c:strRef>
          </c:tx>
          <c:spPr>
            <a:ln>
              <a:solidFill>
                <a:schemeClr val="bg1">
                  <a:lumMod val="95000"/>
                </a:schemeClr>
              </a:solidFill>
            </a:ln>
          </c:spPr>
          <c:dPt>
            <c:idx val="0"/>
            <c:bubble3D val="0"/>
            <c:spPr>
              <a:solidFill>
                <a:schemeClr val="accent4"/>
              </a:solidFill>
              <a:ln w="19050">
                <a:solidFill>
                  <a:schemeClr val="bg1">
                    <a:lumMod val="95000"/>
                  </a:schemeClr>
                </a:solidFill>
              </a:ln>
              <a:effectLst/>
            </c:spPr>
            <c:extLst>
              <c:ext xmlns:c16="http://schemas.microsoft.com/office/drawing/2014/chart" uri="{C3380CC4-5D6E-409C-BE32-E72D297353CC}">
                <c16:uniqueId val="{00000001-67C6-4714-9FD8-A442C6EB4BE8}"/>
              </c:ext>
            </c:extLst>
          </c:dPt>
          <c:dPt>
            <c:idx val="1"/>
            <c:bubble3D val="0"/>
            <c:spPr>
              <a:solidFill>
                <a:schemeClr val="accent1"/>
              </a:solidFill>
              <a:ln w="19050">
                <a:solidFill>
                  <a:schemeClr val="bg1">
                    <a:lumMod val="95000"/>
                  </a:schemeClr>
                </a:solidFill>
              </a:ln>
              <a:effectLst/>
            </c:spPr>
            <c:extLst>
              <c:ext xmlns:c16="http://schemas.microsoft.com/office/drawing/2014/chart" uri="{C3380CC4-5D6E-409C-BE32-E72D297353CC}">
                <c16:uniqueId val="{00000003-67C6-4714-9FD8-A442C6EB4BE8}"/>
              </c:ext>
            </c:extLst>
          </c:dPt>
          <c:dPt>
            <c:idx val="2"/>
            <c:bubble3D val="0"/>
            <c:spPr>
              <a:solidFill>
                <a:schemeClr val="accent2"/>
              </a:solidFill>
              <a:ln w="19050">
                <a:solidFill>
                  <a:schemeClr val="bg1">
                    <a:lumMod val="95000"/>
                  </a:schemeClr>
                </a:solidFill>
              </a:ln>
              <a:effectLst/>
            </c:spPr>
            <c:extLst>
              <c:ext xmlns:c16="http://schemas.microsoft.com/office/drawing/2014/chart" uri="{C3380CC4-5D6E-409C-BE32-E72D297353CC}">
                <c16:uniqueId val="{00000005-67C6-4714-9FD8-A442C6EB4BE8}"/>
              </c:ext>
            </c:extLst>
          </c:dPt>
          <c:dPt>
            <c:idx val="3"/>
            <c:bubble3D val="0"/>
            <c:spPr>
              <a:solidFill>
                <a:schemeClr val="accent2">
                  <a:lumMod val="60000"/>
                  <a:lumOff val="40000"/>
                </a:schemeClr>
              </a:solidFill>
              <a:ln w="19050">
                <a:solidFill>
                  <a:schemeClr val="bg1">
                    <a:lumMod val="95000"/>
                  </a:schemeClr>
                </a:solidFill>
              </a:ln>
              <a:effectLst/>
            </c:spPr>
            <c:extLst>
              <c:ext xmlns:c16="http://schemas.microsoft.com/office/drawing/2014/chart" uri="{C3380CC4-5D6E-409C-BE32-E72D297353CC}">
                <c16:uniqueId val="{00000007-67C6-4714-9FD8-A442C6EB4BE8}"/>
              </c:ext>
            </c:extLst>
          </c:dPt>
          <c:dPt>
            <c:idx val="4"/>
            <c:bubble3D val="0"/>
            <c:spPr>
              <a:solidFill>
                <a:schemeClr val="accent5"/>
              </a:solidFill>
              <a:ln w="19050">
                <a:solidFill>
                  <a:schemeClr val="bg1">
                    <a:lumMod val="95000"/>
                  </a:schemeClr>
                </a:solidFill>
              </a:ln>
              <a:effectLst/>
            </c:spPr>
            <c:extLst>
              <c:ext xmlns:c16="http://schemas.microsoft.com/office/drawing/2014/chart" uri="{C3380CC4-5D6E-409C-BE32-E72D297353CC}">
                <c16:uniqueId val="{00000009-FF16-404B-BDC7-1BFE9901A3BF}"/>
              </c:ext>
            </c:extLst>
          </c:dPt>
          <c:dPt>
            <c:idx val="5"/>
            <c:bubble3D val="0"/>
            <c:spPr>
              <a:solidFill>
                <a:schemeClr val="accent6"/>
              </a:solidFill>
              <a:ln w="19050">
                <a:solidFill>
                  <a:schemeClr val="bg1">
                    <a:lumMod val="95000"/>
                  </a:schemeClr>
                </a:solidFill>
              </a:ln>
              <a:effectLst/>
            </c:spPr>
            <c:extLst>
              <c:ext xmlns:c16="http://schemas.microsoft.com/office/drawing/2014/chart" uri="{C3380CC4-5D6E-409C-BE32-E72D297353CC}">
                <c16:uniqueId val="{0000000B-FF16-404B-BDC7-1BFE9901A3BF}"/>
              </c:ext>
            </c:extLst>
          </c:dPt>
          <c:dLbls>
            <c:spPr>
              <a:noFill/>
              <a:ln>
                <a:noFill/>
              </a:ln>
              <a:effectLst/>
            </c:spPr>
            <c:txPr>
              <a:bodyPr rot="0" spcFirstLastPara="1" vertOverflow="ellipsis" horzOverflow="clip" vert="horz" wrap="none" lIns="38100" tIns="19050" rIns="38100" bIns="19050" anchor="ctr" anchorCtr="1">
                <a:spAutoFit/>
              </a:bodyPr>
              <a:lstStyle/>
              <a:p>
                <a:pPr>
                  <a:defRPr sz="1197" b="0" i="0" u="none" strike="noStrike" kern="1200" baseline="0">
                    <a:solidFill>
                      <a:schemeClr val="bg1"/>
                    </a:solidFill>
                    <a:latin typeface="Ubuntu" panose="020B0504030602030204" pitchFamily="34" charset="0"/>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7</c:f>
              <c:strCache>
                <c:ptCount val="6"/>
                <c:pt idx="0">
                  <c:v>data 1</c:v>
                </c:pt>
                <c:pt idx="1">
                  <c:v>data 2</c:v>
                </c:pt>
                <c:pt idx="2">
                  <c:v>data 3</c:v>
                </c:pt>
                <c:pt idx="3">
                  <c:v>data 4</c:v>
                </c:pt>
                <c:pt idx="4">
                  <c:v>data 5</c:v>
                </c:pt>
                <c:pt idx="5">
                  <c:v>data 6</c:v>
                </c:pt>
              </c:strCache>
            </c:strRef>
          </c:cat>
          <c:val>
            <c:numRef>
              <c:f>Sheet1!$B$2:$B$7</c:f>
              <c:numCache>
                <c:formatCode>General</c:formatCode>
                <c:ptCount val="6"/>
                <c:pt idx="0">
                  <c:v>6</c:v>
                </c:pt>
                <c:pt idx="1">
                  <c:v>3.2</c:v>
                </c:pt>
                <c:pt idx="2">
                  <c:v>1.4</c:v>
                </c:pt>
                <c:pt idx="3">
                  <c:v>3</c:v>
                </c:pt>
                <c:pt idx="4">
                  <c:v>1</c:v>
                </c:pt>
                <c:pt idx="5">
                  <c:v>4</c:v>
                </c:pt>
              </c:numCache>
            </c:numRef>
          </c:val>
          <c:extLst>
            <c:ext xmlns:c16="http://schemas.microsoft.com/office/drawing/2014/chart" uri="{C3380CC4-5D6E-409C-BE32-E72D297353CC}">
              <c16:uniqueId val="{00000008-67C6-4714-9FD8-A442C6EB4BE8}"/>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Ubuntu" panose="020B0504030602030204" pitchFamily="34" charset="0"/>
              <a:ea typeface="+mn-ea"/>
              <a:cs typeface="+mn-cs"/>
            </a:defRPr>
          </a:pPr>
          <a:endParaRPr lang="nb-NO"/>
        </a:p>
      </c:txPr>
    </c:legend>
    <c:plotVisOnly val="1"/>
    <c:dispBlanksAs val="gap"/>
    <c:showDLblsOverMax val="0"/>
  </c:chart>
  <c:spPr>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FF304C"/>
          </a:solidFill>
          <a:prstDash val="solid"/>
          <a:round/>
          <a:headEnd type="none" w="med" len="med"/>
          <a:tailEnd type="none" w="med" len="med"/>
        </a14:hiddenLine>
      </a:ext>
    </a:extLst>
  </c:spPr>
  <c:txPr>
    <a:bodyPr/>
    <a:lstStyle/>
    <a:p>
      <a:pPr>
        <a:defRPr/>
      </a:pPr>
      <a:endParaRPr lang="nb-NO"/>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064CAF-FADB-435F-8CB0-343B99D4F69F}" type="doc">
      <dgm:prSet loTypeId="urn:microsoft.com/office/officeart/2005/8/layout/arrow5" loCatId="relationship" qsTypeId="urn:microsoft.com/office/officeart/2005/8/quickstyle/simple1" qsCatId="simple" csTypeId="urn:microsoft.com/office/officeart/2005/8/colors/accent2_5" csCatId="accent2" phldr="1"/>
      <dgm:spPr/>
      <dgm:t>
        <a:bodyPr/>
        <a:lstStyle/>
        <a:p>
          <a:endParaRPr lang="en-US"/>
        </a:p>
      </dgm:t>
    </dgm:pt>
    <dgm:pt modelId="{7E116893-D315-45F7-9CFA-3DB5B9603804}">
      <dgm:prSet phldrT="[Text]"/>
      <dgm:spPr/>
      <dgm:t>
        <a:bodyPr/>
        <a:lstStyle/>
        <a:p>
          <a:r>
            <a:rPr lang="en-US"/>
            <a:t>Data Governance</a:t>
          </a:r>
        </a:p>
      </dgm:t>
    </dgm:pt>
    <dgm:pt modelId="{7F7BF90C-F2E1-49A0-9558-6B18CA9DD6D8}" type="parTrans" cxnId="{35855CD1-9B3F-419C-BF0D-A540132A62E9}">
      <dgm:prSet/>
      <dgm:spPr/>
      <dgm:t>
        <a:bodyPr/>
        <a:lstStyle/>
        <a:p>
          <a:endParaRPr lang="en-US"/>
        </a:p>
      </dgm:t>
    </dgm:pt>
    <dgm:pt modelId="{248553C4-11B0-40ED-BC31-E9F1C8C7E680}" type="sibTrans" cxnId="{35855CD1-9B3F-419C-BF0D-A540132A62E9}">
      <dgm:prSet/>
      <dgm:spPr/>
      <dgm:t>
        <a:bodyPr/>
        <a:lstStyle/>
        <a:p>
          <a:endParaRPr lang="en-US"/>
        </a:p>
      </dgm:t>
    </dgm:pt>
    <dgm:pt modelId="{B5C0D150-0ABA-4236-AAD8-4E383E61BEA4}">
      <dgm:prSet phldrT="[Text]"/>
      <dgm:spPr/>
      <dgm:t>
        <a:bodyPr/>
        <a:lstStyle/>
        <a:p>
          <a:r>
            <a:rPr lang="en-US"/>
            <a:t>Data Management</a:t>
          </a:r>
        </a:p>
      </dgm:t>
    </dgm:pt>
    <dgm:pt modelId="{4DC81E78-E1CF-42EF-8D41-881CF5949156}" type="parTrans" cxnId="{EF2D5B4B-9700-495F-9D36-F7BC7AF5D33C}">
      <dgm:prSet/>
      <dgm:spPr/>
      <dgm:t>
        <a:bodyPr/>
        <a:lstStyle/>
        <a:p>
          <a:endParaRPr lang="en-US"/>
        </a:p>
      </dgm:t>
    </dgm:pt>
    <dgm:pt modelId="{A838ADCC-FEBE-4B0B-A1C3-1215A9286A2C}" type="sibTrans" cxnId="{EF2D5B4B-9700-495F-9D36-F7BC7AF5D33C}">
      <dgm:prSet/>
      <dgm:spPr/>
      <dgm:t>
        <a:bodyPr/>
        <a:lstStyle/>
        <a:p>
          <a:endParaRPr lang="en-US"/>
        </a:p>
      </dgm:t>
    </dgm:pt>
    <dgm:pt modelId="{CB024777-2974-4648-A62D-F23AA3CF64DF}" type="pres">
      <dgm:prSet presAssocID="{DD064CAF-FADB-435F-8CB0-343B99D4F69F}" presName="diagram" presStyleCnt="0">
        <dgm:presLayoutVars>
          <dgm:dir/>
          <dgm:resizeHandles val="exact"/>
        </dgm:presLayoutVars>
      </dgm:prSet>
      <dgm:spPr/>
    </dgm:pt>
    <dgm:pt modelId="{617093FD-80C8-4B01-808B-B9ACDE1017F7}" type="pres">
      <dgm:prSet presAssocID="{7E116893-D315-45F7-9CFA-3DB5B9603804}" presName="arrow" presStyleLbl="node1" presStyleIdx="0" presStyleCnt="2">
        <dgm:presLayoutVars>
          <dgm:bulletEnabled val="1"/>
        </dgm:presLayoutVars>
      </dgm:prSet>
      <dgm:spPr/>
    </dgm:pt>
    <dgm:pt modelId="{40AB31A3-93AA-4B30-AE6E-727988D844E7}" type="pres">
      <dgm:prSet presAssocID="{B5C0D150-0ABA-4236-AAD8-4E383E61BEA4}" presName="arrow" presStyleLbl="node1" presStyleIdx="1" presStyleCnt="2">
        <dgm:presLayoutVars>
          <dgm:bulletEnabled val="1"/>
        </dgm:presLayoutVars>
      </dgm:prSet>
      <dgm:spPr/>
    </dgm:pt>
  </dgm:ptLst>
  <dgm:cxnLst>
    <dgm:cxn modelId="{0B75BB18-8908-46BC-9A85-CBFCE0902D44}" type="presOf" srcId="{7E116893-D315-45F7-9CFA-3DB5B9603804}" destId="{617093FD-80C8-4B01-808B-B9ACDE1017F7}" srcOrd="0" destOrd="0" presId="urn:microsoft.com/office/officeart/2005/8/layout/arrow5"/>
    <dgm:cxn modelId="{EF2D5B4B-9700-495F-9D36-F7BC7AF5D33C}" srcId="{DD064CAF-FADB-435F-8CB0-343B99D4F69F}" destId="{B5C0D150-0ABA-4236-AAD8-4E383E61BEA4}" srcOrd="1" destOrd="0" parTransId="{4DC81E78-E1CF-42EF-8D41-881CF5949156}" sibTransId="{A838ADCC-FEBE-4B0B-A1C3-1215A9286A2C}"/>
    <dgm:cxn modelId="{45109B68-6707-4F80-95C3-B9541C3DD443}" type="presOf" srcId="{DD064CAF-FADB-435F-8CB0-343B99D4F69F}" destId="{CB024777-2974-4648-A62D-F23AA3CF64DF}" srcOrd="0" destOrd="0" presId="urn:microsoft.com/office/officeart/2005/8/layout/arrow5"/>
    <dgm:cxn modelId="{EB443F87-3D5C-4E63-967F-9315DF232090}" type="presOf" srcId="{B5C0D150-0ABA-4236-AAD8-4E383E61BEA4}" destId="{40AB31A3-93AA-4B30-AE6E-727988D844E7}" srcOrd="0" destOrd="0" presId="urn:microsoft.com/office/officeart/2005/8/layout/arrow5"/>
    <dgm:cxn modelId="{35855CD1-9B3F-419C-BF0D-A540132A62E9}" srcId="{DD064CAF-FADB-435F-8CB0-343B99D4F69F}" destId="{7E116893-D315-45F7-9CFA-3DB5B9603804}" srcOrd="0" destOrd="0" parTransId="{7F7BF90C-F2E1-49A0-9558-6B18CA9DD6D8}" sibTransId="{248553C4-11B0-40ED-BC31-E9F1C8C7E680}"/>
    <dgm:cxn modelId="{E7700112-C4BD-4035-83B7-D23CEDBF31A9}" type="presParOf" srcId="{CB024777-2974-4648-A62D-F23AA3CF64DF}" destId="{617093FD-80C8-4B01-808B-B9ACDE1017F7}" srcOrd="0" destOrd="0" presId="urn:microsoft.com/office/officeart/2005/8/layout/arrow5"/>
    <dgm:cxn modelId="{F22E08F5-3881-4CBD-89F1-335E22285517}" type="presParOf" srcId="{CB024777-2974-4648-A62D-F23AA3CF64DF}" destId="{40AB31A3-93AA-4B30-AE6E-727988D844E7}" srcOrd="1" destOrd="0" presId="urn:microsoft.com/office/officeart/2005/8/layout/arrow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7093FD-80C8-4B01-808B-B9ACDE1017F7}">
      <dsp:nvSpPr>
        <dsp:cNvPr id="0" name=""/>
        <dsp:cNvSpPr/>
      </dsp:nvSpPr>
      <dsp:spPr>
        <a:xfrm rot="16200000">
          <a:off x="275" y="223361"/>
          <a:ext cx="1902570" cy="1902570"/>
        </a:xfrm>
        <a:prstGeom prst="downArrow">
          <a:avLst>
            <a:gd name="adj1" fmla="val 50000"/>
            <a:gd name="adj2" fmla="val 35000"/>
          </a:avLst>
        </a:prstGeom>
        <a:solidFill>
          <a:schemeClr val="accent2">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kern="1200"/>
            <a:t>Data Governance</a:t>
          </a:r>
        </a:p>
      </dsp:txBody>
      <dsp:txXfrm rot="5400000">
        <a:off x="276" y="699003"/>
        <a:ext cx="1569620" cy="951285"/>
      </dsp:txXfrm>
    </dsp:sp>
    <dsp:sp modelId="{40AB31A3-93AA-4B30-AE6E-727988D844E7}">
      <dsp:nvSpPr>
        <dsp:cNvPr id="0" name=""/>
        <dsp:cNvSpPr/>
      </dsp:nvSpPr>
      <dsp:spPr>
        <a:xfrm rot="5400000">
          <a:off x="2017138" y="223361"/>
          <a:ext cx="1902570" cy="1902570"/>
        </a:xfrm>
        <a:prstGeom prst="downArrow">
          <a:avLst>
            <a:gd name="adj1" fmla="val 50000"/>
            <a:gd name="adj2" fmla="val 35000"/>
          </a:avLst>
        </a:prstGeom>
        <a:solidFill>
          <a:schemeClr val="accent2">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kern="1200"/>
            <a:t>Data Management</a:t>
          </a:r>
        </a:p>
      </dsp:txBody>
      <dsp:txXfrm rot="-5400000">
        <a:off x="2350089" y="699004"/>
        <a:ext cx="1569620" cy="951285"/>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cdr:x>
      <cdr:y>0</cdr:y>
    </cdr:from>
    <cdr:to>
      <cdr:x>0</cdr:x>
      <cdr:y>0</cdr:y>
    </cdr:to>
    <cdr:sp macro="" textlink="">
      <cdr:nvSpPr>
        <cdr:cNvPr id="3" name="ee4p_colorscheme" descr="CGI Charts blue" hidden="1">
          <a:extLst xmlns:a="http://schemas.openxmlformats.org/drawingml/2006/main">
            <a:ext uri="{FF2B5EF4-FFF2-40B4-BE49-F238E27FC236}">
              <a16:creationId xmlns:a16="http://schemas.microsoft.com/office/drawing/2014/main" id="{E7ECCBAC-880E-4FFE-8394-4C1133223603}"/>
            </a:ext>
          </a:extLst>
        </cdr:cNvPr>
        <cdr:cNvSpPr/>
      </cdr:nvSpPr>
      <cdr:spPr>
        <a:xfrm xmlns:a="http://schemas.openxmlformats.org/drawingml/2006/main">
          <a:off x="-1270000" y="-1270000"/>
          <a:ext cx="0" cy="0"/>
        </a:xfrm>
        <a:prstGeom xmlns:a="http://schemas.openxmlformats.org/drawingml/2006/main" prst="rect">
          <a:avLst/>
        </a:prstGeom>
        <a:solidFill xmlns:a="http://schemas.openxmlformats.org/drawingml/2006/main">
          <a:schemeClr val="bg1"/>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de-DE"/>
            <a:t>CGI Charts blu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06/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han </a:t>
            </a:r>
            <a:r>
              <a:rPr lang="en-US" dirty="0" err="1"/>
              <a:t>Ludgvig</a:t>
            </a:r>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8056952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
            </a:r>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8409150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L</a:t>
            </a:r>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278166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L</a:t>
            </a:r>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407513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a:effectLst/>
                <a:latin typeface="Calibri" panose="020F0502020204030204" pitchFamily="34" charset="0"/>
              </a:rPr>
              <a:t>M, snakke om fordelene med kataloger og at det finnes flere alternativer etc. </a:t>
            </a:r>
          </a:p>
          <a:p>
            <a:r>
              <a:rPr lang="nb-NO" sz="1800">
                <a:effectLst/>
                <a:latin typeface="Calibri" panose="020F0502020204030204" pitchFamily="34" charset="0"/>
              </a:rPr>
              <a:t>Finnes andre </a:t>
            </a:r>
            <a:r>
              <a:rPr lang="nb-NO" sz="1800" err="1">
                <a:effectLst/>
                <a:latin typeface="Calibri" panose="020F0502020204030204" pitchFamily="34" charset="0"/>
              </a:rPr>
              <a:t>open</a:t>
            </a:r>
            <a:r>
              <a:rPr lang="nb-NO" sz="1800">
                <a:effectLst/>
                <a:latin typeface="Calibri" panose="020F0502020204030204" pitchFamily="34" charset="0"/>
              </a:rPr>
              <a:t> </a:t>
            </a:r>
            <a:r>
              <a:rPr lang="nb-NO" sz="1800" err="1">
                <a:effectLst/>
                <a:latin typeface="Calibri" panose="020F0502020204030204" pitchFamily="34" charset="0"/>
              </a:rPr>
              <a:t>source</a:t>
            </a:r>
            <a:r>
              <a:rPr lang="nb-NO" sz="1800">
                <a:effectLst/>
                <a:latin typeface="Calibri" panose="020F0502020204030204" pitchFamily="34" charset="0"/>
              </a:rPr>
              <a:t> </a:t>
            </a:r>
            <a:r>
              <a:rPr lang="nb-NO" sz="1800" err="1">
                <a:effectLst/>
                <a:latin typeface="Calibri" panose="020F0502020204030204" pitchFamily="34" charset="0"/>
              </a:rPr>
              <a:t>altnerativer</a:t>
            </a:r>
            <a:r>
              <a:rPr lang="nb-NO" sz="1800">
                <a:effectLst/>
                <a:latin typeface="Calibri" panose="020F0502020204030204" pitchFamily="34" charset="0"/>
              </a:rPr>
              <a:t>. Eks Data </a:t>
            </a:r>
            <a:r>
              <a:rPr lang="nb-NO" sz="1800" err="1">
                <a:effectLst/>
                <a:latin typeface="Calibri" panose="020F0502020204030204" pitchFamily="34" charset="0"/>
              </a:rPr>
              <a:t>Hub</a:t>
            </a:r>
            <a:r>
              <a:rPr lang="nb-NO" sz="1800">
                <a:effectLst/>
                <a:latin typeface="Calibri" panose="020F0502020204030204" pitchFamily="34" charset="0"/>
              </a:rPr>
              <a:t>. MQ</a:t>
            </a:r>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43705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L</a:t>
            </a:r>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2538516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a:effectLst/>
                <a:latin typeface="Calibri" panose="020F0502020204030204" pitchFamily="34" charset="0"/>
              </a:rPr>
              <a:t>M, snakke om fordelene med kataloger og at det finnes flere alternativer etc. </a:t>
            </a:r>
          </a:p>
          <a:p>
            <a:r>
              <a:rPr lang="nb-NO" sz="1800">
                <a:effectLst/>
                <a:latin typeface="Calibri" panose="020F0502020204030204" pitchFamily="34" charset="0"/>
              </a:rPr>
              <a:t>Finnes andre </a:t>
            </a:r>
            <a:r>
              <a:rPr lang="nb-NO" sz="1800" err="1">
                <a:effectLst/>
                <a:latin typeface="Calibri" panose="020F0502020204030204" pitchFamily="34" charset="0"/>
              </a:rPr>
              <a:t>open</a:t>
            </a:r>
            <a:r>
              <a:rPr lang="nb-NO" sz="1800">
                <a:effectLst/>
                <a:latin typeface="Calibri" panose="020F0502020204030204" pitchFamily="34" charset="0"/>
              </a:rPr>
              <a:t> </a:t>
            </a:r>
            <a:r>
              <a:rPr lang="nb-NO" sz="1800" err="1">
                <a:effectLst/>
                <a:latin typeface="Calibri" panose="020F0502020204030204" pitchFamily="34" charset="0"/>
              </a:rPr>
              <a:t>source</a:t>
            </a:r>
            <a:r>
              <a:rPr lang="nb-NO" sz="1800">
                <a:effectLst/>
                <a:latin typeface="Calibri" panose="020F0502020204030204" pitchFamily="34" charset="0"/>
              </a:rPr>
              <a:t> </a:t>
            </a:r>
            <a:r>
              <a:rPr lang="nb-NO" sz="1800" err="1">
                <a:effectLst/>
                <a:latin typeface="Calibri" panose="020F0502020204030204" pitchFamily="34" charset="0"/>
              </a:rPr>
              <a:t>altnerativer</a:t>
            </a:r>
            <a:r>
              <a:rPr lang="nb-NO" sz="1800">
                <a:effectLst/>
                <a:latin typeface="Calibri" panose="020F0502020204030204" pitchFamily="34" charset="0"/>
              </a:rPr>
              <a:t>. Eks Data </a:t>
            </a:r>
            <a:r>
              <a:rPr lang="nb-NO" sz="1800" err="1">
                <a:effectLst/>
                <a:latin typeface="Calibri" panose="020F0502020204030204" pitchFamily="34" charset="0"/>
              </a:rPr>
              <a:t>Hub</a:t>
            </a:r>
            <a:r>
              <a:rPr lang="nb-NO" sz="1800">
                <a:effectLst/>
                <a:latin typeface="Calibri" panose="020F0502020204030204" pitchFamily="34" charset="0"/>
              </a:rPr>
              <a:t>. MQ</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7282496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t>
            </a:r>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32649738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871149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L</a:t>
            </a:r>
          </a:p>
          <a:p>
            <a:r>
              <a:rPr lang="en-US"/>
              <a:t>**</a:t>
            </a:r>
            <a:r>
              <a:rPr lang="en-US" err="1"/>
              <a:t>snakke</a:t>
            </a:r>
            <a:r>
              <a:rPr lang="en-US"/>
              <a:t> </a:t>
            </a:r>
            <a:r>
              <a:rPr lang="en-US" err="1"/>
              <a:t>rundt</a:t>
            </a:r>
            <a:r>
              <a:rPr lang="en-US"/>
              <a:t> </a:t>
            </a:r>
            <a:r>
              <a:rPr lang="en-US" err="1"/>
              <a:t>hver</a:t>
            </a:r>
            <a:r>
              <a:rPr lang="en-US"/>
              <a:t> type </a:t>
            </a:r>
            <a:r>
              <a:rPr lang="en-US" err="1"/>
              <a:t>og</a:t>
            </a:r>
            <a:r>
              <a:rPr lang="en-US"/>
              <a:t> </a:t>
            </a:r>
            <a:r>
              <a:rPr lang="en-US" err="1"/>
              <a:t>hva</a:t>
            </a:r>
            <a:r>
              <a:rPr lang="en-US"/>
              <a:t> de </a:t>
            </a:r>
            <a:r>
              <a:rPr lang="en-US" err="1"/>
              <a:t>koster</a:t>
            </a:r>
            <a:r>
              <a:rPr lang="en-US"/>
              <a:t> (</a:t>
            </a:r>
            <a:r>
              <a:rPr lang="en-US" err="1"/>
              <a:t>eks</a:t>
            </a:r>
            <a:r>
              <a:rPr lang="en-US"/>
              <a:t>. </a:t>
            </a:r>
            <a:r>
              <a:rPr lang="en-US" err="1"/>
              <a:t>Vår</a:t>
            </a:r>
            <a:r>
              <a:rPr lang="en-US"/>
              <a:t> </a:t>
            </a:r>
            <a:r>
              <a:rPr lang="en-US" err="1"/>
              <a:t>Energi</a:t>
            </a:r>
            <a:r>
              <a:rPr lang="en-US"/>
              <a:t> sin </a:t>
            </a:r>
            <a:r>
              <a:rPr lang="en-US" err="1"/>
              <a:t>håndtering</a:t>
            </a:r>
            <a:r>
              <a:rPr lang="en-US"/>
              <a:t> av </a:t>
            </a:r>
            <a:r>
              <a:rPr lang="en-US" err="1"/>
              <a:t>leverandører</a:t>
            </a:r>
            <a:r>
              <a:rPr lang="en-US"/>
              <a:t> </a:t>
            </a:r>
            <a:r>
              <a:rPr lang="en-US" err="1"/>
              <a:t>og</a:t>
            </a:r>
            <a:r>
              <a:rPr lang="en-US"/>
              <a:t> </a:t>
            </a:r>
            <a:r>
              <a:rPr lang="en-US" err="1"/>
              <a:t>fakturahåndteronger</a:t>
            </a:r>
            <a:r>
              <a:rPr lang="en-US"/>
              <a:t>)</a:t>
            </a:r>
          </a:p>
          <a:p>
            <a:endParaRPr lang="en-US"/>
          </a:p>
          <a:p>
            <a:r>
              <a:rPr lang="en-US">
                <a:highlight>
                  <a:srgbClr val="FFFF00"/>
                </a:highlight>
              </a:rPr>
              <a:t>Examples</a:t>
            </a:r>
            <a:r>
              <a:rPr lang="en-US"/>
              <a:t>:</a:t>
            </a:r>
            <a:br>
              <a:rPr lang="en-US"/>
            </a:br>
            <a:r>
              <a:rPr lang="en-US"/>
              <a:t>Denormalization</a:t>
            </a:r>
          </a:p>
          <a:p>
            <a:r>
              <a:rPr lang="en-US"/>
              <a:t>Measure data along metrics</a:t>
            </a:r>
          </a:p>
          <a:p>
            <a:endParaRPr lang="en-US"/>
          </a:p>
          <a:p>
            <a:r>
              <a:rPr lang="en-US"/>
              <a:t>Ingen demo </a:t>
            </a:r>
            <a:r>
              <a:rPr lang="en-US" err="1"/>
              <a:t>etter</a:t>
            </a:r>
            <a:r>
              <a:rPr lang="en-US"/>
              <a:t> </a:t>
            </a:r>
            <a:r>
              <a:rPr lang="en-US" err="1"/>
              <a:t>denne</a:t>
            </a:r>
            <a:r>
              <a:rPr lang="en-US"/>
              <a:t>, men </a:t>
            </a:r>
            <a:r>
              <a:rPr lang="en-US" err="1"/>
              <a:t>bruke</a:t>
            </a:r>
            <a:r>
              <a:rPr lang="en-US"/>
              <a:t> </a:t>
            </a:r>
            <a:r>
              <a:rPr lang="en-US" err="1"/>
              <a:t>eksempler</a:t>
            </a:r>
            <a:r>
              <a:rPr lang="en-US"/>
              <a:t>. </a:t>
            </a:r>
          </a:p>
          <a:p>
            <a:r>
              <a:rPr lang="en-US" err="1"/>
              <a:t>Eks</a:t>
            </a:r>
            <a:r>
              <a:rPr lang="en-US"/>
              <a:t>: </a:t>
            </a:r>
            <a:r>
              <a:rPr lang="en-US" err="1"/>
              <a:t>Leverandørregister</a:t>
            </a:r>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36022959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L</a:t>
            </a:r>
          </a:p>
          <a:p>
            <a:r>
              <a:rPr lang="en-US"/>
              <a:t>**</a:t>
            </a:r>
            <a:r>
              <a:rPr lang="en-US" err="1"/>
              <a:t>snakke</a:t>
            </a:r>
            <a:r>
              <a:rPr lang="en-US"/>
              <a:t> </a:t>
            </a:r>
            <a:r>
              <a:rPr lang="en-US" err="1"/>
              <a:t>rundt</a:t>
            </a:r>
            <a:r>
              <a:rPr lang="en-US"/>
              <a:t> </a:t>
            </a:r>
            <a:r>
              <a:rPr lang="en-US" err="1"/>
              <a:t>hver</a:t>
            </a:r>
            <a:r>
              <a:rPr lang="en-US"/>
              <a:t> type </a:t>
            </a:r>
            <a:r>
              <a:rPr lang="en-US" err="1"/>
              <a:t>og</a:t>
            </a:r>
            <a:r>
              <a:rPr lang="en-US"/>
              <a:t> </a:t>
            </a:r>
            <a:r>
              <a:rPr lang="en-US" err="1"/>
              <a:t>hva</a:t>
            </a:r>
            <a:r>
              <a:rPr lang="en-US"/>
              <a:t> de </a:t>
            </a:r>
            <a:r>
              <a:rPr lang="en-US" err="1"/>
              <a:t>koster</a:t>
            </a:r>
            <a:r>
              <a:rPr lang="en-US"/>
              <a:t> (</a:t>
            </a:r>
            <a:r>
              <a:rPr lang="en-US" err="1"/>
              <a:t>eks</a:t>
            </a:r>
            <a:r>
              <a:rPr lang="en-US"/>
              <a:t>. </a:t>
            </a:r>
            <a:r>
              <a:rPr lang="en-US" err="1"/>
              <a:t>Vår</a:t>
            </a:r>
            <a:r>
              <a:rPr lang="en-US"/>
              <a:t> </a:t>
            </a:r>
            <a:r>
              <a:rPr lang="en-US" err="1"/>
              <a:t>Energi</a:t>
            </a:r>
            <a:r>
              <a:rPr lang="en-US"/>
              <a:t> sin </a:t>
            </a:r>
            <a:r>
              <a:rPr lang="en-US" err="1"/>
              <a:t>håndtering</a:t>
            </a:r>
            <a:r>
              <a:rPr lang="en-US"/>
              <a:t> av </a:t>
            </a:r>
            <a:r>
              <a:rPr lang="en-US" err="1"/>
              <a:t>leverandører</a:t>
            </a:r>
            <a:r>
              <a:rPr lang="en-US"/>
              <a:t> </a:t>
            </a:r>
            <a:r>
              <a:rPr lang="en-US" err="1"/>
              <a:t>og</a:t>
            </a:r>
            <a:r>
              <a:rPr lang="en-US"/>
              <a:t> </a:t>
            </a:r>
            <a:r>
              <a:rPr lang="en-US" err="1"/>
              <a:t>fakturahåndteronger</a:t>
            </a:r>
            <a:r>
              <a:rPr lang="en-US"/>
              <a:t>)</a:t>
            </a:r>
          </a:p>
          <a:p>
            <a:endParaRPr lang="en-US"/>
          </a:p>
          <a:p>
            <a:r>
              <a:rPr lang="en-US">
                <a:highlight>
                  <a:srgbClr val="FFFF00"/>
                </a:highlight>
              </a:rPr>
              <a:t>Examples</a:t>
            </a:r>
            <a:r>
              <a:rPr lang="en-US"/>
              <a:t>:</a:t>
            </a:r>
            <a:br>
              <a:rPr lang="en-US"/>
            </a:br>
            <a:r>
              <a:rPr lang="en-US"/>
              <a:t>Denormalization</a:t>
            </a:r>
          </a:p>
          <a:p>
            <a:r>
              <a:rPr lang="en-US"/>
              <a:t>Measure data along metrics</a:t>
            </a:r>
          </a:p>
          <a:p>
            <a:endParaRPr lang="en-US"/>
          </a:p>
          <a:p>
            <a:r>
              <a:rPr lang="en-US"/>
              <a:t>Ingen demo </a:t>
            </a:r>
            <a:r>
              <a:rPr lang="en-US" err="1"/>
              <a:t>etter</a:t>
            </a:r>
            <a:r>
              <a:rPr lang="en-US"/>
              <a:t> </a:t>
            </a:r>
            <a:r>
              <a:rPr lang="en-US" err="1"/>
              <a:t>denne</a:t>
            </a:r>
            <a:r>
              <a:rPr lang="en-US"/>
              <a:t>, men </a:t>
            </a:r>
            <a:r>
              <a:rPr lang="en-US" err="1"/>
              <a:t>bruke</a:t>
            </a:r>
            <a:r>
              <a:rPr lang="en-US"/>
              <a:t> </a:t>
            </a:r>
            <a:r>
              <a:rPr lang="en-US" err="1"/>
              <a:t>eksempler</a:t>
            </a:r>
            <a:r>
              <a:rPr lang="en-US"/>
              <a:t>. </a:t>
            </a:r>
          </a:p>
          <a:p>
            <a:r>
              <a:rPr lang="en-US" err="1"/>
              <a:t>Eks</a:t>
            </a:r>
            <a:r>
              <a:rPr lang="en-US"/>
              <a:t>: </a:t>
            </a:r>
            <a:r>
              <a:rPr lang="en-US" err="1"/>
              <a:t>Leverandørregister</a:t>
            </a:r>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2380398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han Ludvig</a:t>
            </a:r>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9373806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t>
            </a:r>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29580309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980710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L</a:t>
            </a:r>
          </a:p>
        </p:txBody>
      </p:sp>
      <p:sp>
        <p:nvSpPr>
          <p:cNvPr id="4" name="Slide Number Placeholder 3"/>
          <p:cNvSpPr>
            <a:spLocks noGrp="1"/>
          </p:cNvSpPr>
          <p:nvPr>
            <p:ph type="sldNum" sz="quarter" idx="5"/>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29961758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5103896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t>
            </a:r>
          </a:p>
        </p:txBody>
      </p:sp>
      <p:sp>
        <p:nvSpPr>
          <p:cNvPr id="4" name="Slide Number Placeholder 3"/>
          <p:cNvSpPr>
            <a:spLocks noGrp="1"/>
          </p:cNvSpPr>
          <p:nvPr>
            <p:ph type="sldNum" sz="quarter" idx="5"/>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1625554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t>
            </a:r>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11688542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t>
            </a:r>
          </a:p>
        </p:txBody>
      </p:sp>
      <p:sp>
        <p:nvSpPr>
          <p:cNvPr id="4" name="Slide Number Placeholder 3"/>
          <p:cNvSpPr>
            <a:spLocks noGrp="1"/>
          </p:cNvSpPr>
          <p:nvPr>
            <p:ph type="sldNum" sz="quarter" idx="5"/>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38932381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L</a:t>
            </a:r>
          </a:p>
          <a:p>
            <a:r>
              <a:rPr lang="en-US" dirty="0" err="1"/>
              <a:t>Mennesker</a:t>
            </a:r>
            <a:r>
              <a:rPr lang="en-US" dirty="0"/>
              <a:t> </a:t>
            </a:r>
            <a:r>
              <a:rPr lang="en-US" dirty="0" err="1"/>
              <a:t>og</a:t>
            </a:r>
            <a:r>
              <a:rPr lang="en-US" dirty="0"/>
              <a:t> </a:t>
            </a:r>
            <a:r>
              <a:rPr lang="en-US" dirty="0" err="1"/>
              <a:t>prosesser</a:t>
            </a:r>
            <a:r>
              <a:rPr lang="en-US" dirty="0"/>
              <a:t>,</a:t>
            </a:r>
          </a:p>
          <a:p>
            <a:r>
              <a:rPr lang="en-US" dirty="0"/>
              <a:t>Legg å </a:t>
            </a:r>
            <a:r>
              <a:rPr lang="en-US" dirty="0" err="1"/>
              <a:t>kjøpe</a:t>
            </a:r>
            <a:r>
              <a:rPr lang="en-US" dirty="0"/>
              <a:t> et </a:t>
            </a:r>
            <a:r>
              <a:rPr lang="en-US" dirty="0" err="1"/>
              <a:t>verktøy</a:t>
            </a:r>
            <a:r>
              <a:rPr lang="en-US" dirty="0"/>
              <a:t> </a:t>
            </a:r>
          </a:p>
          <a:p>
            <a:r>
              <a:rPr lang="en-US" dirty="0" err="1"/>
              <a:t>Skjulte</a:t>
            </a:r>
            <a:r>
              <a:rPr lang="en-US" dirty="0"/>
              <a:t> </a:t>
            </a:r>
            <a:r>
              <a:rPr lang="en-US" dirty="0" err="1"/>
              <a:t>kostnader</a:t>
            </a:r>
            <a:r>
              <a:rPr lang="en-US" dirty="0"/>
              <a:t> </a:t>
            </a:r>
            <a:r>
              <a:rPr lang="en-US" dirty="0" err="1"/>
              <a:t>ved</a:t>
            </a:r>
            <a:r>
              <a:rPr lang="en-US" dirty="0"/>
              <a:t> å </a:t>
            </a:r>
            <a:r>
              <a:rPr lang="en-US" dirty="0" err="1"/>
              <a:t>ikke</a:t>
            </a:r>
            <a:r>
              <a:rPr lang="en-US" dirty="0"/>
              <a:t> </a:t>
            </a:r>
            <a:r>
              <a:rPr lang="en-US" dirty="0" err="1"/>
              <a:t>gjøre</a:t>
            </a:r>
            <a:r>
              <a:rPr lang="en-US" dirty="0"/>
              <a:t> </a:t>
            </a:r>
            <a:r>
              <a:rPr lang="en-US" dirty="0" err="1"/>
              <a:t>noe</a:t>
            </a:r>
            <a:r>
              <a:rPr lang="en-US" dirty="0"/>
              <a:t> er </a:t>
            </a:r>
            <a:r>
              <a:rPr lang="en-US" dirty="0" err="1"/>
              <a:t>vanskelig</a:t>
            </a:r>
            <a:r>
              <a:rPr lang="en-US" dirty="0"/>
              <a:t> å vise, </a:t>
            </a:r>
            <a:r>
              <a:rPr lang="en-US" dirty="0" err="1"/>
              <a:t>argumentere</a:t>
            </a:r>
            <a:r>
              <a:rPr lang="en-US" dirty="0"/>
              <a:t> med. Ser </a:t>
            </a:r>
            <a:r>
              <a:rPr lang="en-US" dirty="0" err="1"/>
              <a:t>ikke</a:t>
            </a:r>
            <a:r>
              <a:rPr lang="en-US" dirty="0"/>
              <a:t> </a:t>
            </a:r>
            <a:r>
              <a:rPr lang="en-US" dirty="0" err="1"/>
              <a:t>kosten</a:t>
            </a:r>
            <a:r>
              <a:rPr lang="en-US" dirty="0"/>
              <a:t> </a:t>
            </a:r>
            <a:r>
              <a:rPr lang="en-US" dirty="0" err="1"/>
              <a:t>som</a:t>
            </a:r>
            <a:r>
              <a:rPr lang="en-US" dirty="0"/>
              <a:t> spares </a:t>
            </a:r>
            <a:r>
              <a:rPr lang="en-US" dirty="0" err="1"/>
              <a:t>ved</a:t>
            </a:r>
            <a:r>
              <a:rPr lang="en-US" dirty="0"/>
              <a:t> at folk </a:t>
            </a:r>
            <a:r>
              <a:rPr lang="en-US" dirty="0" err="1"/>
              <a:t>kan</a:t>
            </a:r>
            <a:r>
              <a:rPr lang="en-US" dirty="0"/>
              <a:t> </a:t>
            </a:r>
            <a:r>
              <a:rPr lang="en-US" dirty="0" err="1"/>
              <a:t>gjøre</a:t>
            </a:r>
            <a:r>
              <a:rPr lang="en-US" dirty="0"/>
              <a:t> </a:t>
            </a:r>
            <a:r>
              <a:rPr lang="en-US" dirty="0" err="1"/>
              <a:t>andre</a:t>
            </a:r>
            <a:r>
              <a:rPr lang="en-US" dirty="0"/>
              <a:t> ting. </a:t>
            </a:r>
          </a:p>
          <a:p>
            <a:r>
              <a:rPr lang="en-US" dirty="0" err="1"/>
              <a:t>Organisasjonen</a:t>
            </a:r>
            <a:r>
              <a:rPr lang="en-US" dirty="0"/>
              <a:t> </a:t>
            </a:r>
            <a:r>
              <a:rPr lang="en-US" dirty="0" err="1"/>
              <a:t>moden</a:t>
            </a:r>
            <a:r>
              <a:rPr lang="en-US" dirty="0"/>
              <a:t> for å ta </a:t>
            </a:r>
            <a:r>
              <a:rPr lang="en-US" dirty="0" err="1"/>
              <a:t>ansvaret</a:t>
            </a:r>
            <a:r>
              <a:rPr lang="en-US" dirty="0"/>
              <a:t>? Business </a:t>
            </a:r>
            <a:r>
              <a:rPr lang="en-US" dirty="0" err="1"/>
              <a:t>og</a:t>
            </a:r>
            <a:r>
              <a:rPr lang="en-US" dirty="0"/>
              <a:t> IT </a:t>
            </a:r>
            <a:r>
              <a:rPr lang="en-US" dirty="0" err="1"/>
              <a:t>peker</a:t>
            </a:r>
            <a:r>
              <a:rPr lang="en-US" dirty="0"/>
              <a:t> </a:t>
            </a:r>
            <a:r>
              <a:rPr lang="en-US" dirty="0" err="1"/>
              <a:t>på</a:t>
            </a:r>
            <a:r>
              <a:rPr lang="en-US" dirty="0"/>
              <a:t> </a:t>
            </a:r>
            <a:r>
              <a:rPr lang="en-US" dirty="0" err="1"/>
              <a:t>hverandre</a:t>
            </a:r>
            <a:r>
              <a:rPr lang="en-US" dirty="0"/>
              <a:t>. Blame game. </a:t>
            </a:r>
            <a:r>
              <a:rPr lang="en-US" dirty="0" err="1"/>
              <a:t>Millioner</a:t>
            </a:r>
            <a:r>
              <a:rPr lang="en-US" dirty="0"/>
              <a:t> </a:t>
            </a:r>
            <a:r>
              <a:rPr lang="en-US" dirty="0" err="1"/>
              <a:t>på</a:t>
            </a:r>
            <a:r>
              <a:rPr lang="en-US" dirty="0"/>
              <a:t> å </a:t>
            </a:r>
            <a:r>
              <a:rPr lang="en-US" dirty="0" err="1"/>
              <a:t>bygge</a:t>
            </a:r>
            <a:r>
              <a:rPr lang="en-US" dirty="0"/>
              <a:t> en </a:t>
            </a:r>
            <a:r>
              <a:rPr lang="en-US" dirty="0" err="1"/>
              <a:t>dataplatform</a:t>
            </a:r>
            <a:r>
              <a:rPr lang="en-US" dirty="0"/>
              <a:t> for å </a:t>
            </a:r>
            <a:r>
              <a:rPr lang="en-US" dirty="0" err="1"/>
              <a:t>bli</a:t>
            </a:r>
            <a:r>
              <a:rPr lang="en-US" dirty="0"/>
              <a:t> </a:t>
            </a:r>
            <a:r>
              <a:rPr lang="en-US" dirty="0" err="1"/>
              <a:t>innsiktsdrevet</a:t>
            </a:r>
            <a:r>
              <a:rPr lang="en-US" dirty="0"/>
              <a:t>, men </a:t>
            </a:r>
            <a:r>
              <a:rPr lang="en-US" dirty="0" err="1"/>
              <a:t>hjelper</a:t>
            </a:r>
            <a:r>
              <a:rPr lang="en-US" dirty="0"/>
              <a:t> </a:t>
            </a:r>
            <a:r>
              <a:rPr lang="en-US" dirty="0" err="1"/>
              <a:t>ikke</a:t>
            </a:r>
            <a:r>
              <a:rPr lang="en-US" dirty="0"/>
              <a:t> </a:t>
            </a:r>
            <a:r>
              <a:rPr lang="en-US" dirty="0" err="1"/>
              <a:t>når</a:t>
            </a:r>
            <a:r>
              <a:rPr lang="en-US" dirty="0"/>
              <a:t> de </a:t>
            </a:r>
            <a:r>
              <a:rPr lang="en-US" dirty="0" err="1"/>
              <a:t>ikke</a:t>
            </a:r>
            <a:r>
              <a:rPr lang="en-US" dirty="0"/>
              <a:t> </a:t>
            </a:r>
            <a:r>
              <a:rPr lang="en-US" dirty="0" err="1"/>
              <a:t>kan</a:t>
            </a:r>
            <a:r>
              <a:rPr lang="en-US" dirty="0"/>
              <a:t> </a:t>
            </a:r>
            <a:r>
              <a:rPr lang="en-US" dirty="0" err="1"/>
              <a:t>bruke</a:t>
            </a:r>
            <a:r>
              <a:rPr lang="en-US" dirty="0"/>
              <a:t> de </a:t>
            </a:r>
            <a:r>
              <a:rPr lang="en-US" dirty="0" err="1"/>
              <a:t>til</a:t>
            </a:r>
            <a:r>
              <a:rPr lang="en-US" dirty="0"/>
              <a:t> </a:t>
            </a:r>
            <a:r>
              <a:rPr lang="en-US" dirty="0" err="1"/>
              <a:t>noe</a:t>
            </a:r>
            <a:r>
              <a:rPr lang="en-US" dirty="0"/>
              <a:t>, </a:t>
            </a:r>
            <a:r>
              <a:rPr lang="en-US" dirty="0" err="1"/>
              <a:t>stoler</a:t>
            </a:r>
            <a:r>
              <a:rPr lang="en-US" dirty="0"/>
              <a:t> </a:t>
            </a:r>
            <a:r>
              <a:rPr lang="en-US" dirty="0" err="1"/>
              <a:t>på</a:t>
            </a:r>
            <a:r>
              <a:rPr lang="en-US" dirty="0"/>
              <a:t> de</a:t>
            </a:r>
          </a:p>
        </p:txBody>
      </p:sp>
      <p:sp>
        <p:nvSpPr>
          <p:cNvPr id="4" name="Slide Number Placeholder 3"/>
          <p:cNvSpPr>
            <a:spLocks noGrp="1"/>
          </p:cNvSpPr>
          <p:nvPr>
            <p:ph type="sldNum" sz="quarter" idx="5"/>
          </p:nvPr>
        </p:nvSpPr>
        <p:spPr/>
        <p:txBody>
          <a:bodyPr/>
          <a:lstStyle/>
          <a:p>
            <a:fld id="{C0696B5C-12A0-4042-B4D0-BD3B9A4F58C6}" type="slidenum">
              <a:rPr lang="pt-BR" smtClean="0"/>
              <a:pPr/>
              <a:t>32</a:t>
            </a:fld>
            <a:endParaRPr lang="pt-BR"/>
          </a:p>
        </p:txBody>
      </p:sp>
    </p:spTree>
    <p:extLst>
      <p:ext uri="{BB962C8B-B14F-4D97-AF65-F5344CB8AC3E}">
        <p14:creationId xmlns:p14="http://schemas.microsoft.com/office/powerpoint/2010/main" val="261859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11396510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
            </a:r>
          </a:p>
        </p:txBody>
      </p:sp>
      <p:sp>
        <p:nvSpPr>
          <p:cNvPr id="4" name="Slide Number Placeholder 3"/>
          <p:cNvSpPr>
            <a:spLocks noGrp="1"/>
          </p:cNvSpPr>
          <p:nvPr>
            <p:ph type="sldNum" sz="quarter" idx="5"/>
          </p:nvPr>
        </p:nvSpPr>
        <p:spPr/>
        <p:txBody>
          <a:bodyPr/>
          <a:lstStyle/>
          <a:p>
            <a:fld id="{C0696B5C-12A0-4042-B4D0-BD3B9A4F58C6}" type="slidenum">
              <a:rPr lang="pt-BR" smtClean="0"/>
              <a:pPr/>
              <a:t>36</a:t>
            </a:fld>
            <a:endParaRPr lang="pt-BR"/>
          </a:p>
        </p:txBody>
      </p:sp>
    </p:spTree>
    <p:extLst>
      <p:ext uri="{BB962C8B-B14F-4D97-AF65-F5344CB8AC3E}">
        <p14:creationId xmlns:p14="http://schemas.microsoft.com/office/powerpoint/2010/main" val="683077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rthe</a:t>
            </a:r>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20190991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L</a:t>
            </a:r>
          </a:p>
        </p:txBody>
      </p:sp>
      <p:sp>
        <p:nvSpPr>
          <p:cNvPr id="4" name="Slide Number Placeholder 3"/>
          <p:cNvSpPr>
            <a:spLocks noGrp="1"/>
          </p:cNvSpPr>
          <p:nvPr>
            <p:ph type="sldNum" sz="quarter" idx="5"/>
          </p:nvPr>
        </p:nvSpPr>
        <p:spPr/>
        <p:txBody>
          <a:bodyPr/>
          <a:lstStyle/>
          <a:p>
            <a:fld id="{C0696B5C-12A0-4042-B4D0-BD3B9A4F58C6}" type="slidenum">
              <a:rPr lang="pt-BR" smtClean="0"/>
              <a:pPr/>
              <a:t>38</a:t>
            </a:fld>
            <a:endParaRPr lang="pt-BR"/>
          </a:p>
        </p:txBody>
      </p:sp>
    </p:spTree>
    <p:extLst>
      <p:ext uri="{BB962C8B-B14F-4D97-AF65-F5344CB8AC3E}">
        <p14:creationId xmlns:p14="http://schemas.microsoft.com/office/powerpoint/2010/main" val="41395182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52</a:t>
            </a:fld>
            <a:endParaRPr lang="pt-BR"/>
          </a:p>
        </p:txBody>
      </p:sp>
    </p:spTree>
    <p:extLst>
      <p:ext uri="{BB962C8B-B14F-4D97-AF65-F5344CB8AC3E}">
        <p14:creationId xmlns:p14="http://schemas.microsoft.com/office/powerpoint/2010/main" val="109361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t>70</a:t>
            </a:fld>
            <a:endParaRPr lang="pt-BR"/>
          </a:p>
        </p:txBody>
      </p:sp>
    </p:spTree>
    <p:extLst>
      <p:ext uri="{BB962C8B-B14F-4D97-AF65-F5344CB8AC3E}">
        <p14:creationId xmlns:p14="http://schemas.microsoft.com/office/powerpoint/2010/main" val="39669567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76</a:t>
            </a:fld>
            <a:endParaRPr lang="pt-BR"/>
          </a:p>
        </p:txBody>
      </p:sp>
    </p:spTree>
    <p:extLst>
      <p:ext uri="{BB962C8B-B14F-4D97-AF65-F5344CB8AC3E}">
        <p14:creationId xmlns:p14="http://schemas.microsoft.com/office/powerpoint/2010/main" val="25912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han Ludvig</a:t>
            </a:r>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4785811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
            </a:r>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15698619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
            </a:r>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71955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
            </a:r>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873839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L</a:t>
            </a:r>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1865245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
            </a:r>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22962962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0424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140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2199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82209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10247364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peaker Slide">
    <p:spTree>
      <p:nvGrpSpPr>
        <p:cNvPr id="1" name=""/>
        <p:cNvGrpSpPr/>
        <p:nvPr/>
      </p:nvGrpSpPr>
      <p:grpSpPr>
        <a:xfrm>
          <a:off x="0" y="0"/>
          <a:ext cx="0" cy="0"/>
          <a:chOff x="0" y="0"/>
          <a:chExt cx="0" cy="0"/>
        </a:xfrm>
      </p:grpSpPr>
      <p:sp>
        <p:nvSpPr>
          <p:cNvPr id="36" name="Parallelogram 53">
            <a:extLst>
              <a:ext uri="{FF2B5EF4-FFF2-40B4-BE49-F238E27FC236}">
                <a16:creationId xmlns:a16="http://schemas.microsoft.com/office/drawing/2014/main" id="{D5A75548-FCF0-634D-8D10-19488C75DFF0}"/>
              </a:ext>
            </a:extLst>
          </p:cNvPr>
          <p:cNvSpPr/>
          <p:nvPr userDrawn="1"/>
        </p:nvSpPr>
        <p:spPr>
          <a:xfrm rot="10800000" flipH="1" flipV="1">
            <a:off x="5596690" y="-34073"/>
            <a:ext cx="6633400" cy="6944936"/>
          </a:xfrm>
          <a:custGeom>
            <a:avLst/>
            <a:gdLst>
              <a:gd name="connsiteX0" fmla="*/ 0 w 7211832"/>
              <a:gd name="connsiteY0" fmla="*/ 5143500 h 5143500"/>
              <a:gd name="connsiteX1" fmla="*/ 2747195 w 7211832"/>
              <a:gd name="connsiteY1" fmla="*/ 0 h 5143500"/>
              <a:gd name="connsiteX2" fmla="*/ 7211832 w 7211832"/>
              <a:gd name="connsiteY2" fmla="*/ 0 h 5143500"/>
              <a:gd name="connsiteX3" fmla="*/ 4464637 w 7211832"/>
              <a:gd name="connsiteY3" fmla="*/ 5143500 h 5143500"/>
              <a:gd name="connsiteX4" fmla="*/ 0 w 7211832"/>
              <a:gd name="connsiteY4" fmla="*/ 5143500 h 5143500"/>
              <a:gd name="connsiteX0" fmla="*/ 0 w 5249218"/>
              <a:gd name="connsiteY0" fmla="*/ 5143500 h 5143500"/>
              <a:gd name="connsiteX1" fmla="*/ 2747195 w 5249218"/>
              <a:gd name="connsiteY1" fmla="*/ 0 h 5143500"/>
              <a:gd name="connsiteX2" fmla="*/ 5249218 w 5249218"/>
              <a:gd name="connsiteY2" fmla="*/ 0 h 5143500"/>
              <a:gd name="connsiteX3" fmla="*/ 4464637 w 5249218"/>
              <a:gd name="connsiteY3" fmla="*/ 5143500 h 5143500"/>
              <a:gd name="connsiteX4" fmla="*/ 0 w 5249218"/>
              <a:gd name="connsiteY4" fmla="*/ 5143500 h 5143500"/>
              <a:gd name="connsiteX0" fmla="*/ 0 w 5472242"/>
              <a:gd name="connsiteY0" fmla="*/ 5143500 h 5143500"/>
              <a:gd name="connsiteX1" fmla="*/ 2747195 w 5472242"/>
              <a:gd name="connsiteY1" fmla="*/ 0 h 5143500"/>
              <a:gd name="connsiteX2" fmla="*/ 5472242 w 5472242"/>
              <a:gd name="connsiteY2" fmla="*/ 7434 h 5143500"/>
              <a:gd name="connsiteX3" fmla="*/ 4464637 w 5472242"/>
              <a:gd name="connsiteY3" fmla="*/ 5143500 h 5143500"/>
              <a:gd name="connsiteX4" fmla="*/ 0 w 5472242"/>
              <a:gd name="connsiteY4" fmla="*/ 5143500 h 5143500"/>
              <a:gd name="connsiteX0" fmla="*/ 0 w 5472242"/>
              <a:gd name="connsiteY0" fmla="*/ 5143500 h 5165803"/>
              <a:gd name="connsiteX1" fmla="*/ 2747195 w 5472242"/>
              <a:gd name="connsiteY1" fmla="*/ 0 h 5165803"/>
              <a:gd name="connsiteX2" fmla="*/ 5472242 w 5472242"/>
              <a:gd name="connsiteY2" fmla="*/ 7434 h 5165803"/>
              <a:gd name="connsiteX3" fmla="*/ 5468246 w 5472242"/>
              <a:gd name="connsiteY3" fmla="*/ 5165803 h 5165803"/>
              <a:gd name="connsiteX4" fmla="*/ 0 w 5472242"/>
              <a:gd name="connsiteY4" fmla="*/ 5143500 h 5165803"/>
              <a:gd name="connsiteX0" fmla="*/ 0 w 5472242"/>
              <a:gd name="connsiteY0" fmla="*/ 5143500 h 5143500"/>
              <a:gd name="connsiteX1" fmla="*/ 2747195 w 5472242"/>
              <a:gd name="connsiteY1" fmla="*/ 0 h 5143500"/>
              <a:gd name="connsiteX2" fmla="*/ 5472242 w 5472242"/>
              <a:gd name="connsiteY2" fmla="*/ 7434 h 5143500"/>
              <a:gd name="connsiteX3" fmla="*/ 3698919 w 5472242"/>
              <a:gd name="connsiteY3" fmla="*/ 4942779 h 5143500"/>
              <a:gd name="connsiteX4" fmla="*/ 0 w 5472242"/>
              <a:gd name="connsiteY4" fmla="*/ 5143500 h 5143500"/>
              <a:gd name="connsiteX0" fmla="*/ 0 w 5472242"/>
              <a:gd name="connsiteY0" fmla="*/ 5143500 h 5150935"/>
              <a:gd name="connsiteX1" fmla="*/ 2747195 w 5472242"/>
              <a:gd name="connsiteY1" fmla="*/ 0 h 5150935"/>
              <a:gd name="connsiteX2" fmla="*/ 5472242 w 5472242"/>
              <a:gd name="connsiteY2" fmla="*/ 7434 h 5150935"/>
              <a:gd name="connsiteX3" fmla="*/ 4301085 w 5472242"/>
              <a:gd name="connsiteY3" fmla="*/ 5150935 h 5150935"/>
              <a:gd name="connsiteX4" fmla="*/ 0 w 5472242"/>
              <a:gd name="connsiteY4" fmla="*/ 5143500 h 5150935"/>
              <a:gd name="connsiteX0" fmla="*/ 0 w 4728828"/>
              <a:gd name="connsiteY0" fmla="*/ 5143500 h 5150935"/>
              <a:gd name="connsiteX1" fmla="*/ 2747195 w 4728828"/>
              <a:gd name="connsiteY1" fmla="*/ 0 h 5150935"/>
              <a:gd name="connsiteX2" fmla="*/ 4728828 w 4728828"/>
              <a:gd name="connsiteY2" fmla="*/ 223024 h 5150935"/>
              <a:gd name="connsiteX3" fmla="*/ 4301085 w 4728828"/>
              <a:gd name="connsiteY3" fmla="*/ 5150935 h 5150935"/>
              <a:gd name="connsiteX4" fmla="*/ 0 w 4728828"/>
              <a:gd name="connsiteY4" fmla="*/ 5143500 h 5150935"/>
              <a:gd name="connsiteX0" fmla="*/ 0 w 4342253"/>
              <a:gd name="connsiteY0" fmla="*/ 5173237 h 5180672"/>
              <a:gd name="connsiteX1" fmla="*/ 2747195 w 4342253"/>
              <a:gd name="connsiteY1" fmla="*/ 29737 h 5180672"/>
              <a:gd name="connsiteX2" fmla="*/ 4342253 w 4342253"/>
              <a:gd name="connsiteY2" fmla="*/ 0 h 5180672"/>
              <a:gd name="connsiteX3" fmla="*/ 4301085 w 4342253"/>
              <a:gd name="connsiteY3" fmla="*/ 5180672 h 5180672"/>
              <a:gd name="connsiteX4" fmla="*/ 0 w 4342253"/>
              <a:gd name="connsiteY4" fmla="*/ 5173237 h 5180672"/>
              <a:gd name="connsiteX0" fmla="*/ 0 w 4370700"/>
              <a:gd name="connsiteY0" fmla="*/ 5143500 h 5150935"/>
              <a:gd name="connsiteX1" fmla="*/ 2747195 w 4370700"/>
              <a:gd name="connsiteY1" fmla="*/ 0 h 5150935"/>
              <a:gd name="connsiteX2" fmla="*/ 4370700 w 4370700"/>
              <a:gd name="connsiteY2" fmla="*/ 190735 h 5150935"/>
              <a:gd name="connsiteX3" fmla="*/ 4301085 w 4370700"/>
              <a:gd name="connsiteY3" fmla="*/ 5150935 h 5150935"/>
              <a:gd name="connsiteX4" fmla="*/ 0 w 4370700"/>
              <a:gd name="connsiteY4" fmla="*/ 5143500 h 5150935"/>
              <a:gd name="connsiteX0" fmla="*/ 0 w 4370700"/>
              <a:gd name="connsiteY0" fmla="*/ 4965700 h 4973135"/>
              <a:gd name="connsiteX1" fmla="*/ 2647627 w 4370700"/>
              <a:gd name="connsiteY1" fmla="*/ 0 h 4973135"/>
              <a:gd name="connsiteX2" fmla="*/ 4370700 w 4370700"/>
              <a:gd name="connsiteY2" fmla="*/ 12935 h 4973135"/>
              <a:gd name="connsiteX3" fmla="*/ 4301085 w 4370700"/>
              <a:gd name="connsiteY3" fmla="*/ 4973135 h 4973135"/>
              <a:gd name="connsiteX4" fmla="*/ 0 w 4370700"/>
              <a:gd name="connsiteY4" fmla="*/ 4965700 h 4973135"/>
              <a:gd name="connsiteX0" fmla="*/ 0 w 4301085"/>
              <a:gd name="connsiteY0" fmla="*/ 4965700 h 4973135"/>
              <a:gd name="connsiteX1" fmla="*/ 2647627 w 4301085"/>
              <a:gd name="connsiteY1" fmla="*/ 0 h 4973135"/>
              <a:gd name="connsiteX2" fmla="*/ 3686714 w 4301085"/>
              <a:gd name="connsiteY2" fmla="*/ 261657 h 4973135"/>
              <a:gd name="connsiteX3" fmla="*/ 4301085 w 4301085"/>
              <a:gd name="connsiteY3" fmla="*/ 4973135 h 4973135"/>
              <a:gd name="connsiteX4" fmla="*/ 0 w 4301085"/>
              <a:gd name="connsiteY4" fmla="*/ 4965700 h 4973135"/>
              <a:gd name="connsiteX0" fmla="*/ 0 w 3686714"/>
              <a:gd name="connsiteY0" fmla="*/ 4965700 h 4965700"/>
              <a:gd name="connsiteX1" fmla="*/ 2647627 w 3686714"/>
              <a:gd name="connsiteY1" fmla="*/ 0 h 4965700"/>
              <a:gd name="connsiteX2" fmla="*/ 3686714 w 3686714"/>
              <a:gd name="connsiteY2" fmla="*/ 261657 h 4965700"/>
              <a:gd name="connsiteX3" fmla="*/ 3548010 w 3686714"/>
              <a:gd name="connsiteY3" fmla="*/ 4579325 h 4965700"/>
              <a:gd name="connsiteX4" fmla="*/ 0 w 3686714"/>
              <a:gd name="connsiteY4" fmla="*/ 4965700 h 4965700"/>
              <a:gd name="connsiteX0" fmla="*/ 0 w 4343065"/>
              <a:gd name="connsiteY0" fmla="*/ 4966583 h 4966583"/>
              <a:gd name="connsiteX1" fmla="*/ 2647627 w 4343065"/>
              <a:gd name="connsiteY1" fmla="*/ 883 h 4966583"/>
              <a:gd name="connsiteX2" fmla="*/ 4343065 w 4343065"/>
              <a:gd name="connsiteY2" fmla="*/ 0 h 4966583"/>
              <a:gd name="connsiteX3" fmla="*/ 3548010 w 4343065"/>
              <a:gd name="connsiteY3" fmla="*/ 4580208 h 4966583"/>
              <a:gd name="connsiteX4" fmla="*/ 0 w 4343065"/>
              <a:gd name="connsiteY4" fmla="*/ 4966583 h 4966583"/>
              <a:gd name="connsiteX0" fmla="*/ 0 w 4343065"/>
              <a:gd name="connsiteY0" fmla="*/ 4966583 h 4974018"/>
              <a:gd name="connsiteX1" fmla="*/ 2647627 w 4343065"/>
              <a:gd name="connsiteY1" fmla="*/ 883 h 4974018"/>
              <a:gd name="connsiteX2" fmla="*/ 4343065 w 4343065"/>
              <a:gd name="connsiteY2" fmla="*/ 0 h 4974018"/>
              <a:gd name="connsiteX3" fmla="*/ 4342539 w 4343065"/>
              <a:gd name="connsiteY3" fmla="*/ 4974018 h 4974018"/>
              <a:gd name="connsiteX4" fmla="*/ 0 w 4343065"/>
              <a:gd name="connsiteY4" fmla="*/ 4966583 h 4974018"/>
              <a:gd name="connsiteX0" fmla="*/ 0 w 4343065"/>
              <a:gd name="connsiteY0" fmla="*/ 4972608 h 4980043"/>
              <a:gd name="connsiteX1" fmla="*/ 1569832 w 4343065"/>
              <a:gd name="connsiteY1" fmla="*/ 0 h 4980043"/>
              <a:gd name="connsiteX2" fmla="*/ 4343065 w 4343065"/>
              <a:gd name="connsiteY2" fmla="*/ 6025 h 4980043"/>
              <a:gd name="connsiteX3" fmla="*/ 4342539 w 4343065"/>
              <a:gd name="connsiteY3" fmla="*/ 4980043 h 4980043"/>
              <a:gd name="connsiteX4" fmla="*/ 0 w 4343065"/>
              <a:gd name="connsiteY4" fmla="*/ 4972608 h 4980043"/>
              <a:gd name="connsiteX0" fmla="*/ 0 w 4723057"/>
              <a:gd name="connsiteY0" fmla="*/ 4972608 h 4980043"/>
              <a:gd name="connsiteX1" fmla="*/ 1569832 w 4723057"/>
              <a:gd name="connsiteY1" fmla="*/ 0 h 4980043"/>
              <a:gd name="connsiteX2" fmla="*/ 4723057 w 4723057"/>
              <a:gd name="connsiteY2" fmla="*/ 19843 h 4980043"/>
              <a:gd name="connsiteX3" fmla="*/ 4342539 w 4723057"/>
              <a:gd name="connsiteY3" fmla="*/ 4980043 h 4980043"/>
              <a:gd name="connsiteX4" fmla="*/ 0 w 4723057"/>
              <a:gd name="connsiteY4" fmla="*/ 4972608 h 4980043"/>
              <a:gd name="connsiteX0" fmla="*/ 0 w 4736350"/>
              <a:gd name="connsiteY0" fmla="*/ 4972608 h 4972608"/>
              <a:gd name="connsiteX1" fmla="*/ 1569832 w 4736350"/>
              <a:gd name="connsiteY1" fmla="*/ 0 h 4972608"/>
              <a:gd name="connsiteX2" fmla="*/ 4723057 w 4736350"/>
              <a:gd name="connsiteY2" fmla="*/ 19843 h 4972608"/>
              <a:gd name="connsiteX3" fmla="*/ 4736349 w 4736350"/>
              <a:gd name="connsiteY3" fmla="*/ 4959317 h 4972608"/>
              <a:gd name="connsiteX4" fmla="*/ 0 w 4736350"/>
              <a:gd name="connsiteY4" fmla="*/ 4972608 h 4972608"/>
              <a:gd name="connsiteX0" fmla="*/ 0 w 4736350"/>
              <a:gd name="connsiteY0" fmla="*/ 4958790 h 4958790"/>
              <a:gd name="connsiteX1" fmla="*/ 1362564 w 4736350"/>
              <a:gd name="connsiteY1" fmla="*/ 0 h 4958790"/>
              <a:gd name="connsiteX2" fmla="*/ 4723057 w 4736350"/>
              <a:gd name="connsiteY2" fmla="*/ 6025 h 4958790"/>
              <a:gd name="connsiteX3" fmla="*/ 4736349 w 4736350"/>
              <a:gd name="connsiteY3" fmla="*/ 4945499 h 4958790"/>
              <a:gd name="connsiteX4" fmla="*/ 0 w 4736350"/>
              <a:gd name="connsiteY4" fmla="*/ 4958790 h 4958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6350" h="4958790">
                <a:moveTo>
                  <a:pt x="0" y="4958790"/>
                </a:moveTo>
                <a:lnTo>
                  <a:pt x="1362564" y="0"/>
                </a:lnTo>
                <a:lnTo>
                  <a:pt x="4723057" y="6025"/>
                </a:lnTo>
                <a:cubicBezTo>
                  <a:pt x="4722882" y="1664031"/>
                  <a:pt x="4736524" y="3287493"/>
                  <a:pt x="4736349" y="4945499"/>
                </a:cubicBezTo>
                <a:lnTo>
                  <a:pt x="0" y="495879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hasCustomPrompt="1"/>
          </p:nvPr>
        </p:nvSpPr>
        <p:spPr>
          <a:xfrm>
            <a:off x="664526" y="3307383"/>
            <a:ext cx="4331368" cy="627904"/>
          </a:xfrm>
        </p:spPr>
        <p:txBody>
          <a:bodyPr anchor="b"/>
          <a:lstStyle>
            <a:lvl1pPr algn="l">
              <a:defRPr sz="4267"/>
            </a:lvl1pPr>
          </a:lstStyle>
          <a:p>
            <a:r>
              <a:rPr lang="en-US"/>
              <a:t>Speaker Name</a:t>
            </a:r>
          </a:p>
        </p:txBody>
      </p:sp>
      <p:sp>
        <p:nvSpPr>
          <p:cNvPr id="18" name="Text Placeholder 17"/>
          <p:cNvSpPr>
            <a:spLocks noGrp="1"/>
          </p:cNvSpPr>
          <p:nvPr>
            <p:ph type="body" sz="quarter" idx="10" hasCustomPrompt="1"/>
          </p:nvPr>
        </p:nvSpPr>
        <p:spPr>
          <a:xfrm>
            <a:off x="664756" y="3926055"/>
            <a:ext cx="4330700" cy="540913"/>
          </a:xfrm>
        </p:spPr>
        <p:txBody>
          <a:bodyPr/>
          <a:lstStyle>
            <a:lvl1pPr marL="0" marR="0" indent="0" algn="l" defTabSz="609628" rtl="0" eaLnBrk="1" fontAlgn="auto" latinLnBrk="0" hangingPunct="1">
              <a:lnSpc>
                <a:spcPct val="100000"/>
              </a:lnSpc>
              <a:spcBef>
                <a:spcPct val="0"/>
              </a:spcBef>
              <a:spcAft>
                <a:spcPts val="0"/>
              </a:spcAft>
              <a:buClrTx/>
              <a:buSzTx/>
              <a:buFontTx/>
              <a:buNone/>
              <a:tabLst/>
              <a:defRPr kumimoji="0" lang="en-US" sz="2667" b="0" i="0" u="none" strike="noStrike" kern="1200" cap="none" spc="0" normalizeH="0" baseline="0" dirty="0">
                <a:ln>
                  <a:noFill/>
                </a:ln>
                <a:solidFill>
                  <a:schemeClr val="accent3"/>
                </a:solidFill>
                <a:effectLst/>
                <a:uLnTx/>
                <a:uFillTx/>
                <a:latin typeface="+mn-lt"/>
                <a:ea typeface="Segoe UI Light" charset="0"/>
                <a:cs typeface="Segoe UI Light" charset="0"/>
              </a:defRPr>
            </a:lvl1pPr>
          </a:lstStyle>
          <a:p>
            <a:pPr lvl="0"/>
            <a:r>
              <a:rPr lang="en-US"/>
              <a:t>Title, Company</a:t>
            </a:r>
          </a:p>
        </p:txBody>
      </p:sp>
      <p:sp>
        <p:nvSpPr>
          <p:cNvPr id="23" name="Text Placeholder 17"/>
          <p:cNvSpPr>
            <a:spLocks noGrp="1"/>
          </p:cNvSpPr>
          <p:nvPr>
            <p:ph type="body" sz="quarter" idx="11" hasCustomPrompt="1"/>
          </p:nvPr>
        </p:nvSpPr>
        <p:spPr>
          <a:xfrm>
            <a:off x="7759341" y="1514757"/>
            <a:ext cx="3929500" cy="358448"/>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867" b="0" i="0" u="none" strike="noStrike" kern="1200" cap="none" spc="0" normalizeH="0" baseline="0" dirty="0">
                <a:ln>
                  <a:noFill/>
                </a:ln>
                <a:solidFill>
                  <a:schemeClr val="tx1"/>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a:t>Biography Point One</a:t>
            </a:r>
          </a:p>
        </p:txBody>
      </p:sp>
      <p:sp>
        <p:nvSpPr>
          <p:cNvPr id="39" name="Picture Placeholder 38"/>
          <p:cNvSpPr>
            <a:spLocks noGrp="1"/>
          </p:cNvSpPr>
          <p:nvPr>
            <p:ph type="pic" sz="quarter" idx="12" hasCustomPrompt="1"/>
          </p:nvPr>
        </p:nvSpPr>
        <p:spPr>
          <a:xfrm>
            <a:off x="664526" y="859692"/>
            <a:ext cx="1924051" cy="1924049"/>
          </a:xfrm>
          <a:prstGeom prst="ellipse">
            <a:avLst/>
          </a:prstGeom>
          <a:solidFill>
            <a:schemeClr val="bg2">
              <a:lumMod val="95000"/>
            </a:schemeClr>
          </a:solidFill>
        </p:spPr>
        <p:txBody>
          <a:bodyPr anchor="ctr"/>
          <a:lstStyle>
            <a:lvl1pPr algn="ctr">
              <a:defRPr sz="1400"/>
            </a:lvl1pPr>
          </a:lstStyle>
          <a:p>
            <a:r>
              <a:rPr lang="en-US"/>
              <a:t>PLACE YOUR PHOTO HERE</a:t>
            </a:r>
          </a:p>
        </p:txBody>
      </p:sp>
      <p:sp>
        <p:nvSpPr>
          <p:cNvPr id="40" name="Text Placeholder 17"/>
          <p:cNvSpPr>
            <a:spLocks noGrp="1"/>
          </p:cNvSpPr>
          <p:nvPr>
            <p:ph type="body" sz="quarter" idx="13" hasCustomPrompt="1"/>
          </p:nvPr>
        </p:nvSpPr>
        <p:spPr>
          <a:xfrm>
            <a:off x="7759341" y="1873836"/>
            <a:ext cx="3929500" cy="792684"/>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pulvinar</a:t>
            </a:r>
            <a:r>
              <a:rPr lang="en-US"/>
              <a:t> </a:t>
            </a:r>
            <a:r>
              <a:rPr lang="en-US" err="1"/>
              <a:t>nunc</a:t>
            </a:r>
            <a:r>
              <a:rPr lang="en-US"/>
              <a:t> </a:t>
            </a:r>
            <a:r>
              <a:rPr lang="en-US" err="1"/>
              <a:t>est</a:t>
            </a:r>
            <a:r>
              <a:rPr lang="en-US"/>
              <a:t>, </a:t>
            </a:r>
            <a:r>
              <a:rPr lang="en-US" err="1"/>
              <a:t>quis</a:t>
            </a:r>
            <a:r>
              <a:rPr lang="en-US"/>
              <a:t> </a:t>
            </a:r>
            <a:r>
              <a:rPr lang="en-US" err="1"/>
              <a:t>congue</a:t>
            </a:r>
            <a:r>
              <a:rPr lang="en-US"/>
              <a:t> </a:t>
            </a:r>
            <a:r>
              <a:rPr lang="en-US" err="1"/>
              <a:t>massa</a:t>
            </a:r>
            <a:r>
              <a:rPr lang="en-US"/>
              <a:t> </a:t>
            </a:r>
            <a:r>
              <a:rPr lang="en-US" err="1"/>
              <a:t>lobortis</a:t>
            </a:r>
            <a:r>
              <a:rPr lang="en-US"/>
              <a:t> </a:t>
            </a:r>
            <a:r>
              <a:rPr lang="en-US" err="1"/>
              <a:t>eget</a:t>
            </a:r>
            <a:r>
              <a:rPr lang="en-US"/>
              <a:t>.</a:t>
            </a:r>
          </a:p>
        </p:txBody>
      </p:sp>
      <p:sp>
        <p:nvSpPr>
          <p:cNvPr id="41" name="Text Placeholder 17"/>
          <p:cNvSpPr>
            <a:spLocks noGrp="1"/>
          </p:cNvSpPr>
          <p:nvPr>
            <p:ph type="body" sz="quarter" idx="14" hasCustomPrompt="1"/>
          </p:nvPr>
        </p:nvSpPr>
        <p:spPr>
          <a:xfrm>
            <a:off x="7759341" y="3008431"/>
            <a:ext cx="3929500" cy="358448"/>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867" b="0" i="0" u="none" strike="noStrike" kern="1200" cap="none" spc="0" normalizeH="0" baseline="0" dirty="0">
                <a:ln>
                  <a:noFill/>
                </a:ln>
                <a:solidFill>
                  <a:schemeClr val="tx1"/>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a:t>Biography Point Two</a:t>
            </a:r>
          </a:p>
        </p:txBody>
      </p:sp>
      <p:sp>
        <p:nvSpPr>
          <p:cNvPr id="42" name="Text Placeholder 17"/>
          <p:cNvSpPr>
            <a:spLocks noGrp="1"/>
          </p:cNvSpPr>
          <p:nvPr>
            <p:ph type="body" sz="quarter" idx="15" hasCustomPrompt="1"/>
          </p:nvPr>
        </p:nvSpPr>
        <p:spPr>
          <a:xfrm>
            <a:off x="7759341" y="3367510"/>
            <a:ext cx="3929500" cy="792684"/>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pulvinar</a:t>
            </a:r>
            <a:r>
              <a:rPr lang="en-US"/>
              <a:t> </a:t>
            </a:r>
            <a:r>
              <a:rPr lang="en-US" err="1"/>
              <a:t>nunc</a:t>
            </a:r>
            <a:r>
              <a:rPr lang="en-US"/>
              <a:t> </a:t>
            </a:r>
            <a:r>
              <a:rPr lang="en-US" err="1"/>
              <a:t>est</a:t>
            </a:r>
            <a:r>
              <a:rPr lang="en-US"/>
              <a:t>, </a:t>
            </a:r>
            <a:r>
              <a:rPr lang="en-US" err="1"/>
              <a:t>quis</a:t>
            </a:r>
            <a:r>
              <a:rPr lang="en-US"/>
              <a:t> </a:t>
            </a:r>
            <a:r>
              <a:rPr lang="en-US" err="1"/>
              <a:t>congue</a:t>
            </a:r>
            <a:r>
              <a:rPr lang="en-US"/>
              <a:t> </a:t>
            </a:r>
            <a:r>
              <a:rPr lang="en-US" err="1"/>
              <a:t>massa</a:t>
            </a:r>
            <a:r>
              <a:rPr lang="en-US"/>
              <a:t> </a:t>
            </a:r>
            <a:r>
              <a:rPr lang="en-US" err="1"/>
              <a:t>lobortis</a:t>
            </a:r>
            <a:r>
              <a:rPr lang="en-US"/>
              <a:t> </a:t>
            </a:r>
            <a:r>
              <a:rPr lang="en-US" err="1"/>
              <a:t>eget</a:t>
            </a:r>
            <a:r>
              <a:rPr lang="en-US"/>
              <a:t>.</a:t>
            </a:r>
          </a:p>
        </p:txBody>
      </p:sp>
      <p:sp>
        <p:nvSpPr>
          <p:cNvPr id="43" name="Text Placeholder 17"/>
          <p:cNvSpPr>
            <a:spLocks noGrp="1"/>
          </p:cNvSpPr>
          <p:nvPr>
            <p:ph type="body" sz="quarter" idx="16" hasCustomPrompt="1"/>
          </p:nvPr>
        </p:nvSpPr>
        <p:spPr>
          <a:xfrm>
            <a:off x="7759341" y="4480060"/>
            <a:ext cx="3929500" cy="358448"/>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867" b="0" i="0" u="none" strike="noStrike" kern="1200" cap="none" spc="0" normalizeH="0" baseline="0" dirty="0">
                <a:ln>
                  <a:noFill/>
                </a:ln>
                <a:solidFill>
                  <a:schemeClr val="tx1"/>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a:t>Biography Point Three</a:t>
            </a:r>
          </a:p>
        </p:txBody>
      </p:sp>
      <p:sp>
        <p:nvSpPr>
          <p:cNvPr id="44" name="Text Placeholder 17"/>
          <p:cNvSpPr>
            <a:spLocks noGrp="1"/>
          </p:cNvSpPr>
          <p:nvPr>
            <p:ph type="body" sz="quarter" idx="17" hasCustomPrompt="1"/>
          </p:nvPr>
        </p:nvSpPr>
        <p:spPr>
          <a:xfrm>
            <a:off x="7759341" y="4839140"/>
            <a:ext cx="3929500" cy="792684"/>
          </a:xfrm>
        </p:spPr>
        <p:txBody>
          <a:bodyPr/>
          <a:lstStyle>
            <a:lvl1pPr marL="0" marR="0" indent="0" algn="l" defTabSz="1219256" rtl="0" eaLnBrk="1" fontAlgn="auto" latinLnBrk="0" hangingPunct="1">
              <a:lnSpc>
                <a:spcPct val="90000"/>
              </a:lnSpc>
              <a:spcBef>
                <a:spcPts val="1333"/>
              </a:spcBef>
              <a:spcAft>
                <a:spcPts val="0"/>
              </a:spcAft>
              <a:buClrTx/>
              <a:buSzTx/>
              <a:buFont typeface="Arial" panose="020B0604020202020204" pitchFamily="34" charset="0"/>
              <a:buNone/>
              <a:tabLst/>
              <a:defRPr kumimoji="0" lang="en-US" sz="1400" b="0" i="0" u="none" strike="noStrike" kern="1200" cap="none" spc="0" normalizeH="0" baseline="0" dirty="0">
                <a:ln>
                  <a:noFill/>
                </a:ln>
                <a:solidFill>
                  <a:schemeClr val="tx2"/>
                </a:solidFill>
                <a:effectLst/>
                <a:uLnTx/>
                <a:uFillTx/>
                <a:latin typeface="+mn-lt"/>
                <a:ea typeface="Segoe UI Light" charset="0"/>
                <a:cs typeface="Segoe UI Light" charset="0"/>
              </a:defRPr>
            </a:lvl1pPr>
          </a:lstStyle>
          <a:p>
            <a:pPr marL="0" lvl="0" indent="0" algn="l" defTabSz="1219256" rtl="0" eaLnBrk="1" latinLnBrk="0" hangingPunct="1">
              <a:lnSpc>
                <a:spcPct val="90000"/>
              </a:lnSpc>
              <a:spcBef>
                <a:spcPts val="1333"/>
              </a:spcBef>
              <a:buFont typeface="Arial" panose="020B0604020202020204" pitchFamily="34" charset="0"/>
              <a:buNone/>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Fusce</a:t>
            </a:r>
            <a:r>
              <a:rPr lang="en-US"/>
              <a:t> </a:t>
            </a:r>
            <a:r>
              <a:rPr lang="en-US" err="1"/>
              <a:t>pulvinar</a:t>
            </a:r>
            <a:r>
              <a:rPr lang="en-US"/>
              <a:t> </a:t>
            </a:r>
            <a:r>
              <a:rPr lang="en-US" err="1"/>
              <a:t>nunc</a:t>
            </a:r>
            <a:r>
              <a:rPr lang="en-US"/>
              <a:t> </a:t>
            </a:r>
            <a:r>
              <a:rPr lang="en-US" err="1"/>
              <a:t>est</a:t>
            </a:r>
            <a:r>
              <a:rPr lang="en-US"/>
              <a:t>, </a:t>
            </a:r>
            <a:r>
              <a:rPr lang="en-US" err="1"/>
              <a:t>quis</a:t>
            </a:r>
            <a:r>
              <a:rPr lang="en-US"/>
              <a:t> </a:t>
            </a:r>
            <a:r>
              <a:rPr lang="en-US" err="1"/>
              <a:t>congue</a:t>
            </a:r>
            <a:r>
              <a:rPr lang="en-US"/>
              <a:t> </a:t>
            </a:r>
            <a:r>
              <a:rPr lang="en-US" err="1"/>
              <a:t>massa</a:t>
            </a:r>
            <a:r>
              <a:rPr lang="en-US"/>
              <a:t> </a:t>
            </a:r>
            <a:r>
              <a:rPr lang="en-US" err="1"/>
              <a:t>lobortis</a:t>
            </a:r>
            <a:r>
              <a:rPr lang="en-US"/>
              <a:t> </a:t>
            </a:r>
            <a:r>
              <a:rPr lang="en-US" err="1"/>
              <a:t>eget</a:t>
            </a:r>
            <a:r>
              <a:rPr lang="en-US"/>
              <a:t>.</a:t>
            </a:r>
          </a:p>
        </p:txBody>
      </p:sp>
      <p:sp>
        <p:nvSpPr>
          <p:cNvPr id="49" name="Text Placeholder 48"/>
          <p:cNvSpPr>
            <a:spLocks noGrp="1"/>
          </p:cNvSpPr>
          <p:nvPr>
            <p:ph type="body" sz="quarter" idx="18" hasCustomPrompt="1"/>
          </p:nvPr>
        </p:nvSpPr>
        <p:spPr>
          <a:xfrm>
            <a:off x="1176051" y="4645546"/>
            <a:ext cx="1159933" cy="349250"/>
          </a:xfrm>
        </p:spPr>
        <p:txBody>
          <a:bodyPr/>
          <a:lstStyle>
            <a:lvl1pPr marL="0" algn="l" defTabSz="1219256" rtl="0" eaLnBrk="1" latinLnBrk="0" hangingPunct="1">
              <a:defRPr lang="en-US" sz="1467" kern="1200" dirty="0">
                <a:solidFill>
                  <a:schemeClr val="accent1"/>
                </a:solidFill>
                <a:latin typeface="+mn-lt"/>
                <a:ea typeface="+mn-ea"/>
                <a:cs typeface="+mn-cs"/>
              </a:defRPr>
            </a:lvl1pPr>
          </a:lstStyle>
          <a:p>
            <a:r>
              <a:rPr lang="en-US" sz="1467">
                <a:solidFill>
                  <a:schemeClr val="accent1"/>
                </a:solidFill>
              </a:rPr>
              <a:t>/</a:t>
            </a:r>
            <a:r>
              <a:rPr lang="en-US" sz="1467" err="1">
                <a:solidFill>
                  <a:schemeClr val="accent1"/>
                </a:solidFill>
              </a:rPr>
              <a:t>yourname</a:t>
            </a:r>
            <a:endParaRPr lang="en-US" sz="1467">
              <a:solidFill>
                <a:schemeClr val="accent1"/>
              </a:solidFill>
            </a:endParaRPr>
          </a:p>
        </p:txBody>
      </p:sp>
      <p:sp>
        <p:nvSpPr>
          <p:cNvPr id="50" name="Text Placeholder 48"/>
          <p:cNvSpPr>
            <a:spLocks noGrp="1"/>
          </p:cNvSpPr>
          <p:nvPr>
            <p:ph type="body" sz="quarter" idx="19" hasCustomPrompt="1"/>
          </p:nvPr>
        </p:nvSpPr>
        <p:spPr>
          <a:xfrm>
            <a:off x="1179337" y="5158385"/>
            <a:ext cx="1380211" cy="349250"/>
          </a:xfrm>
        </p:spPr>
        <p:txBody>
          <a:bodyPr/>
          <a:lstStyle>
            <a:lvl1pPr marL="0" algn="l" defTabSz="1219256" rtl="0" eaLnBrk="1" latinLnBrk="0" hangingPunct="1">
              <a:defRPr lang="en-US" sz="1467" kern="1200" dirty="0">
                <a:solidFill>
                  <a:schemeClr val="accent1"/>
                </a:solidFill>
                <a:latin typeface="+mn-lt"/>
                <a:ea typeface="+mn-ea"/>
                <a:cs typeface="+mn-cs"/>
              </a:defRPr>
            </a:lvl1pPr>
          </a:lstStyle>
          <a:p>
            <a:r>
              <a:rPr lang="en-US" sz="1467">
                <a:solidFill>
                  <a:schemeClr val="accent1"/>
                </a:solidFill>
              </a:rPr>
              <a:t>@</a:t>
            </a:r>
            <a:r>
              <a:rPr lang="en-US" sz="1467" err="1">
                <a:solidFill>
                  <a:schemeClr val="accent1"/>
                </a:solidFill>
              </a:rPr>
              <a:t>yourhandle</a:t>
            </a:r>
            <a:endParaRPr lang="en-US" sz="1467">
              <a:solidFill>
                <a:schemeClr val="accent1"/>
              </a:solidFill>
            </a:endParaRPr>
          </a:p>
        </p:txBody>
      </p:sp>
      <p:sp>
        <p:nvSpPr>
          <p:cNvPr id="51" name="Text Placeholder 48"/>
          <p:cNvSpPr>
            <a:spLocks noGrp="1"/>
          </p:cNvSpPr>
          <p:nvPr>
            <p:ph type="body" sz="quarter" idx="20" hasCustomPrompt="1"/>
          </p:nvPr>
        </p:nvSpPr>
        <p:spPr>
          <a:xfrm>
            <a:off x="1174780" y="5658002"/>
            <a:ext cx="1159933" cy="349250"/>
          </a:xfrm>
        </p:spPr>
        <p:txBody>
          <a:bodyPr/>
          <a:lstStyle>
            <a:lvl1pPr marL="0" algn="l" defTabSz="1219256" rtl="0" eaLnBrk="1" latinLnBrk="0" hangingPunct="1">
              <a:defRPr lang="en-US" sz="1467" kern="1200" dirty="0">
                <a:solidFill>
                  <a:schemeClr val="accent1"/>
                </a:solidFill>
                <a:latin typeface="+mn-lt"/>
                <a:ea typeface="+mn-ea"/>
                <a:cs typeface="+mn-cs"/>
              </a:defRPr>
            </a:lvl1pPr>
          </a:lstStyle>
          <a:p>
            <a:r>
              <a:rPr lang="en-US" sz="1467" err="1">
                <a:solidFill>
                  <a:schemeClr val="accent1"/>
                </a:solidFill>
              </a:rPr>
              <a:t>yourname</a:t>
            </a:r>
            <a:endParaRPr lang="en-US" sz="1467">
              <a:solidFill>
                <a:schemeClr val="accent1"/>
              </a:solidFill>
            </a:endParaRPr>
          </a:p>
        </p:txBody>
      </p:sp>
    </p:spTree>
    <p:extLst>
      <p:ext uri="{BB962C8B-B14F-4D97-AF65-F5344CB8AC3E}">
        <p14:creationId xmlns:p14="http://schemas.microsoft.com/office/powerpoint/2010/main" val="25099384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66"/>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7356400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957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9"/>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1" name="Object 20"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2" y="6517870"/>
            <a:ext cx="5548515" cy="340129"/>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Building trust in your data – why data governance is the key to success  |  Marthe Moengen &amp; Johan Ludvig </a:t>
            </a:r>
            <a:r>
              <a:rPr lang="en-US" sz="700" kern="0" dirty="0" err="1">
                <a:solidFill>
                  <a:srgbClr val="A6A6A6"/>
                </a:solidFill>
                <a:latin typeface="Ubuntu" panose="020B0504030602030204" pitchFamily="34" charset="0"/>
                <a:cs typeface="Arial" panose="020B0604020202020204" pitchFamily="34" charset="0"/>
              </a:rPr>
              <a:t>Brattås</a:t>
            </a:r>
            <a:r>
              <a:rPr lang="en-US" sz="700" kern="0" dirty="0">
                <a:solidFill>
                  <a:srgbClr val="A6A6A6"/>
                </a:solidFill>
                <a:latin typeface="Ubuntu" panose="020B0504030602030204" pitchFamily="34" charset="0"/>
                <a:cs typeface="Arial" panose="020B0604020202020204" pitchFamily="34" charset="0"/>
              </a:rPr>
              <a:t>  |  June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31" r:id="rId15"/>
    <p:sldLayoutId id="2147483933" r:id="rId16"/>
    <p:sldLayoutId id="2147483934" r:id="rId17"/>
    <p:sldLayoutId id="2147483961" r:id="rId18"/>
    <p:sldLayoutId id="2147483958" r:id="rId19"/>
    <p:sldLayoutId id="2147483951" r:id="rId20"/>
    <p:sldLayoutId id="2147483959" r:id="rId21"/>
    <p:sldLayoutId id="2147483918" r:id="rId22"/>
    <p:sldLayoutId id="2147483922" r:id="rId23"/>
    <p:sldLayoutId id="2147483950" r:id="rId24"/>
    <p:sldLayoutId id="2147483952" r:id="rId25"/>
    <p:sldLayoutId id="2147483962" r:id="rId26"/>
    <p:sldLayoutId id="2147483963" r:id="rId2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27"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7.png"/><Relationship Id="rId18" Type="http://schemas.openxmlformats.org/officeDocument/2006/relationships/image" Target="../media/image42.svg"/><Relationship Id="rId26" Type="http://schemas.openxmlformats.org/officeDocument/2006/relationships/image" Target="../media/image50.svg"/><Relationship Id="rId3" Type="http://schemas.openxmlformats.org/officeDocument/2006/relationships/image" Target="../media/image25.png"/><Relationship Id="rId21" Type="http://schemas.openxmlformats.org/officeDocument/2006/relationships/image" Target="../media/image45.png"/><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41.png"/><Relationship Id="rId25" Type="http://schemas.openxmlformats.org/officeDocument/2006/relationships/image" Target="../media/image49.png"/><Relationship Id="rId2" Type="http://schemas.openxmlformats.org/officeDocument/2006/relationships/notesSlide" Target="../notesSlides/notesSlide10.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slideLayout" Target="../slideLayouts/slideLayout4.xml"/><Relationship Id="rId6" Type="http://schemas.openxmlformats.org/officeDocument/2006/relationships/image" Target="../media/image28.svg"/><Relationship Id="rId11" Type="http://schemas.openxmlformats.org/officeDocument/2006/relationships/image" Target="../media/image33.png"/><Relationship Id="rId24" Type="http://schemas.openxmlformats.org/officeDocument/2006/relationships/image" Target="../media/image48.svg"/><Relationship Id="rId5" Type="http://schemas.openxmlformats.org/officeDocument/2006/relationships/image" Target="../media/image27.png"/><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36.svg"/><Relationship Id="rId10" Type="http://schemas.openxmlformats.org/officeDocument/2006/relationships/image" Target="../media/image32.svg"/><Relationship Id="rId19" Type="http://schemas.openxmlformats.org/officeDocument/2006/relationships/image" Target="../media/image43.pn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8.svg"/><Relationship Id="rId22" Type="http://schemas.openxmlformats.org/officeDocument/2006/relationships/image" Target="../media/image46.svg"/><Relationship Id="rId27" Type="http://schemas.openxmlformats.org/officeDocument/2006/relationships/image" Target="../media/image35.png"/></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31.png"/><Relationship Id="rId7" Type="http://schemas.openxmlformats.org/officeDocument/2006/relationships/diagramQuickStyle" Target="../diagrams/quickStyle1.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32.svg"/><Relationship Id="rId9" Type="http://schemas.microsoft.com/office/2007/relationships/diagramDrawing" Target="../diagrams/drawing1.xml"/></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32.svg"/></Relationships>
</file>

<file path=ppt/slides/_rels/slide13.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54.png"/><Relationship Id="rId7"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5.png"/><Relationship Id="rId7"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42.svg"/></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image" Target="../media/image75.svg"/><Relationship Id="rId13" Type="http://schemas.openxmlformats.org/officeDocument/2006/relationships/image" Target="../media/image80.png"/><Relationship Id="rId18" Type="http://schemas.openxmlformats.org/officeDocument/2006/relationships/image" Target="../media/image85.svg"/><Relationship Id="rId3" Type="http://schemas.openxmlformats.org/officeDocument/2006/relationships/image" Target="../media/image70.png"/><Relationship Id="rId21" Type="http://schemas.openxmlformats.org/officeDocument/2006/relationships/image" Target="../media/image88.png"/><Relationship Id="rId7" Type="http://schemas.openxmlformats.org/officeDocument/2006/relationships/image" Target="../media/image74.png"/><Relationship Id="rId12" Type="http://schemas.openxmlformats.org/officeDocument/2006/relationships/image" Target="../media/image79.svg"/><Relationship Id="rId17" Type="http://schemas.openxmlformats.org/officeDocument/2006/relationships/image" Target="../media/image84.png"/><Relationship Id="rId2" Type="http://schemas.openxmlformats.org/officeDocument/2006/relationships/notesSlide" Target="../notesSlides/notesSlide19.xml"/><Relationship Id="rId16" Type="http://schemas.openxmlformats.org/officeDocument/2006/relationships/image" Target="../media/image83.svg"/><Relationship Id="rId20" Type="http://schemas.openxmlformats.org/officeDocument/2006/relationships/image" Target="../media/image87.svg"/><Relationship Id="rId1" Type="http://schemas.openxmlformats.org/officeDocument/2006/relationships/slideLayout" Target="../slideLayouts/slideLayout4.xml"/><Relationship Id="rId6" Type="http://schemas.openxmlformats.org/officeDocument/2006/relationships/image" Target="../media/image73.svg"/><Relationship Id="rId11" Type="http://schemas.openxmlformats.org/officeDocument/2006/relationships/image" Target="../media/image78.png"/><Relationship Id="rId5" Type="http://schemas.openxmlformats.org/officeDocument/2006/relationships/image" Target="../media/image72.svg"/><Relationship Id="rId15" Type="http://schemas.openxmlformats.org/officeDocument/2006/relationships/image" Target="../media/image82.png"/><Relationship Id="rId10" Type="http://schemas.openxmlformats.org/officeDocument/2006/relationships/image" Target="../media/image77.svg"/><Relationship Id="rId19" Type="http://schemas.openxmlformats.org/officeDocument/2006/relationships/image" Target="../media/image86.png"/><Relationship Id="rId4" Type="http://schemas.openxmlformats.org/officeDocument/2006/relationships/image" Target="../media/image71.svg"/><Relationship Id="rId9" Type="http://schemas.openxmlformats.org/officeDocument/2006/relationships/image" Target="../media/image76.png"/><Relationship Id="rId14" Type="http://schemas.openxmlformats.org/officeDocument/2006/relationships/image" Target="../media/image81.svg"/><Relationship Id="rId22" Type="http://schemas.openxmlformats.org/officeDocument/2006/relationships/image" Target="../media/image89.svg"/></Relationships>
</file>

<file path=ppt/slides/_rels/slide25.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93.svg"/><Relationship Id="rId5" Type="http://schemas.openxmlformats.org/officeDocument/2006/relationships/image" Target="../media/image92.png"/><Relationship Id="rId4" Type="http://schemas.openxmlformats.org/officeDocument/2006/relationships/image" Target="../media/image91.svg"/></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5.png"/><Relationship Id="rId7" Type="http://schemas.openxmlformats.org/officeDocument/2006/relationships/image" Target="../media/image97.sv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96.png"/><Relationship Id="rId5" Type="http://schemas.openxmlformats.org/officeDocument/2006/relationships/image" Target="../media/image36.svg"/><Relationship Id="rId4" Type="http://schemas.openxmlformats.org/officeDocument/2006/relationships/image" Target="../media/image35.png"/><Relationship Id="rId9" Type="http://schemas.openxmlformats.org/officeDocument/2006/relationships/image" Target="../media/image99.svg"/></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microsoft.com/office/2007/relationships/hdphoto" Target="../media/hdphoto1.wdp"/></Relationships>
</file>

<file path=ppt/slides/_rels/slide2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6.jpe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image" Target="../media/image18.png"/><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102.svg"/><Relationship Id="rId4" Type="http://schemas.openxmlformats.org/officeDocument/2006/relationships/image" Target="../media/image101.png"/></Relationships>
</file>

<file path=ppt/slides/_rels/slide32.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svg"/><Relationship Id="rId3" Type="http://schemas.openxmlformats.org/officeDocument/2006/relationships/image" Target="../media/image100.png"/><Relationship Id="rId7" Type="http://schemas.openxmlformats.org/officeDocument/2006/relationships/image" Target="../media/image106.svg"/><Relationship Id="rId12" Type="http://schemas.openxmlformats.org/officeDocument/2006/relationships/image" Target="../media/image111.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105.png"/><Relationship Id="rId11" Type="http://schemas.openxmlformats.org/officeDocument/2006/relationships/image" Target="../media/image110.svg"/><Relationship Id="rId5" Type="http://schemas.openxmlformats.org/officeDocument/2006/relationships/image" Target="../media/image104.svg"/><Relationship Id="rId15" Type="http://schemas.openxmlformats.org/officeDocument/2006/relationships/image" Target="../media/image114.sv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svg"/><Relationship Id="rId14" Type="http://schemas.openxmlformats.org/officeDocument/2006/relationships/image" Target="../media/image113.png"/></Relationships>
</file>

<file path=ppt/slides/_rels/slide33.xml.rels><?xml version="1.0" encoding="UTF-8" standalone="yes"?>
<Relationships xmlns="http://schemas.openxmlformats.org/package/2006/relationships"><Relationship Id="rId3" Type="http://schemas.openxmlformats.org/officeDocument/2006/relationships/image" Target="../media/image116.svg"/><Relationship Id="rId2" Type="http://schemas.openxmlformats.org/officeDocument/2006/relationships/image" Target="../media/image115.png"/><Relationship Id="rId1" Type="http://schemas.openxmlformats.org/officeDocument/2006/relationships/slideLayout" Target="../slideLayouts/slideLayout13.xml"/><Relationship Id="rId4" Type="http://schemas.openxmlformats.org/officeDocument/2006/relationships/image" Target="../media/image17.png"/></Relationships>
</file>

<file path=ppt/slides/_rels/slide34.xml.rels><?xml version="1.0" encoding="UTF-8" standalone="yes"?>
<Relationships xmlns="http://schemas.openxmlformats.org/package/2006/relationships"><Relationship Id="rId2" Type="http://schemas.openxmlformats.org/officeDocument/2006/relationships/hyperlink" Target="https://evals.datagrillen.com/evals.aspx" TargetMode="Externa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7.png"/><Relationship Id="rId18" Type="http://schemas.openxmlformats.org/officeDocument/2006/relationships/image" Target="../media/image42.svg"/><Relationship Id="rId26" Type="http://schemas.openxmlformats.org/officeDocument/2006/relationships/image" Target="../media/image50.svg"/><Relationship Id="rId3" Type="http://schemas.openxmlformats.org/officeDocument/2006/relationships/image" Target="../media/image25.png"/><Relationship Id="rId21" Type="http://schemas.openxmlformats.org/officeDocument/2006/relationships/image" Target="../media/image45.png"/><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41.png"/><Relationship Id="rId25" Type="http://schemas.openxmlformats.org/officeDocument/2006/relationships/image" Target="../media/image49.png"/><Relationship Id="rId2" Type="http://schemas.openxmlformats.org/officeDocument/2006/relationships/notesSlide" Target="../notesSlides/notesSlide29.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slideLayout" Target="../slideLayouts/slideLayout4.xml"/><Relationship Id="rId6" Type="http://schemas.openxmlformats.org/officeDocument/2006/relationships/image" Target="../media/image28.svg"/><Relationship Id="rId11" Type="http://schemas.openxmlformats.org/officeDocument/2006/relationships/image" Target="../media/image33.png"/><Relationship Id="rId24" Type="http://schemas.openxmlformats.org/officeDocument/2006/relationships/image" Target="../media/image48.svg"/><Relationship Id="rId5" Type="http://schemas.openxmlformats.org/officeDocument/2006/relationships/image" Target="../media/image27.png"/><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36.svg"/><Relationship Id="rId10" Type="http://schemas.openxmlformats.org/officeDocument/2006/relationships/image" Target="../media/image32.svg"/><Relationship Id="rId19" Type="http://schemas.openxmlformats.org/officeDocument/2006/relationships/image" Target="../media/image43.pn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8.svg"/><Relationship Id="rId22" Type="http://schemas.openxmlformats.org/officeDocument/2006/relationships/image" Target="../media/image46.svg"/><Relationship Id="rId27" Type="http://schemas.openxmlformats.org/officeDocument/2006/relationships/image" Target="../media/image35.png"/></Relationships>
</file>

<file path=ppt/slides/_rels/slide3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95.png"/><Relationship Id="rId7" Type="http://schemas.openxmlformats.org/officeDocument/2006/relationships/image" Target="../media/image121.sv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120.png"/><Relationship Id="rId5" Type="http://schemas.openxmlformats.org/officeDocument/2006/relationships/image" Target="../media/image119.svg"/><Relationship Id="rId4" Type="http://schemas.openxmlformats.org/officeDocument/2006/relationships/image" Target="../media/image118.png"/><Relationship Id="rId9" Type="http://schemas.openxmlformats.org/officeDocument/2006/relationships/image" Target="../media/image123.svg"/></Relationships>
</file>

<file path=ppt/slides/_rels/slide39.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image" Target="../media/image124.png"/><Relationship Id="rId1" Type="http://schemas.openxmlformats.org/officeDocument/2006/relationships/slideLayout" Target="../slideLayouts/slideLayout4.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 Id="rId9" Type="http://schemas.openxmlformats.org/officeDocument/2006/relationships/image" Target="../media/image131.png"/></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image" Target="../media/image133.svg"/><Relationship Id="rId2" Type="http://schemas.openxmlformats.org/officeDocument/2006/relationships/image" Target="../media/image132.png"/><Relationship Id="rId1" Type="http://schemas.openxmlformats.org/officeDocument/2006/relationships/slideLayout" Target="../slideLayouts/slideLayout4.xml"/><Relationship Id="rId5" Type="http://schemas.openxmlformats.org/officeDocument/2006/relationships/image" Target="../media/image135.svg"/><Relationship Id="rId4" Type="http://schemas.openxmlformats.org/officeDocument/2006/relationships/image" Target="../media/image13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2" Type="http://schemas.openxmlformats.org/officeDocument/2006/relationships/image" Target="../media/image138.jpe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6.svg"/></Relationships>
</file>

<file path=ppt/slides/_rels/slide50.xml.rels><?xml version="1.0" encoding="UTF-8" standalone="yes"?>
<Relationships xmlns="http://schemas.openxmlformats.org/package/2006/relationships"><Relationship Id="rId2" Type="http://schemas.openxmlformats.org/officeDocument/2006/relationships/image" Target="../media/image139.jpeg"/><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31.xml"/><Relationship Id="rId1" Type="http://schemas.openxmlformats.org/officeDocument/2006/relationships/slideLayout" Target="../slideLayouts/slideLayout19.xml"/><Relationship Id="rId4" Type="http://schemas.microsoft.com/office/2007/relationships/hdphoto" Target="../media/hdphoto2.wdp"/></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7.png"/><Relationship Id="rId18" Type="http://schemas.openxmlformats.org/officeDocument/2006/relationships/image" Target="../media/image42.svg"/><Relationship Id="rId26" Type="http://schemas.openxmlformats.org/officeDocument/2006/relationships/image" Target="../media/image50.svg"/><Relationship Id="rId3" Type="http://schemas.openxmlformats.org/officeDocument/2006/relationships/image" Target="../media/image25.png"/><Relationship Id="rId21" Type="http://schemas.openxmlformats.org/officeDocument/2006/relationships/image" Target="../media/image45.png"/><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41.png"/><Relationship Id="rId25" Type="http://schemas.openxmlformats.org/officeDocument/2006/relationships/image" Target="../media/image49.png"/><Relationship Id="rId2" Type="http://schemas.openxmlformats.org/officeDocument/2006/relationships/notesSlide" Target="../notesSlides/notesSlide6.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slideLayout" Target="../slideLayouts/slideLayout4.xml"/><Relationship Id="rId6" Type="http://schemas.openxmlformats.org/officeDocument/2006/relationships/image" Target="../media/image28.svg"/><Relationship Id="rId11" Type="http://schemas.openxmlformats.org/officeDocument/2006/relationships/image" Target="../media/image33.png"/><Relationship Id="rId24" Type="http://schemas.openxmlformats.org/officeDocument/2006/relationships/image" Target="../media/image48.svg"/><Relationship Id="rId5" Type="http://schemas.openxmlformats.org/officeDocument/2006/relationships/image" Target="../media/image27.png"/><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36.svg"/><Relationship Id="rId10" Type="http://schemas.openxmlformats.org/officeDocument/2006/relationships/image" Target="../media/image32.svg"/><Relationship Id="rId19" Type="http://schemas.openxmlformats.org/officeDocument/2006/relationships/image" Target="../media/image43.pn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8.svg"/><Relationship Id="rId22" Type="http://schemas.openxmlformats.org/officeDocument/2006/relationships/image" Target="../media/image46.svg"/><Relationship Id="rId27" Type="http://schemas.openxmlformats.org/officeDocument/2006/relationships/image" Target="../media/image35.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0.xml"/><Relationship Id="rId4" Type="http://schemas.openxmlformats.org/officeDocument/2006/relationships/chart" Target="../charts/chart3.xml"/></Relationships>
</file>

<file path=ppt/slides/_rels/slide6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0.xml"/><Relationship Id="rId4" Type="http://schemas.openxmlformats.org/officeDocument/2006/relationships/chart" Target="../charts/chart6.xml"/></Relationships>
</file>

<file path=ppt/slides/_rels/slide6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7.png"/><Relationship Id="rId18" Type="http://schemas.openxmlformats.org/officeDocument/2006/relationships/image" Target="../media/image42.svg"/><Relationship Id="rId26" Type="http://schemas.openxmlformats.org/officeDocument/2006/relationships/image" Target="../media/image50.svg"/><Relationship Id="rId3" Type="http://schemas.openxmlformats.org/officeDocument/2006/relationships/image" Target="../media/image25.png"/><Relationship Id="rId21" Type="http://schemas.openxmlformats.org/officeDocument/2006/relationships/image" Target="../media/image45.png"/><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41.png"/><Relationship Id="rId25" Type="http://schemas.openxmlformats.org/officeDocument/2006/relationships/image" Target="../media/image49.png"/><Relationship Id="rId2" Type="http://schemas.openxmlformats.org/officeDocument/2006/relationships/notesSlide" Target="../notesSlides/notesSlide7.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slideLayout" Target="../slideLayouts/slideLayout4.xml"/><Relationship Id="rId6" Type="http://schemas.openxmlformats.org/officeDocument/2006/relationships/image" Target="../media/image28.svg"/><Relationship Id="rId11" Type="http://schemas.openxmlformats.org/officeDocument/2006/relationships/image" Target="../media/image33.png"/><Relationship Id="rId24" Type="http://schemas.openxmlformats.org/officeDocument/2006/relationships/image" Target="../media/image48.svg"/><Relationship Id="rId5" Type="http://schemas.openxmlformats.org/officeDocument/2006/relationships/image" Target="../media/image27.png"/><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36.svg"/><Relationship Id="rId10" Type="http://schemas.openxmlformats.org/officeDocument/2006/relationships/image" Target="../media/image32.svg"/><Relationship Id="rId19" Type="http://schemas.openxmlformats.org/officeDocument/2006/relationships/image" Target="../media/image43.pn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8.svg"/><Relationship Id="rId22" Type="http://schemas.openxmlformats.org/officeDocument/2006/relationships/image" Target="../media/image46.svg"/><Relationship Id="rId27" Type="http://schemas.openxmlformats.org/officeDocument/2006/relationships/image" Target="../media/image35.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3.xml"/><Relationship Id="rId1" Type="http://schemas.openxmlformats.org/officeDocument/2006/relationships/slideLayout" Target="../slideLayouts/slideLayout10.xml"/><Relationship Id="rId4" Type="http://schemas.microsoft.com/office/2007/relationships/hdphoto" Target="../media/hdphoto3.wdp"/></Relationships>
</file>

<file path=ppt/slides/_rels/slide7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5.png"/><Relationship Id="rId1" Type="http://schemas.openxmlformats.org/officeDocument/2006/relationships/slideLayout" Target="../slideLayouts/slideLayout17.xml"/><Relationship Id="rId5" Type="http://schemas.openxmlformats.org/officeDocument/2006/relationships/image" Target="../media/image8.png"/><Relationship Id="rId4" Type="http://schemas.openxmlformats.org/officeDocument/2006/relationships/image" Target="../media/image144.png"/></Relationships>
</file>

<file path=ppt/slides/_rels/slide7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17.xml"/><Relationship Id="rId5" Type="http://schemas.openxmlformats.org/officeDocument/2006/relationships/image" Target="../media/image148.png"/><Relationship Id="rId4" Type="http://schemas.openxmlformats.org/officeDocument/2006/relationships/image" Target="../media/image147.png"/></Relationships>
</file>

<file path=ppt/slides/_rels/slide79.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160.svg"/><Relationship Id="rId18" Type="http://schemas.openxmlformats.org/officeDocument/2006/relationships/image" Target="../media/image165.png"/><Relationship Id="rId3" Type="http://schemas.openxmlformats.org/officeDocument/2006/relationships/image" Target="../media/image150.svg"/><Relationship Id="rId21" Type="http://schemas.openxmlformats.org/officeDocument/2006/relationships/image" Target="../media/image168.svg"/><Relationship Id="rId7" Type="http://schemas.openxmlformats.org/officeDocument/2006/relationships/image" Target="../media/image154.svg"/><Relationship Id="rId12" Type="http://schemas.openxmlformats.org/officeDocument/2006/relationships/image" Target="../media/image159.png"/><Relationship Id="rId17" Type="http://schemas.openxmlformats.org/officeDocument/2006/relationships/image" Target="../media/image164.svg"/><Relationship Id="rId25" Type="http://schemas.openxmlformats.org/officeDocument/2006/relationships/image" Target="../media/image172.svg"/><Relationship Id="rId2" Type="http://schemas.openxmlformats.org/officeDocument/2006/relationships/image" Target="../media/image149.png"/><Relationship Id="rId16" Type="http://schemas.openxmlformats.org/officeDocument/2006/relationships/image" Target="../media/image163.png"/><Relationship Id="rId20" Type="http://schemas.openxmlformats.org/officeDocument/2006/relationships/image" Target="../media/image167.png"/><Relationship Id="rId1" Type="http://schemas.openxmlformats.org/officeDocument/2006/relationships/slideLayout" Target="../slideLayouts/slideLayout10.xml"/><Relationship Id="rId6" Type="http://schemas.openxmlformats.org/officeDocument/2006/relationships/image" Target="../media/image153.png"/><Relationship Id="rId11" Type="http://schemas.openxmlformats.org/officeDocument/2006/relationships/image" Target="../media/image158.svg"/><Relationship Id="rId24" Type="http://schemas.openxmlformats.org/officeDocument/2006/relationships/image" Target="../media/image171.png"/><Relationship Id="rId5" Type="http://schemas.openxmlformats.org/officeDocument/2006/relationships/image" Target="../media/image152.svg"/><Relationship Id="rId15" Type="http://schemas.openxmlformats.org/officeDocument/2006/relationships/image" Target="../media/image162.svg"/><Relationship Id="rId23" Type="http://schemas.openxmlformats.org/officeDocument/2006/relationships/image" Target="../media/image170.svg"/><Relationship Id="rId10" Type="http://schemas.openxmlformats.org/officeDocument/2006/relationships/image" Target="../media/image157.png"/><Relationship Id="rId19" Type="http://schemas.openxmlformats.org/officeDocument/2006/relationships/image" Target="../media/image166.svg"/><Relationship Id="rId4" Type="http://schemas.openxmlformats.org/officeDocument/2006/relationships/image" Target="../media/image151.png"/><Relationship Id="rId9" Type="http://schemas.openxmlformats.org/officeDocument/2006/relationships/image" Target="../media/image156.svg"/><Relationship Id="rId14" Type="http://schemas.openxmlformats.org/officeDocument/2006/relationships/image" Target="../media/image161.png"/><Relationship Id="rId22" Type="http://schemas.openxmlformats.org/officeDocument/2006/relationships/image" Target="../media/image169.png"/></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52.svg"/></Relationships>
</file>

<file path=ppt/slides/_rels/slide80.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svg"/><Relationship Id="rId7" Type="http://schemas.openxmlformats.org/officeDocument/2006/relationships/image" Target="../media/image178.svg"/><Relationship Id="rId12" Type="http://schemas.openxmlformats.org/officeDocument/2006/relationships/image" Target="../media/image183.svg"/><Relationship Id="rId2" Type="http://schemas.openxmlformats.org/officeDocument/2006/relationships/image" Target="../media/image173.png"/><Relationship Id="rId1" Type="http://schemas.openxmlformats.org/officeDocument/2006/relationships/slideLayout" Target="../slideLayouts/slideLayout10.xml"/><Relationship Id="rId6" Type="http://schemas.openxmlformats.org/officeDocument/2006/relationships/image" Target="../media/image177.png"/><Relationship Id="rId11" Type="http://schemas.openxmlformats.org/officeDocument/2006/relationships/image" Target="../media/image182.svg"/><Relationship Id="rId5" Type="http://schemas.openxmlformats.org/officeDocument/2006/relationships/image" Target="../media/image176.svg"/><Relationship Id="rId10" Type="http://schemas.openxmlformats.org/officeDocument/2006/relationships/image" Target="../media/image181.png"/><Relationship Id="rId4" Type="http://schemas.openxmlformats.org/officeDocument/2006/relationships/image" Target="../media/image175.png"/><Relationship Id="rId9" Type="http://schemas.openxmlformats.org/officeDocument/2006/relationships/image" Target="../media/image180.sv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7.png"/><Relationship Id="rId18" Type="http://schemas.openxmlformats.org/officeDocument/2006/relationships/image" Target="../media/image42.svg"/><Relationship Id="rId26" Type="http://schemas.openxmlformats.org/officeDocument/2006/relationships/image" Target="../media/image50.svg"/><Relationship Id="rId3" Type="http://schemas.openxmlformats.org/officeDocument/2006/relationships/image" Target="../media/image25.png"/><Relationship Id="rId21" Type="http://schemas.openxmlformats.org/officeDocument/2006/relationships/image" Target="../media/image45.png"/><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41.png"/><Relationship Id="rId25" Type="http://schemas.openxmlformats.org/officeDocument/2006/relationships/image" Target="../media/image49.png"/><Relationship Id="rId2" Type="http://schemas.openxmlformats.org/officeDocument/2006/relationships/notesSlide" Target="../notesSlides/notesSlide9.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slideLayout" Target="../slideLayouts/slideLayout4.xml"/><Relationship Id="rId6" Type="http://schemas.openxmlformats.org/officeDocument/2006/relationships/image" Target="../media/image28.svg"/><Relationship Id="rId11" Type="http://schemas.openxmlformats.org/officeDocument/2006/relationships/image" Target="../media/image33.png"/><Relationship Id="rId24" Type="http://schemas.openxmlformats.org/officeDocument/2006/relationships/image" Target="../media/image48.svg"/><Relationship Id="rId5" Type="http://schemas.openxmlformats.org/officeDocument/2006/relationships/image" Target="../media/image27.png"/><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36.svg"/><Relationship Id="rId10" Type="http://schemas.openxmlformats.org/officeDocument/2006/relationships/image" Target="../media/image32.svg"/><Relationship Id="rId19" Type="http://schemas.openxmlformats.org/officeDocument/2006/relationships/image" Target="../media/image43.pn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8.svg"/><Relationship Id="rId22" Type="http://schemas.openxmlformats.org/officeDocument/2006/relationships/image" Target="../media/image46.svg"/><Relationship Id="rId27"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a:xfrm>
            <a:off x="407987" y="4216443"/>
            <a:ext cx="11379200" cy="307777"/>
          </a:xfrm>
        </p:spPr>
        <p:txBody>
          <a:bodyPr/>
          <a:lstStyle/>
          <a:p>
            <a:r>
              <a:rPr lang="en-US" dirty="0"/>
              <a:t>Why data governance is the key to success</a:t>
            </a:r>
            <a:endParaRPr lang="en-GB" dirty="0"/>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a:xfrm>
            <a:off x="404813" y="3539335"/>
            <a:ext cx="11386134" cy="830997"/>
          </a:xfrm>
        </p:spPr>
        <p:txBody>
          <a:bodyPr/>
          <a:lstStyle/>
          <a:p>
            <a:r>
              <a:rPr lang="en-US" sz="5400" dirty="0"/>
              <a:t>Building trust in your data</a:t>
            </a:r>
            <a:endParaRPr lang="en-GB" sz="5400" dirty="0"/>
          </a:p>
        </p:txBody>
      </p:sp>
    </p:spTree>
    <p:extLst>
      <p:ext uri="{BB962C8B-B14F-4D97-AF65-F5344CB8AC3E}">
        <p14:creationId xmlns:p14="http://schemas.microsoft.com/office/powerpoint/2010/main" val="38675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241DAC-8B16-4858-A360-7442E1626EB0}"/>
              </a:ext>
            </a:extLst>
          </p:cNvPr>
          <p:cNvSpPr>
            <a:spLocks noGrp="1"/>
          </p:cNvSpPr>
          <p:nvPr>
            <p:ph type="title"/>
          </p:nvPr>
        </p:nvSpPr>
        <p:spPr/>
        <p:txBody>
          <a:bodyPr/>
          <a:lstStyle/>
          <a:p>
            <a:r>
              <a:rPr lang="en-US"/>
              <a:t>What is data governance?</a:t>
            </a:r>
          </a:p>
        </p:txBody>
      </p:sp>
      <p:sp>
        <p:nvSpPr>
          <p:cNvPr id="4" name="Freeform 5">
            <a:extLst>
              <a:ext uri="{FF2B5EF4-FFF2-40B4-BE49-F238E27FC236}">
                <a16:creationId xmlns:a16="http://schemas.microsoft.com/office/drawing/2014/main" id="{D5ACC87C-ADD9-4EE9-985F-9E0E86DE453B}"/>
              </a:ext>
            </a:extLst>
          </p:cNvPr>
          <p:cNvSpPr>
            <a:spLocks/>
          </p:cNvSpPr>
          <p:nvPr/>
        </p:nvSpPr>
        <p:spPr bwMode="auto">
          <a:xfrm>
            <a:off x="4099068" y="4093797"/>
            <a:ext cx="1234346" cy="901208"/>
          </a:xfrm>
          <a:custGeom>
            <a:avLst/>
            <a:gdLst>
              <a:gd name="T0" fmla="*/ 290 w 297"/>
              <a:gd name="T1" fmla="*/ 226 h 226"/>
              <a:gd name="T2" fmla="*/ 287 w 297"/>
              <a:gd name="T3" fmla="*/ 225 h 226"/>
              <a:gd name="T4" fmla="*/ 138 w 297"/>
              <a:gd name="T5" fmla="*/ 14 h 226"/>
              <a:gd name="T6" fmla="*/ 8 w 297"/>
              <a:gd name="T7" fmla="*/ 44 h 226"/>
              <a:gd name="T8" fmla="*/ 1 w 297"/>
              <a:gd name="T9" fmla="*/ 39 h 226"/>
              <a:gd name="T10" fmla="*/ 6 w 297"/>
              <a:gd name="T11" fmla="*/ 32 h 226"/>
              <a:gd name="T12" fmla="*/ 141 w 297"/>
              <a:gd name="T13" fmla="*/ 1 h 226"/>
              <a:gd name="T14" fmla="*/ 149 w 297"/>
              <a:gd name="T15" fmla="*/ 6 h 226"/>
              <a:gd name="T16" fmla="*/ 294 w 297"/>
              <a:gd name="T17" fmla="*/ 215 h 226"/>
              <a:gd name="T18" fmla="*/ 295 w 297"/>
              <a:gd name="T19" fmla="*/ 223 h 226"/>
              <a:gd name="T20" fmla="*/ 290 w 297"/>
              <a:gd name="T2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7" h="226">
                <a:moveTo>
                  <a:pt x="290" y="226"/>
                </a:moveTo>
                <a:cubicBezTo>
                  <a:pt x="289" y="226"/>
                  <a:pt x="288" y="226"/>
                  <a:pt x="287" y="225"/>
                </a:cubicBezTo>
                <a:cubicBezTo>
                  <a:pt x="212" y="176"/>
                  <a:pt x="160" y="101"/>
                  <a:pt x="138" y="14"/>
                </a:cubicBezTo>
                <a:cubicBezTo>
                  <a:pt x="8" y="44"/>
                  <a:pt x="8" y="44"/>
                  <a:pt x="8" y="44"/>
                </a:cubicBezTo>
                <a:cubicBezTo>
                  <a:pt x="5" y="44"/>
                  <a:pt x="2" y="42"/>
                  <a:pt x="1" y="39"/>
                </a:cubicBezTo>
                <a:cubicBezTo>
                  <a:pt x="0" y="36"/>
                  <a:pt x="2" y="33"/>
                  <a:pt x="6" y="32"/>
                </a:cubicBezTo>
                <a:cubicBezTo>
                  <a:pt x="141" y="1"/>
                  <a:pt x="141" y="1"/>
                  <a:pt x="141" y="1"/>
                </a:cubicBezTo>
                <a:cubicBezTo>
                  <a:pt x="145" y="0"/>
                  <a:pt x="148" y="2"/>
                  <a:pt x="149" y="6"/>
                </a:cubicBezTo>
                <a:cubicBezTo>
                  <a:pt x="168" y="92"/>
                  <a:pt x="220" y="166"/>
                  <a:pt x="294" y="215"/>
                </a:cubicBezTo>
                <a:cubicBezTo>
                  <a:pt x="296" y="217"/>
                  <a:pt x="297" y="221"/>
                  <a:pt x="295" y="223"/>
                </a:cubicBezTo>
                <a:cubicBezTo>
                  <a:pt x="294" y="225"/>
                  <a:pt x="292" y="226"/>
                  <a:pt x="290" y="226"/>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 name="Group 4">
            <a:extLst>
              <a:ext uri="{FF2B5EF4-FFF2-40B4-BE49-F238E27FC236}">
                <a16:creationId xmlns:a16="http://schemas.microsoft.com/office/drawing/2014/main" id="{E64CFAED-7B0F-4374-B7D9-FDF68EF64245}"/>
              </a:ext>
            </a:extLst>
          </p:cNvPr>
          <p:cNvGrpSpPr/>
          <p:nvPr/>
        </p:nvGrpSpPr>
        <p:grpSpPr>
          <a:xfrm>
            <a:off x="5197623" y="5034447"/>
            <a:ext cx="1382466" cy="554134"/>
            <a:chOff x="4025750" y="3693811"/>
            <a:chExt cx="836700" cy="349869"/>
          </a:xfrm>
          <a:solidFill>
            <a:schemeClr val="accent2">
              <a:lumMod val="50000"/>
            </a:schemeClr>
          </a:solidFill>
        </p:grpSpPr>
        <p:sp>
          <p:nvSpPr>
            <p:cNvPr id="6" name="Freeform 6">
              <a:extLst>
                <a:ext uri="{FF2B5EF4-FFF2-40B4-BE49-F238E27FC236}">
                  <a16:creationId xmlns:a16="http://schemas.microsoft.com/office/drawing/2014/main" id="{F3C4D524-40C9-4898-BC30-2020533A9039}"/>
                </a:ext>
              </a:extLst>
            </p:cNvPr>
            <p:cNvSpPr>
              <a:spLocks/>
            </p:cNvSpPr>
            <p:nvPr/>
          </p:nvSpPr>
          <p:spPr bwMode="auto">
            <a:xfrm>
              <a:off x="4025750" y="3693811"/>
              <a:ext cx="185518" cy="349869"/>
            </a:xfrm>
            <a:custGeom>
              <a:avLst/>
              <a:gdLst>
                <a:gd name="T0" fmla="*/ 7 w 74"/>
                <a:gd name="T1" fmla="*/ 139 h 139"/>
                <a:gd name="T2" fmla="*/ 4 w 74"/>
                <a:gd name="T3" fmla="*/ 138 h 139"/>
                <a:gd name="T4" fmla="*/ 1 w 74"/>
                <a:gd name="T5" fmla="*/ 130 h 139"/>
                <a:gd name="T6" fmla="*/ 62 w 74"/>
                <a:gd name="T7" fmla="*/ 5 h 139"/>
                <a:gd name="T8" fmla="*/ 70 w 74"/>
                <a:gd name="T9" fmla="*/ 2 h 139"/>
                <a:gd name="T10" fmla="*/ 73 w 74"/>
                <a:gd name="T11" fmla="*/ 10 h 139"/>
                <a:gd name="T12" fmla="*/ 12 w 74"/>
                <a:gd name="T13" fmla="*/ 135 h 139"/>
                <a:gd name="T14" fmla="*/ 7 w 74"/>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39">
                  <a:moveTo>
                    <a:pt x="7" y="139"/>
                  </a:moveTo>
                  <a:cubicBezTo>
                    <a:pt x="6" y="139"/>
                    <a:pt x="5" y="138"/>
                    <a:pt x="4" y="138"/>
                  </a:cubicBezTo>
                  <a:cubicBezTo>
                    <a:pt x="1" y="137"/>
                    <a:pt x="0" y="133"/>
                    <a:pt x="1" y="130"/>
                  </a:cubicBezTo>
                  <a:cubicBezTo>
                    <a:pt x="62" y="5"/>
                    <a:pt x="62" y="5"/>
                    <a:pt x="62" y="5"/>
                  </a:cubicBezTo>
                  <a:cubicBezTo>
                    <a:pt x="63" y="2"/>
                    <a:pt x="67" y="0"/>
                    <a:pt x="70" y="2"/>
                  </a:cubicBezTo>
                  <a:cubicBezTo>
                    <a:pt x="73" y="3"/>
                    <a:pt x="74" y="7"/>
                    <a:pt x="73" y="10"/>
                  </a:cubicBezTo>
                  <a:cubicBezTo>
                    <a:pt x="12" y="135"/>
                    <a:pt x="12" y="135"/>
                    <a:pt x="12" y="135"/>
                  </a:cubicBezTo>
                  <a:cubicBezTo>
                    <a:pt x="11" y="137"/>
                    <a:pt x="9" y="139"/>
                    <a:pt x="7" y="1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7C539B79-69C8-43AB-B810-39D8175D50A0}"/>
                </a:ext>
              </a:extLst>
            </p:cNvPr>
            <p:cNvSpPr>
              <a:spLocks/>
            </p:cNvSpPr>
            <p:nvPr/>
          </p:nvSpPr>
          <p:spPr bwMode="auto">
            <a:xfrm>
              <a:off x="4176406" y="3693811"/>
              <a:ext cx="686044" cy="120773"/>
            </a:xfrm>
            <a:custGeom>
              <a:avLst/>
              <a:gdLst>
                <a:gd name="T0" fmla="*/ 158 w 273"/>
                <a:gd name="T1" fmla="*/ 48 h 48"/>
                <a:gd name="T2" fmla="*/ 5 w 273"/>
                <a:gd name="T3" fmla="*/ 13 h 48"/>
                <a:gd name="T4" fmla="*/ 2 w 273"/>
                <a:gd name="T5" fmla="*/ 5 h 48"/>
                <a:gd name="T6" fmla="*/ 10 w 273"/>
                <a:gd name="T7" fmla="*/ 2 h 48"/>
                <a:gd name="T8" fmla="*/ 264 w 273"/>
                <a:gd name="T9" fmla="*/ 19 h 48"/>
                <a:gd name="T10" fmla="*/ 272 w 273"/>
                <a:gd name="T11" fmla="*/ 23 h 48"/>
                <a:gd name="T12" fmla="*/ 268 w 273"/>
                <a:gd name="T13" fmla="*/ 30 h 48"/>
                <a:gd name="T14" fmla="*/ 158 w 273"/>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3" h="48">
                  <a:moveTo>
                    <a:pt x="158" y="48"/>
                  </a:moveTo>
                  <a:cubicBezTo>
                    <a:pt x="106" y="48"/>
                    <a:pt x="53" y="36"/>
                    <a:pt x="5" y="13"/>
                  </a:cubicBezTo>
                  <a:cubicBezTo>
                    <a:pt x="2" y="11"/>
                    <a:pt x="0" y="8"/>
                    <a:pt x="2" y="5"/>
                  </a:cubicBezTo>
                  <a:cubicBezTo>
                    <a:pt x="3" y="2"/>
                    <a:pt x="7" y="0"/>
                    <a:pt x="10" y="2"/>
                  </a:cubicBezTo>
                  <a:cubicBezTo>
                    <a:pt x="90" y="40"/>
                    <a:pt x="180" y="46"/>
                    <a:pt x="264" y="19"/>
                  </a:cubicBezTo>
                  <a:cubicBezTo>
                    <a:pt x="267" y="18"/>
                    <a:pt x="271" y="20"/>
                    <a:pt x="272" y="23"/>
                  </a:cubicBezTo>
                  <a:cubicBezTo>
                    <a:pt x="273" y="26"/>
                    <a:pt x="271" y="29"/>
                    <a:pt x="268" y="30"/>
                  </a:cubicBezTo>
                  <a:cubicBezTo>
                    <a:pt x="232" y="42"/>
                    <a:pt x="195" y="48"/>
                    <a:pt x="15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Freeform 8">
            <a:extLst>
              <a:ext uri="{FF2B5EF4-FFF2-40B4-BE49-F238E27FC236}">
                <a16:creationId xmlns:a16="http://schemas.microsoft.com/office/drawing/2014/main" id="{B56A9206-EB38-430B-81DC-CE33A177A338}"/>
              </a:ext>
            </a:extLst>
          </p:cNvPr>
          <p:cNvSpPr>
            <a:spLocks/>
          </p:cNvSpPr>
          <p:nvPr/>
        </p:nvSpPr>
        <p:spPr bwMode="auto">
          <a:xfrm>
            <a:off x="6705595" y="4273251"/>
            <a:ext cx="781751" cy="1315329"/>
          </a:xfrm>
          <a:custGeom>
            <a:avLst/>
            <a:gdLst>
              <a:gd name="T0" fmla="*/ 67 w 188"/>
              <a:gd name="T1" fmla="*/ 330 h 330"/>
              <a:gd name="T2" fmla="*/ 62 w 188"/>
              <a:gd name="T3" fmla="*/ 326 h 330"/>
              <a:gd name="T4" fmla="*/ 1 w 188"/>
              <a:gd name="T5" fmla="*/ 201 h 330"/>
              <a:gd name="T6" fmla="*/ 4 w 188"/>
              <a:gd name="T7" fmla="*/ 193 h 330"/>
              <a:gd name="T8" fmla="*/ 176 w 188"/>
              <a:gd name="T9" fmla="*/ 5 h 330"/>
              <a:gd name="T10" fmla="*/ 184 w 188"/>
              <a:gd name="T11" fmla="*/ 1 h 330"/>
              <a:gd name="T12" fmla="*/ 187 w 188"/>
              <a:gd name="T13" fmla="*/ 9 h 330"/>
              <a:gd name="T14" fmla="*/ 15 w 188"/>
              <a:gd name="T15" fmla="*/ 201 h 330"/>
              <a:gd name="T16" fmla="*/ 72 w 188"/>
              <a:gd name="T17" fmla="*/ 321 h 330"/>
              <a:gd name="T18" fmla="*/ 70 w 188"/>
              <a:gd name="T19" fmla="*/ 329 h 330"/>
              <a:gd name="T20" fmla="*/ 67 w 188"/>
              <a:gd name="T21"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330">
                <a:moveTo>
                  <a:pt x="67" y="330"/>
                </a:moveTo>
                <a:cubicBezTo>
                  <a:pt x="65" y="330"/>
                  <a:pt x="63" y="328"/>
                  <a:pt x="62" y="326"/>
                </a:cubicBezTo>
                <a:cubicBezTo>
                  <a:pt x="1" y="201"/>
                  <a:pt x="1" y="201"/>
                  <a:pt x="1" y="201"/>
                </a:cubicBezTo>
                <a:cubicBezTo>
                  <a:pt x="0" y="198"/>
                  <a:pt x="1" y="194"/>
                  <a:pt x="4" y="193"/>
                </a:cubicBezTo>
                <a:cubicBezTo>
                  <a:pt x="84" y="154"/>
                  <a:pt x="145" y="88"/>
                  <a:pt x="176" y="5"/>
                </a:cubicBezTo>
                <a:cubicBezTo>
                  <a:pt x="177" y="2"/>
                  <a:pt x="181" y="0"/>
                  <a:pt x="184" y="1"/>
                </a:cubicBezTo>
                <a:cubicBezTo>
                  <a:pt x="187" y="2"/>
                  <a:pt x="188" y="6"/>
                  <a:pt x="187" y="9"/>
                </a:cubicBezTo>
                <a:cubicBezTo>
                  <a:pt x="156" y="93"/>
                  <a:pt x="94" y="161"/>
                  <a:pt x="15" y="201"/>
                </a:cubicBezTo>
                <a:cubicBezTo>
                  <a:pt x="72" y="321"/>
                  <a:pt x="72" y="321"/>
                  <a:pt x="72" y="321"/>
                </a:cubicBezTo>
                <a:cubicBezTo>
                  <a:pt x="74" y="324"/>
                  <a:pt x="73" y="328"/>
                  <a:pt x="70" y="329"/>
                </a:cubicBezTo>
                <a:cubicBezTo>
                  <a:pt x="69" y="329"/>
                  <a:pt x="68" y="330"/>
                  <a:pt x="67" y="3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EDEBDFD1-597B-47D7-AFCC-68BC62B67915}"/>
              </a:ext>
            </a:extLst>
          </p:cNvPr>
          <p:cNvSpPr>
            <a:spLocks/>
          </p:cNvSpPr>
          <p:nvPr/>
        </p:nvSpPr>
        <p:spPr bwMode="auto">
          <a:xfrm>
            <a:off x="7320709" y="3072296"/>
            <a:ext cx="785867" cy="1197009"/>
          </a:xfrm>
          <a:custGeom>
            <a:avLst/>
            <a:gdLst>
              <a:gd name="T0" fmla="*/ 183 w 189"/>
              <a:gd name="T1" fmla="*/ 300 h 300"/>
              <a:gd name="T2" fmla="*/ 181 w 189"/>
              <a:gd name="T3" fmla="*/ 300 h 300"/>
              <a:gd name="T4" fmla="*/ 46 w 189"/>
              <a:gd name="T5" fmla="*/ 269 h 300"/>
              <a:gd name="T6" fmla="*/ 42 w 189"/>
              <a:gd name="T7" fmla="*/ 266 h 300"/>
              <a:gd name="T8" fmla="*/ 41 w 189"/>
              <a:gd name="T9" fmla="*/ 261 h 300"/>
              <a:gd name="T10" fmla="*/ 1 w 189"/>
              <a:gd name="T11" fmla="*/ 10 h 300"/>
              <a:gd name="T12" fmla="*/ 3 w 189"/>
              <a:gd name="T13" fmla="*/ 2 h 300"/>
              <a:gd name="T14" fmla="*/ 12 w 189"/>
              <a:gd name="T15" fmla="*/ 4 h 300"/>
              <a:gd name="T16" fmla="*/ 54 w 189"/>
              <a:gd name="T17" fmla="*/ 258 h 300"/>
              <a:gd name="T18" fmla="*/ 184 w 189"/>
              <a:gd name="T19" fmla="*/ 288 h 300"/>
              <a:gd name="T20" fmla="*/ 189 w 189"/>
              <a:gd name="T21" fmla="*/ 295 h 300"/>
              <a:gd name="T22" fmla="*/ 183 w 189"/>
              <a:gd name="T23"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300">
                <a:moveTo>
                  <a:pt x="183" y="300"/>
                </a:moveTo>
                <a:cubicBezTo>
                  <a:pt x="182" y="300"/>
                  <a:pt x="182" y="300"/>
                  <a:pt x="181" y="300"/>
                </a:cubicBezTo>
                <a:cubicBezTo>
                  <a:pt x="46" y="269"/>
                  <a:pt x="46" y="269"/>
                  <a:pt x="46" y="269"/>
                </a:cubicBezTo>
                <a:cubicBezTo>
                  <a:pt x="44" y="268"/>
                  <a:pt x="43" y="267"/>
                  <a:pt x="42" y="266"/>
                </a:cubicBezTo>
                <a:cubicBezTo>
                  <a:pt x="41" y="265"/>
                  <a:pt x="41" y="263"/>
                  <a:pt x="41" y="261"/>
                </a:cubicBezTo>
                <a:cubicBezTo>
                  <a:pt x="61" y="175"/>
                  <a:pt x="47" y="86"/>
                  <a:pt x="1" y="10"/>
                </a:cubicBezTo>
                <a:cubicBezTo>
                  <a:pt x="0" y="7"/>
                  <a:pt x="1" y="3"/>
                  <a:pt x="3" y="2"/>
                </a:cubicBezTo>
                <a:cubicBezTo>
                  <a:pt x="6" y="0"/>
                  <a:pt x="10" y="1"/>
                  <a:pt x="12" y="4"/>
                </a:cubicBezTo>
                <a:cubicBezTo>
                  <a:pt x="58" y="81"/>
                  <a:pt x="73" y="171"/>
                  <a:pt x="54" y="258"/>
                </a:cubicBezTo>
                <a:cubicBezTo>
                  <a:pt x="184" y="288"/>
                  <a:pt x="184" y="288"/>
                  <a:pt x="184" y="288"/>
                </a:cubicBezTo>
                <a:cubicBezTo>
                  <a:pt x="187" y="289"/>
                  <a:pt x="189" y="292"/>
                  <a:pt x="189" y="295"/>
                </a:cubicBezTo>
                <a:cubicBezTo>
                  <a:pt x="188" y="298"/>
                  <a:pt x="186" y="300"/>
                  <a:pt x="183" y="30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7FF9BAC8-526E-4C31-9C02-CDDBE39C1E40}"/>
              </a:ext>
            </a:extLst>
          </p:cNvPr>
          <p:cNvSpPr>
            <a:spLocks/>
          </p:cNvSpPr>
          <p:nvPr/>
        </p:nvSpPr>
        <p:spPr bwMode="auto">
          <a:xfrm>
            <a:off x="6273573" y="2409701"/>
            <a:ext cx="1442128" cy="558079"/>
          </a:xfrm>
          <a:custGeom>
            <a:avLst/>
            <a:gdLst>
              <a:gd name="T0" fmla="*/ 232 w 347"/>
              <a:gd name="T1" fmla="*/ 140 h 140"/>
              <a:gd name="T2" fmla="*/ 231 w 347"/>
              <a:gd name="T3" fmla="*/ 140 h 140"/>
              <a:gd name="T4" fmla="*/ 227 w 347"/>
              <a:gd name="T5" fmla="*/ 138 h 140"/>
              <a:gd name="T6" fmla="*/ 5 w 347"/>
              <a:gd name="T7" fmla="*/ 12 h 140"/>
              <a:gd name="T8" fmla="*/ 0 w 347"/>
              <a:gd name="T9" fmla="*/ 5 h 140"/>
              <a:gd name="T10" fmla="*/ 7 w 347"/>
              <a:gd name="T11" fmla="*/ 0 h 140"/>
              <a:gd name="T12" fmla="*/ 233 w 347"/>
              <a:gd name="T13" fmla="*/ 126 h 140"/>
              <a:gd name="T14" fmla="*/ 337 w 347"/>
              <a:gd name="T15" fmla="*/ 43 h 140"/>
              <a:gd name="T16" fmla="*/ 345 w 347"/>
              <a:gd name="T17" fmla="*/ 43 h 140"/>
              <a:gd name="T18" fmla="*/ 344 w 347"/>
              <a:gd name="T19" fmla="*/ 52 h 140"/>
              <a:gd name="T20" fmla="*/ 235 w 347"/>
              <a:gd name="T21" fmla="*/ 139 h 140"/>
              <a:gd name="T22" fmla="*/ 232 w 347"/>
              <a:gd name="T2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7" h="140">
                <a:moveTo>
                  <a:pt x="232" y="140"/>
                </a:moveTo>
                <a:cubicBezTo>
                  <a:pt x="231" y="140"/>
                  <a:pt x="231" y="140"/>
                  <a:pt x="231" y="140"/>
                </a:cubicBezTo>
                <a:cubicBezTo>
                  <a:pt x="229" y="140"/>
                  <a:pt x="228" y="139"/>
                  <a:pt x="227" y="138"/>
                </a:cubicBezTo>
                <a:cubicBezTo>
                  <a:pt x="172" y="69"/>
                  <a:pt x="93" y="24"/>
                  <a:pt x="5" y="12"/>
                </a:cubicBezTo>
                <a:cubicBezTo>
                  <a:pt x="2" y="12"/>
                  <a:pt x="0" y="9"/>
                  <a:pt x="0" y="5"/>
                </a:cubicBezTo>
                <a:cubicBezTo>
                  <a:pt x="1" y="2"/>
                  <a:pt x="4" y="0"/>
                  <a:pt x="7" y="0"/>
                </a:cubicBezTo>
                <a:cubicBezTo>
                  <a:pt x="96" y="12"/>
                  <a:pt x="176" y="57"/>
                  <a:pt x="233" y="126"/>
                </a:cubicBezTo>
                <a:cubicBezTo>
                  <a:pt x="337" y="43"/>
                  <a:pt x="337" y="43"/>
                  <a:pt x="337" y="43"/>
                </a:cubicBezTo>
                <a:cubicBezTo>
                  <a:pt x="339" y="40"/>
                  <a:pt x="343" y="41"/>
                  <a:pt x="345" y="43"/>
                </a:cubicBezTo>
                <a:cubicBezTo>
                  <a:pt x="347" y="46"/>
                  <a:pt x="347" y="50"/>
                  <a:pt x="344" y="52"/>
                </a:cubicBezTo>
                <a:cubicBezTo>
                  <a:pt x="235" y="139"/>
                  <a:pt x="235" y="139"/>
                  <a:pt x="235" y="139"/>
                </a:cubicBezTo>
                <a:cubicBezTo>
                  <a:pt x="234" y="140"/>
                  <a:pt x="233" y="140"/>
                  <a:pt x="232" y="140"/>
                </a:cubicBezTo>
                <a:close/>
              </a:path>
            </a:pathLst>
          </a:custGeom>
          <a:solidFill>
            <a:schemeClr val="accent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B40133D2-F081-4E6F-AE7A-7D0C6FC55911}"/>
              </a:ext>
            </a:extLst>
          </p:cNvPr>
          <p:cNvSpPr>
            <a:spLocks/>
          </p:cNvSpPr>
          <p:nvPr/>
        </p:nvSpPr>
        <p:spPr bwMode="auto">
          <a:xfrm>
            <a:off x="5076258" y="1843734"/>
            <a:ext cx="1051251" cy="989949"/>
          </a:xfrm>
          <a:custGeom>
            <a:avLst/>
            <a:gdLst>
              <a:gd name="T0" fmla="*/ 7 w 253"/>
              <a:gd name="T1" fmla="*/ 248 h 248"/>
              <a:gd name="T2" fmla="*/ 2 w 253"/>
              <a:gd name="T3" fmla="*/ 246 h 248"/>
              <a:gd name="T4" fmla="*/ 3 w 253"/>
              <a:gd name="T5" fmla="*/ 237 h 248"/>
              <a:gd name="T6" fmla="*/ 241 w 253"/>
              <a:gd name="T7" fmla="*/ 139 h 248"/>
              <a:gd name="T8" fmla="*/ 241 w 253"/>
              <a:gd name="T9" fmla="*/ 6 h 248"/>
              <a:gd name="T10" fmla="*/ 247 w 253"/>
              <a:gd name="T11" fmla="*/ 0 h 248"/>
              <a:gd name="T12" fmla="*/ 253 w 253"/>
              <a:gd name="T13" fmla="*/ 6 h 248"/>
              <a:gd name="T14" fmla="*/ 253 w 253"/>
              <a:gd name="T15" fmla="*/ 145 h 248"/>
              <a:gd name="T16" fmla="*/ 252 w 253"/>
              <a:gd name="T17" fmla="*/ 149 h 248"/>
              <a:gd name="T18" fmla="*/ 247 w 253"/>
              <a:gd name="T19" fmla="*/ 151 h 248"/>
              <a:gd name="T20" fmla="*/ 11 w 253"/>
              <a:gd name="T21" fmla="*/ 246 h 248"/>
              <a:gd name="T22" fmla="*/ 7 w 253"/>
              <a:gd name="T23"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3" h="248">
                <a:moveTo>
                  <a:pt x="7" y="248"/>
                </a:moveTo>
                <a:cubicBezTo>
                  <a:pt x="5" y="248"/>
                  <a:pt x="4" y="247"/>
                  <a:pt x="2" y="246"/>
                </a:cubicBezTo>
                <a:cubicBezTo>
                  <a:pt x="0" y="243"/>
                  <a:pt x="0" y="239"/>
                  <a:pt x="3" y="237"/>
                </a:cubicBezTo>
                <a:cubicBezTo>
                  <a:pt x="67" y="175"/>
                  <a:pt x="152" y="141"/>
                  <a:pt x="241" y="139"/>
                </a:cubicBezTo>
                <a:cubicBezTo>
                  <a:pt x="241" y="6"/>
                  <a:pt x="241" y="6"/>
                  <a:pt x="241" y="6"/>
                </a:cubicBezTo>
                <a:cubicBezTo>
                  <a:pt x="241" y="2"/>
                  <a:pt x="244" y="0"/>
                  <a:pt x="247" y="0"/>
                </a:cubicBezTo>
                <a:cubicBezTo>
                  <a:pt x="251" y="0"/>
                  <a:pt x="253" y="2"/>
                  <a:pt x="253" y="6"/>
                </a:cubicBezTo>
                <a:cubicBezTo>
                  <a:pt x="253" y="145"/>
                  <a:pt x="253" y="145"/>
                  <a:pt x="253" y="145"/>
                </a:cubicBezTo>
                <a:cubicBezTo>
                  <a:pt x="253" y="147"/>
                  <a:pt x="253" y="148"/>
                  <a:pt x="252" y="149"/>
                </a:cubicBezTo>
                <a:cubicBezTo>
                  <a:pt x="250" y="150"/>
                  <a:pt x="249" y="151"/>
                  <a:pt x="247" y="151"/>
                </a:cubicBezTo>
                <a:cubicBezTo>
                  <a:pt x="159" y="151"/>
                  <a:pt x="75" y="185"/>
                  <a:pt x="11" y="246"/>
                </a:cubicBezTo>
                <a:cubicBezTo>
                  <a:pt x="10" y="247"/>
                  <a:pt x="8" y="248"/>
                  <a:pt x="7" y="2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8CB4F488-F08C-4E17-8BAD-442029A2F9CF}"/>
              </a:ext>
            </a:extLst>
          </p:cNvPr>
          <p:cNvSpPr>
            <a:spLocks/>
          </p:cNvSpPr>
          <p:nvPr/>
        </p:nvSpPr>
        <p:spPr bwMode="auto">
          <a:xfrm>
            <a:off x="4489944" y="2573379"/>
            <a:ext cx="508140" cy="1388296"/>
          </a:xfrm>
          <a:custGeom>
            <a:avLst/>
            <a:gdLst>
              <a:gd name="T0" fmla="*/ 41 w 122"/>
              <a:gd name="T1" fmla="*/ 348 h 348"/>
              <a:gd name="T2" fmla="*/ 35 w 122"/>
              <a:gd name="T3" fmla="*/ 342 h 348"/>
              <a:gd name="T4" fmla="*/ 108 w 122"/>
              <a:gd name="T5" fmla="*/ 94 h 348"/>
              <a:gd name="T6" fmla="*/ 3 w 122"/>
              <a:gd name="T7" fmla="*/ 11 h 348"/>
              <a:gd name="T8" fmla="*/ 2 w 122"/>
              <a:gd name="T9" fmla="*/ 3 h 348"/>
              <a:gd name="T10" fmla="*/ 11 w 122"/>
              <a:gd name="T11" fmla="*/ 2 h 348"/>
              <a:gd name="T12" fmla="*/ 120 w 122"/>
              <a:gd name="T13" fmla="*/ 88 h 348"/>
              <a:gd name="T14" fmla="*/ 122 w 122"/>
              <a:gd name="T15" fmla="*/ 93 h 348"/>
              <a:gd name="T16" fmla="*/ 121 w 122"/>
              <a:gd name="T17" fmla="*/ 97 h 348"/>
              <a:gd name="T18" fmla="*/ 47 w 122"/>
              <a:gd name="T19" fmla="*/ 341 h 348"/>
              <a:gd name="T20" fmla="*/ 42 w 122"/>
              <a:gd name="T21" fmla="*/ 347 h 348"/>
              <a:gd name="T22" fmla="*/ 41 w 122"/>
              <a:gd name="T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348">
                <a:moveTo>
                  <a:pt x="41" y="348"/>
                </a:moveTo>
                <a:cubicBezTo>
                  <a:pt x="38" y="348"/>
                  <a:pt x="36" y="345"/>
                  <a:pt x="35" y="342"/>
                </a:cubicBezTo>
                <a:cubicBezTo>
                  <a:pt x="27" y="253"/>
                  <a:pt x="53" y="165"/>
                  <a:pt x="108" y="94"/>
                </a:cubicBezTo>
                <a:cubicBezTo>
                  <a:pt x="3" y="11"/>
                  <a:pt x="3" y="11"/>
                  <a:pt x="3" y="11"/>
                </a:cubicBezTo>
                <a:cubicBezTo>
                  <a:pt x="1" y="9"/>
                  <a:pt x="0" y="5"/>
                  <a:pt x="2" y="3"/>
                </a:cubicBezTo>
                <a:cubicBezTo>
                  <a:pt x="4" y="0"/>
                  <a:pt x="8" y="0"/>
                  <a:pt x="11" y="2"/>
                </a:cubicBezTo>
                <a:cubicBezTo>
                  <a:pt x="120" y="88"/>
                  <a:pt x="120" y="88"/>
                  <a:pt x="120" y="88"/>
                </a:cubicBezTo>
                <a:cubicBezTo>
                  <a:pt x="121" y="89"/>
                  <a:pt x="122" y="91"/>
                  <a:pt x="122" y="93"/>
                </a:cubicBezTo>
                <a:cubicBezTo>
                  <a:pt x="122" y="94"/>
                  <a:pt x="122" y="96"/>
                  <a:pt x="121" y="97"/>
                </a:cubicBezTo>
                <a:cubicBezTo>
                  <a:pt x="65" y="166"/>
                  <a:pt x="39" y="253"/>
                  <a:pt x="47" y="341"/>
                </a:cubicBezTo>
                <a:cubicBezTo>
                  <a:pt x="48" y="344"/>
                  <a:pt x="45" y="347"/>
                  <a:pt x="42" y="347"/>
                </a:cubicBezTo>
                <a:cubicBezTo>
                  <a:pt x="42" y="348"/>
                  <a:pt x="42" y="348"/>
                  <a:pt x="41" y="3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3">
            <a:extLst>
              <a:ext uri="{FF2B5EF4-FFF2-40B4-BE49-F238E27FC236}">
                <a16:creationId xmlns:a16="http://schemas.microsoft.com/office/drawing/2014/main" id="{2B79395B-1A24-4095-A1C3-180F7CE03DA5}"/>
              </a:ext>
            </a:extLst>
          </p:cNvPr>
          <p:cNvSpPr>
            <a:spLocks/>
          </p:cNvSpPr>
          <p:nvPr/>
        </p:nvSpPr>
        <p:spPr bwMode="auto">
          <a:xfrm>
            <a:off x="4103181" y="4113517"/>
            <a:ext cx="224240" cy="191284"/>
          </a:xfrm>
          <a:custGeom>
            <a:avLst/>
            <a:gdLst>
              <a:gd name="T0" fmla="*/ 47 w 54"/>
              <a:gd name="T1" fmla="*/ 48 h 48"/>
              <a:gd name="T2" fmla="*/ 46 w 54"/>
              <a:gd name="T3" fmla="*/ 48 h 48"/>
              <a:gd name="T4" fmla="*/ 5 w 54"/>
              <a:gd name="T5" fmla="*/ 39 h 48"/>
              <a:gd name="T6" fmla="*/ 0 w 54"/>
              <a:gd name="T7" fmla="*/ 34 h 48"/>
              <a:gd name="T8" fmla="*/ 2 w 54"/>
              <a:gd name="T9" fmla="*/ 28 h 48"/>
              <a:gd name="T10" fmla="*/ 36 w 54"/>
              <a:gd name="T11" fmla="*/ 2 h 48"/>
              <a:gd name="T12" fmla="*/ 44 w 54"/>
              <a:gd name="T13" fmla="*/ 3 h 48"/>
              <a:gd name="T14" fmla="*/ 43 w 54"/>
              <a:gd name="T15" fmla="*/ 11 h 48"/>
              <a:gd name="T16" fmla="*/ 20 w 54"/>
              <a:gd name="T17" fmla="*/ 30 h 48"/>
              <a:gd name="T18" fmla="*/ 49 w 54"/>
              <a:gd name="T19" fmla="*/ 36 h 48"/>
              <a:gd name="T20" fmla="*/ 53 w 54"/>
              <a:gd name="T21" fmla="*/ 43 h 48"/>
              <a:gd name="T22" fmla="*/ 47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47" y="48"/>
                </a:moveTo>
                <a:cubicBezTo>
                  <a:pt x="47" y="48"/>
                  <a:pt x="47" y="48"/>
                  <a:pt x="46" y="48"/>
                </a:cubicBezTo>
                <a:cubicBezTo>
                  <a:pt x="5" y="39"/>
                  <a:pt x="5" y="39"/>
                  <a:pt x="5" y="39"/>
                </a:cubicBezTo>
                <a:cubicBezTo>
                  <a:pt x="2" y="38"/>
                  <a:pt x="1" y="36"/>
                  <a:pt x="0" y="34"/>
                </a:cubicBezTo>
                <a:cubicBezTo>
                  <a:pt x="0" y="32"/>
                  <a:pt x="0" y="30"/>
                  <a:pt x="2" y="28"/>
                </a:cubicBezTo>
                <a:cubicBezTo>
                  <a:pt x="36" y="2"/>
                  <a:pt x="36" y="2"/>
                  <a:pt x="36" y="2"/>
                </a:cubicBezTo>
                <a:cubicBezTo>
                  <a:pt x="38" y="0"/>
                  <a:pt x="42" y="0"/>
                  <a:pt x="44" y="3"/>
                </a:cubicBezTo>
                <a:cubicBezTo>
                  <a:pt x="46" y="6"/>
                  <a:pt x="46" y="9"/>
                  <a:pt x="43" y="11"/>
                </a:cubicBezTo>
                <a:cubicBezTo>
                  <a:pt x="20" y="30"/>
                  <a:pt x="20" y="30"/>
                  <a:pt x="20" y="30"/>
                </a:cubicBezTo>
                <a:cubicBezTo>
                  <a:pt x="49" y="36"/>
                  <a:pt x="49" y="36"/>
                  <a:pt x="49" y="36"/>
                </a:cubicBezTo>
                <a:cubicBezTo>
                  <a:pt x="52" y="37"/>
                  <a:pt x="54" y="40"/>
                  <a:pt x="53" y="43"/>
                </a:cubicBezTo>
                <a:cubicBezTo>
                  <a:pt x="53" y="46"/>
                  <a:pt x="50" y="48"/>
                  <a:pt x="47"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4">
            <a:extLst>
              <a:ext uri="{FF2B5EF4-FFF2-40B4-BE49-F238E27FC236}">
                <a16:creationId xmlns:a16="http://schemas.microsoft.com/office/drawing/2014/main" id="{96235668-C2C4-47AF-B529-4A7F85BA4021}"/>
              </a:ext>
            </a:extLst>
          </p:cNvPr>
          <p:cNvSpPr>
            <a:spLocks/>
          </p:cNvSpPr>
          <p:nvPr/>
        </p:nvSpPr>
        <p:spPr bwMode="auto">
          <a:xfrm>
            <a:off x="5201749" y="5369689"/>
            <a:ext cx="189266" cy="218892"/>
          </a:xfrm>
          <a:custGeom>
            <a:avLst/>
            <a:gdLst>
              <a:gd name="T0" fmla="*/ 6 w 46"/>
              <a:gd name="T1" fmla="*/ 55 h 55"/>
              <a:gd name="T2" fmla="*/ 3 w 46"/>
              <a:gd name="T3" fmla="*/ 54 h 55"/>
              <a:gd name="T4" fmla="*/ 0 w 46"/>
              <a:gd name="T5" fmla="*/ 49 h 55"/>
              <a:gd name="T6" fmla="*/ 0 w 46"/>
              <a:gd name="T7" fmla="*/ 6 h 55"/>
              <a:gd name="T8" fmla="*/ 6 w 46"/>
              <a:gd name="T9" fmla="*/ 0 h 55"/>
              <a:gd name="T10" fmla="*/ 6 w 46"/>
              <a:gd name="T11" fmla="*/ 0 h 55"/>
              <a:gd name="T12" fmla="*/ 12 w 46"/>
              <a:gd name="T13" fmla="*/ 6 h 55"/>
              <a:gd name="T14" fmla="*/ 12 w 46"/>
              <a:gd name="T15" fmla="*/ 36 h 55"/>
              <a:gd name="T16" fmla="*/ 35 w 46"/>
              <a:gd name="T17" fmla="*/ 17 h 55"/>
              <a:gd name="T18" fmla="*/ 43 w 46"/>
              <a:gd name="T19" fmla="*/ 18 h 55"/>
              <a:gd name="T20" fmla="*/ 43 w 46"/>
              <a:gd name="T21" fmla="*/ 27 h 55"/>
              <a:gd name="T22" fmla="*/ 10 w 46"/>
              <a:gd name="T23" fmla="*/ 53 h 55"/>
              <a:gd name="T24" fmla="*/ 6 w 46"/>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5">
                <a:moveTo>
                  <a:pt x="6" y="55"/>
                </a:moveTo>
                <a:cubicBezTo>
                  <a:pt x="5" y="55"/>
                  <a:pt x="4" y="54"/>
                  <a:pt x="3" y="54"/>
                </a:cubicBezTo>
                <a:cubicBezTo>
                  <a:pt x="1" y="53"/>
                  <a:pt x="0" y="51"/>
                  <a:pt x="0" y="49"/>
                </a:cubicBezTo>
                <a:cubicBezTo>
                  <a:pt x="0" y="6"/>
                  <a:pt x="0" y="6"/>
                  <a:pt x="0" y="6"/>
                </a:cubicBezTo>
                <a:cubicBezTo>
                  <a:pt x="0" y="3"/>
                  <a:pt x="3" y="0"/>
                  <a:pt x="6" y="0"/>
                </a:cubicBezTo>
                <a:cubicBezTo>
                  <a:pt x="6" y="0"/>
                  <a:pt x="6" y="0"/>
                  <a:pt x="6" y="0"/>
                </a:cubicBezTo>
                <a:cubicBezTo>
                  <a:pt x="9" y="0"/>
                  <a:pt x="12" y="3"/>
                  <a:pt x="12" y="6"/>
                </a:cubicBezTo>
                <a:cubicBezTo>
                  <a:pt x="12" y="36"/>
                  <a:pt x="12" y="36"/>
                  <a:pt x="12" y="36"/>
                </a:cubicBezTo>
                <a:cubicBezTo>
                  <a:pt x="35" y="17"/>
                  <a:pt x="35" y="17"/>
                  <a:pt x="35" y="17"/>
                </a:cubicBezTo>
                <a:cubicBezTo>
                  <a:pt x="38" y="15"/>
                  <a:pt x="41" y="16"/>
                  <a:pt x="43" y="18"/>
                </a:cubicBezTo>
                <a:cubicBezTo>
                  <a:pt x="46" y="21"/>
                  <a:pt x="45" y="25"/>
                  <a:pt x="43" y="27"/>
                </a:cubicBezTo>
                <a:cubicBezTo>
                  <a:pt x="10" y="53"/>
                  <a:pt x="10" y="53"/>
                  <a:pt x="10" y="53"/>
                </a:cubicBezTo>
                <a:cubicBezTo>
                  <a:pt x="9" y="54"/>
                  <a:pt x="7" y="55"/>
                  <a:pt x="6" y="5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6">
            <a:extLst>
              <a:ext uri="{FF2B5EF4-FFF2-40B4-BE49-F238E27FC236}">
                <a16:creationId xmlns:a16="http://schemas.microsoft.com/office/drawing/2014/main" id="{A5F50408-C5BB-4E21-A69A-417ED4D7FEAB}"/>
              </a:ext>
            </a:extLst>
          </p:cNvPr>
          <p:cNvSpPr>
            <a:spLocks/>
          </p:cNvSpPr>
          <p:nvPr/>
        </p:nvSpPr>
        <p:spPr bwMode="auto">
          <a:xfrm>
            <a:off x="7882337" y="4113517"/>
            <a:ext cx="224240" cy="191284"/>
          </a:xfrm>
          <a:custGeom>
            <a:avLst/>
            <a:gdLst>
              <a:gd name="T0" fmla="*/ 6 w 54"/>
              <a:gd name="T1" fmla="*/ 48 h 48"/>
              <a:gd name="T2" fmla="*/ 1 w 54"/>
              <a:gd name="T3" fmla="*/ 43 h 48"/>
              <a:gd name="T4" fmla="*/ 5 w 54"/>
              <a:gd name="T5" fmla="*/ 36 h 48"/>
              <a:gd name="T6" fmla="*/ 34 w 54"/>
              <a:gd name="T7" fmla="*/ 30 h 48"/>
              <a:gd name="T8" fmla="*/ 11 w 54"/>
              <a:gd name="T9" fmla="*/ 11 h 48"/>
              <a:gd name="T10" fmla="*/ 10 w 54"/>
              <a:gd name="T11" fmla="*/ 3 h 48"/>
              <a:gd name="T12" fmla="*/ 18 w 54"/>
              <a:gd name="T13" fmla="*/ 2 h 48"/>
              <a:gd name="T14" fmla="*/ 52 w 54"/>
              <a:gd name="T15" fmla="*/ 28 h 48"/>
              <a:gd name="T16" fmla="*/ 54 w 54"/>
              <a:gd name="T17" fmla="*/ 34 h 48"/>
              <a:gd name="T18" fmla="*/ 49 w 54"/>
              <a:gd name="T19" fmla="*/ 39 h 48"/>
              <a:gd name="T20" fmla="*/ 8 w 54"/>
              <a:gd name="T21" fmla="*/ 48 h 48"/>
              <a:gd name="T22" fmla="*/ 6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6" y="48"/>
                </a:moveTo>
                <a:cubicBezTo>
                  <a:pt x="4" y="48"/>
                  <a:pt x="1" y="46"/>
                  <a:pt x="1" y="43"/>
                </a:cubicBezTo>
                <a:cubicBezTo>
                  <a:pt x="0" y="40"/>
                  <a:pt x="2" y="37"/>
                  <a:pt x="5" y="36"/>
                </a:cubicBezTo>
                <a:cubicBezTo>
                  <a:pt x="34" y="30"/>
                  <a:pt x="34" y="30"/>
                  <a:pt x="34" y="30"/>
                </a:cubicBezTo>
                <a:cubicBezTo>
                  <a:pt x="11" y="11"/>
                  <a:pt x="11" y="11"/>
                  <a:pt x="11" y="11"/>
                </a:cubicBezTo>
                <a:cubicBezTo>
                  <a:pt x="8" y="9"/>
                  <a:pt x="8" y="5"/>
                  <a:pt x="10" y="3"/>
                </a:cubicBezTo>
                <a:cubicBezTo>
                  <a:pt x="12" y="0"/>
                  <a:pt x="16" y="0"/>
                  <a:pt x="18" y="2"/>
                </a:cubicBezTo>
                <a:cubicBezTo>
                  <a:pt x="52" y="28"/>
                  <a:pt x="52" y="28"/>
                  <a:pt x="52" y="28"/>
                </a:cubicBezTo>
                <a:cubicBezTo>
                  <a:pt x="53" y="29"/>
                  <a:pt x="54" y="32"/>
                  <a:pt x="54" y="34"/>
                </a:cubicBezTo>
                <a:cubicBezTo>
                  <a:pt x="53" y="36"/>
                  <a:pt x="51" y="38"/>
                  <a:pt x="49" y="39"/>
                </a:cubicBezTo>
                <a:cubicBezTo>
                  <a:pt x="8" y="48"/>
                  <a:pt x="8" y="48"/>
                  <a:pt x="8" y="48"/>
                </a:cubicBezTo>
                <a:cubicBezTo>
                  <a:pt x="7" y="48"/>
                  <a:pt x="7" y="48"/>
                  <a:pt x="6"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7">
            <a:extLst>
              <a:ext uri="{FF2B5EF4-FFF2-40B4-BE49-F238E27FC236}">
                <a16:creationId xmlns:a16="http://schemas.microsoft.com/office/drawing/2014/main" id="{3738B4F9-0124-46A0-853E-9F72C3BC3170}"/>
              </a:ext>
            </a:extLst>
          </p:cNvPr>
          <p:cNvSpPr>
            <a:spLocks/>
          </p:cNvSpPr>
          <p:nvPr/>
        </p:nvSpPr>
        <p:spPr bwMode="auto">
          <a:xfrm>
            <a:off x="7491460" y="2573379"/>
            <a:ext cx="224240" cy="199173"/>
          </a:xfrm>
          <a:custGeom>
            <a:avLst/>
            <a:gdLst>
              <a:gd name="T0" fmla="*/ 29 w 54"/>
              <a:gd name="T1" fmla="*/ 50 h 50"/>
              <a:gd name="T2" fmla="*/ 26 w 54"/>
              <a:gd name="T3" fmla="*/ 50 h 50"/>
              <a:gd name="T4" fmla="*/ 24 w 54"/>
              <a:gd name="T5" fmla="*/ 42 h 50"/>
              <a:gd name="T6" fmla="*/ 37 w 54"/>
              <a:gd name="T7" fmla="*/ 15 h 50"/>
              <a:gd name="T8" fmla="*/ 8 w 54"/>
              <a:gd name="T9" fmla="*/ 22 h 50"/>
              <a:gd name="T10" fmla="*/ 0 w 54"/>
              <a:gd name="T11" fmla="*/ 17 h 50"/>
              <a:gd name="T12" fmla="*/ 5 w 54"/>
              <a:gd name="T13" fmla="*/ 10 h 50"/>
              <a:gd name="T14" fmla="*/ 46 w 54"/>
              <a:gd name="T15" fmla="*/ 0 h 50"/>
              <a:gd name="T16" fmla="*/ 52 w 54"/>
              <a:gd name="T17" fmla="*/ 2 h 50"/>
              <a:gd name="T18" fmla="*/ 53 w 54"/>
              <a:gd name="T19" fmla="*/ 9 h 50"/>
              <a:gd name="T20" fmla="*/ 34 w 54"/>
              <a:gd name="T21" fmla="*/ 47 h 50"/>
              <a:gd name="T22" fmla="*/ 29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9" y="50"/>
                </a:moveTo>
                <a:cubicBezTo>
                  <a:pt x="28" y="50"/>
                  <a:pt x="27" y="50"/>
                  <a:pt x="26" y="50"/>
                </a:cubicBezTo>
                <a:cubicBezTo>
                  <a:pt x="23" y="48"/>
                  <a:pt x="22" y="45"/>
                  <a:pt x="24" y="42"/>
                </a:cubicBezTo>
                <a:cubicBezTo>
                  <a:pt x="37" y="15"/>
                  <a:pt x="37" y="15"/>
                  <a:pt x="37" y="15"/>
                </a:cubicBezTo>
                <a:cubicBezTo>
                  <a:pt x="8" y="22"/>
                  <a:pt x="8" y="22"/>
                  <a:pt x="8" y="22"/>
                </a:cubicBezTo>
                <a:cubicBezTo>
                  <a:pt x="4" y="23"/>
                  <a:pt x="1" y="21"/>
                  <a:pt x="0" y="17"/>
                </a:cubicBezTo>
                <a:cubicBezTo>
                  <a:pt x="0" y="14"/>
                  <a:pt x="2" y="11"/>
                  <a:pt x="5" y="10"/>
                </a:cubicBezTo>
                <a:cubicBezTo>
                  <a:pt x="46" y="0"/>
                  <a:pt x="46" y="0"/>
                  <a:pt x="46" y="0"/>
                </a:cubicBezTo>
                <a:cubicBezTo>
                  <a:pt x="48" y="0"/>
                  <a:pt x="51" y="1"/>
                  <a:pt x="52" y="2"/>
                </a:cubicBezTo>
                <a:cubicBezTo>
                  <a:pt x="54" y="4"/>
                  <a:pt x="54" y="7"/>
                  <a:pt x="53" y="9"/>
                </a:cubicBezTo>
                <a:cubicBezTo>
                  <a:pt x="34" y="47"/>
                  <a:pt x="34" y="47"/>
                  <a:pt x="34" y="47"/>
                </a:cubicBezTo>
                <a:cubicBezTo>
                  <a:pt x="33" y="49"/>
                  <a:pt x="31" y="50"/>
                  <a:pt x="29" y="5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8">
            <a:extLst>
              <a:ext uri="{FF2B5EF4-FFF2-40B4-BE49-F238E27FC236}">
                <a16:creationId xmlns:a16="http://schemas.microsoft.com/office/drawing/2014/main" id="{2BD0D3FB-88AB-4397-A897-BCA37ECE6052}"/>
              </a:ext>
            </a:extLst>
          </p:cNvPr>
          <p:cNvSpPr>
            <a:spLocks/>
          </p:cNvSpPr>
          <p:nvPr/>
        </p:nvSpPr>
        <p:spPr bwMode="auto">
          <a:xfrm>
            <a:off x="5997904" y="1843734"/>
            <a:ext cx="209838" cy="203117"/>
          </a:xfrm>
          <a:custGeom>
            <a:avLst/>
            <a:gdLst>
              <a:gd name="T0" fmla="*/ 7 w 50"/>
              <a:gd name="T1" fmla="*/ 50 h 51"/>
              <a:gd name="T2" fmla="*/ 5 w 50"/>
              <a:gd name="T3" fmla="*/ 49 h 51"/>
              <a:gd name="T4" fmla="*/ 2 w 50"/>
              <a:gd name="T5" fmla="*/ 41 h 51"/>
              <a:gd name="T6" fmla="*/ 20 w 50"/>
              <a:gd name="T7" fmla="*/ 3 h 51"/>
              <a:gd name="T8" fmla="*/ 25 w 50"/>
              <a:gd name="T9" fmla="*/ 0 h 51"/>
              <a:gd name="T10" fmla="*/ 31 w 50"/>
              <a:gd name="T11" fmla="*/ 3 h 51"/>
              <a:gd name="T12" fmla="*/ 49 w 50"/>
              <a:gd name="T13" fmla="*/ 41 h 51"/>
              <a:gd name="T14" fmla="*/ 46 w 50"/>
              <a:gd name="T15" fmla="*/ 49 h 51"/>
              <a:gd name="T16" fmla="*/ 38 w 50"/>
              <a:gd name="T17" fmla="*/ 47 h 51"/>
              <a:gd name="T18" fmla="*/ 25 w 50"/>
              <a:gd name="T19" fmla="*/ 20 h 51"/>
              <a:gd name="T20" fmla="*/ 13 w 50"/>
              <a:gd name="T21" fmla="*/ 47 h 51"/>
              <a:gd name="T22" fmla="*/ 7 w 50"/>
              <a:gd name="T23"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1">
                <a:moveTo>
                  <a:pt x="7" y="50"/>
                </a:moveTo>
                <a:cubicBezTo>
                  <a:pt x="6" y="50"/>
                  <a:pt x="5" y="50"/>
                  <a:pt x="5" y="49"/>
                </a:cubicBezTo>
                <a:cubicBezTo>
                  <a:pt x="2" y="48"/>
                  <a:pt x="0" y="44"/>
                  <a:pt x="2" y="41"/>
                </a:cubicBezTo>
                <a:cubicBezTo>
                  <a:pt x="20" y="3"/>
                  <a:pt x="20" y="3"/>
                  <a:pt x="20" y="3"/>
                </a:cubicBezTo>
                <a:cubicBezTo>
                  <a:pt x="21" y="1"/>
                  <a:pt x="23" y="0"/>
                  <a:pt x="25" y="0"/>
                </a:cubicBezTo>
                <a:cubicBezTo>
                  <a:pt x="28" y="0"/>
                  <a:pt x="30" y="1"/>
                  <a:pt x="31" y="3"/>
                </a:cubicBezTo>
                <a:cubicBezTo>
                  <a:pt x="49" y="41"/>
                  <a:pt x="49" y="41"/>
                  <a:pt x="49" y="41"/>
                </a:cubicBezTo>
                <a:cubicBezTo>
                  <a:pt x="50" y="44"/>
                  <a:pt x="49" y="48"/>
                  <a:pt x="46" y="49"/>
                </a:cubicBezTo>
                <a:cubicBezTo>
                  <a:pt x="43" y="51"/>
                  <a:pt x="39" y="50"/>
                  <a:pt x="38" y="47"/>
                </a:cubicBezTo>
                <a:cubicBezTo>
                  <a:pt x="25" y="20"/>
                  <a:pt x="25" y="20"/>
                  <a:pt x="25" y="20"/>
                </a:cubicBezTo>
                <a:cubicBezTo>
                  <a:pt x="13" y="47"/>
                  <a:pt x="13" y="47"/>
                  <a:pt x="13" y="47"/>
                </a:cubicBezTo>
                <a:cubicBezTo>
                  <a:pt x="12" y="49"/>
                  <a:pt x="9" y="50"/>
                  <a:pt x="7" y="5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9">
            <a:extLst>
              <a:ext uri="{FF2B5EF4-FFF2-40B4-BE49-F238E27FC236}">
                <a16:creationId xmlns:a16="http://schemas.microsoft.com/office/drawing/2014/main" id="{0FE27C37-CA88-443D-848B-BAE25BFB3356}"/>
              </a:ext>
            </a:extLst>
          </p:cNvPr>
          <p:cNvSpPr>
            <a:spLocks/>
          </p:cNvSpPr>
          <p:nvPr/>
        </p:nvSpPr>
        <p:spPr bwMode="auto">
          <a:xfrm>
            <a:off x="4494058" y="2573379"/>
            <a:ext cx="224240" cy="199173"/>
          </a:xfrm>
          <a:custGeom>
            <a:avLst/>
            <a:gdLst>
              <a:gd name="T0" fmla="*/ 25 w 54"/>
              <a:gd name="T1" fmla="*/ 50 h 50"/>
              <a:gd name="T2" fmla="*/ 19 w 54"/>
              <a:gd name="T3" fmla="*/ 47 h 50"/>
              <a:gd name="T4" fmla="*/ 1 w 54"/>
              <a:gd name="T5" fmla="*/ 9 h 50"/>
              <a:gd name="T6" fmla="*/ 1 w 54"/>
              <a:gd name="T7" fmla="*/ 3 h 50"/>
              <a:gd name="T8" fmla="*/ 7 w 54"/>
              <a:gd name="T9" fmla="*/ 1 h 50"/>
              <a:gd name="T10" fmla="*/ 49 w 54"/>
              <a:gd name="T11" fmla="*/ 10 h 50"/>
              <a:gd name="T12" fmla="*/ 53 w 54"/>
              <a:gd name="T13" fmla="*/ 17 h 50"/>
              <a:gd name="T14" fmla="*/ 46 w 54"/>
              <a:gd name="T15" fmla="*/ 22 h 50"/>
              <a:gd name="T16" fmla="*/ 17 w 54"/>
              <a:gd name="T17" fmla="*/ 15 h 50"/>
              <a:gd name="T18" fmla="*/ 30 w 54"/>
              <a:gd name="T19" fmla="*/ 42 h 50"/>
              <a:gd name="T20" fmla="*/ 27 w 54"/>
              <a:gd name="T21" fmla="*/ 50 h 50"/>
              <a:gd name="T22" fmla="*/ 25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5" y="50"/>
                </a:moveTo>
                <a:cubicBezTo>
                  <a:pt x="23" y="50"/>
                  <a:pt x="20" y="49"/>
                  <a:pt x="19" y="47"/>
                </a:cubicBezTo>
                <a:cubicBezTo>
                  <a:pt x="1" y="9"/>
                  <a:pt x="1" y="9"/>
                  <a:pt x="1" y="9"/>
                </a:cubicBezTo>
                <a:cubicBezTo>
                  <a:pt x="0" y="7"/>
                  <a:pt x="0" y="4"/>
                  <a:pt x="1" y="3"/>
                </a:cubicBezTo>
                <a:cubicBezTo>
                  <a:pt x="3" y="1"/>
                  <a:pt x="5" y="0"/>
                  <a:pt x="7" y="1"/>
                </a:cubicBezTo>
                <a:cubicBezTo>
                  <a:pt x="49" y="10"/>
                  <a:pt x="49" y="10"/>
                  <a:pt x="49" y="10"/>
                </a:cubicBezTo>
                <a:cubicBezTo>
                  <a:pt x="52" y="11"/>
                  <a:pt x="54" y="14"/>
                  <a:pt x="53" y="17"/>
                </a:cubicBezTo>
                <a:cubicBezTo>
                  <a:pt x="52" y="21"/>
                  <a:pt x="49" y="23"/>
                  <a:pt x="46" y="22"/>
                </a:cubicBezTo>
                <a:cubicBezTo>
                  <a:pt x="17" y="15"/>
                  <a:pt x="17" y="15"/>
                  <a:pt x="17" y="15"/>
                </a:cubicBezTo>
                <a:cubicBezTo>
                  <a:pt x="30" y="42"/>
                  <a:pt x="30" y="42"/>
                  <a:pt x="30" y="42"/>
                </a:cubicBezTo>
                <a:cubicBezTo>
                  <a:pt x="32" y="45"/>
                  <a:pt x="30" y="48"/>
                  <a:pt x="27" y="50"/>
                </a:cubicBezTo>
                <a:cubicBezTo>
                  <a:pt x="27" y="50"/>
                  <a:pt x="26" y="50"/>
                  <a:pt x="25"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2">
            <a:extLst>
              <a:ext uri="{FF2B5EF4-FFF2-40B4-BE49-F238E27FC236}">
                <a16:creationId xmlns:a16="http://schemas.microsoft.com/office/drawing/2014/main" id="{6E19C658-9EC2-40C2-B241-23248250FFAC}"/>
              </a:ext>
            </a:extLst>
          </p:cNvPr>
          <p:cNvSpPr>
            <a:spLocks/>
          </p:cNvSpPr>
          <p:nvPr/>
        </p:nvSpPr>
        <p:spPr bwMode="auto">
          <a:xfrm>
            <a:off x="4818690" y="2573589"/>
            <a:ext cx="2596814" cy="2491527"/>
          </a:xfrm>
          <a:custGeom>
            <a:avLst/>
            <a:gdLst>
              <a:gd name="T0" fmla="*/ 909 w 3233"/>
              <a:gd name="T1" fmla="*/ 391 h 3233"/>
              <a:gd name="T2" fmla="*/ 2843 w 3233"/>
              <a:gd name="T3" fmla="*/ 909 h 3233"/>
              <a:gd name="T4" fmla="*/ 2325 w 3233"/>
              <a:gd name="T5" fmla="*/ 2842 h 3233"/>
              <a:gd name="T6" fmla="*/ 391 w 3233"/>
              <a:gd name="T7" fmla="*/ 2324 h 3233"/>
              <a:gd name="T8" fmla="*/ 909 w 3233"/>
              <a:gd name="T9" fmla="*/ 391 h 3233"/>
            </a:gdLst>
            <a:ahLst/>
            <a:cxnLst>
              <a:cxn ang="0">
                <a:pos x="T0" y="T1"/>
              </a:cxn>
              <a:cxn ang="0">
                <a:pos x="T2" y="T3"/>
              </a:cxn>
              <a:cxn ang="0">
                <a:pos x="T4" y="T5"/>
              </a:cxn>
              <a:cxn ang="0">
                <a:pos x="T6" y="T7"/>
              </a:cxn>
              <a:cxn ang="0">
                <a:pos x="T8" y="T9"/>
              </a:cxn>
            </a:cxnLst>
            <a:rect l="0" t="0" r="r" b="b"/>
            <a:pathLst>
              <a:path w="3233" h="3233">
                <a:moveTo>
                  <a:pt x="909" y="391"/>
                </a:moveTo>
                <a:cubicBezTo>
                  <a:pt x="1586" y="0"/>
                  <a:pt x="2452" y="232"/>
                  <a:pt x="2843" y="909"/>
                </a:cubicBezTo>
                <a:cubicBezTo>
                  <a:pt x="3233" y="1586"/>
                  <a:pt x="3001" y="2452"/>
                  <a:pt x="2325" y="2842"/>
                </a:cubicBezTo>
                <a:cubicBezTo>
                  <a:pt x="1648" y="3233"/>
                  <a:pt x="782" y="3001"/>
                  <a:pt x="391" y="2324"/>
                </a:cubicBezTo>
                <a:cubicBezTo>
                  <a:pt x="0" y="1648"/>
                  <a:pt x="232" y="782"/>
                  <a:pt x="909" y="391"/>
                </a:cubicBezTo>
                <a:close/>
              </a:path>
            </a:pathLst>
          </a:custGeom>
          <a:solidFill>
            <a:schemeClr val="bg1"/>
          </a:solidFill>
          <a:ln>
            <a:noFill/>
          </a:ln>
          <a:effectLst/>
        </p:spPr>
        <p:txBody>
          <a:bodyPr vert="horz" wrap="square" lIns="91440" tIns="45720" rIns="91440" bIns="45720" numCol="1" anchor="ctr" anchorCtr="0" compatLnSpc="1">
            <a:prstTxWarp prst="textNoShape">
              <a:avLst/>
            </a:prstTxWarp>
          </a:bodyPr>
          <a:lstStyle/>
          <a:p>
            <a:pPr algn="ctr"/>
            <a:endParaRPr lang="en-US" b="1">
              <a:solidFill>
                <a:schemeClr val="accent1"/>
              </a:solidFill>
            </a:endParaRPr>
          </a:p>
        </p:txBody>
      </p:sp>
      <p:sp>
        <p:nvSpPr>
          <p:cNvPr id="20" name="Oval 19">
            <a:extLst>
              <a:ext uri="{FF2B5EF4-FFF2-40B4-BE49-F238E27FC236}">
                <a16:creationId xmlns:a16="http://schemas.microsoft.com/office/drawing/2014/main" id="{92EF6745-8D81-45CC-B19E-40AEA3189173}"/>
              </a:ext>
            </a:extLst>
          </p:cNvPr>
          <p:cNvSpPr/>
          <p:nvPr/>
        </p:nvSpPr>
        <p:spPr bwMode="auto">
          <a:xfrm>
            <a:off x="5672122" y="1412776"/>
            <a:ext cx="788999" cy="756311"/>
          </a:xfrm>
          <a:prstGeom prst="ellipse">
            <a:avLst/>
          </a:prstGeom>
          <a:solidFill>
            <a:schemeClr val="tx2"/>
          </a:solidFill>
          <a:ln w="76200" cap="flat" cmpd="sng" algn="ctr">
            <a:solidFill>
              <a:srgbClr val="FFDA8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1" name="Oval 20">
            <a:extLst>
              <a:ext uri="{FF2B5EF4-FFF2-40B4-BE49-F238E27FC236}">
                <a16:creationId xmlns:a16="http://schemas.microsoft.com/office/drawing/2014/main" id="{60D72E11-FD56-4294-8267-E0CF3FD70572}"/>
              </a:ext>
            </a:extLst>
          </p:cNvPr>
          <p:cNvSpPr/>
          <p:nvPr/>
        </p:nvSpPr>
        <p:spPr bwMode="auto">
          <a:xfrm>
            <a:off x="7409600" y="2177134"/>
            <a:ext cx="788999" cy="756311"/>
          </a:xfrm>
          <a:prstGeom prst="ellipse">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2" name="Oval 21">
            <a:extLst>
              <a:ext uri="{FF2B5EF4-FFF2-40B4-BE49-F238E27FC236}">
                <a16:creationId xmlns:a16="http://schemas.microsoft.com/office/drawing/2014/main" id="{CB952DC0-AD87-4599-9508-78635B9310C0}"/>
              </a:ext>
            </a:extLst>
          </p:cNvPr>
          <p:cNvSpPr/>
          <p:nvPr/>
        </p:nvSpPr>
        <p:spPr bwMode="auto">
          <a:xfrm>
            <a:off x="7795707" y="3882857"/>
            <a:ext cx="788999" cy="756311"/>
          </a:xfrm>
          <a:prstGeom prst="ellipse">
            <a:avLst/>
          </a:prstGeom>
          <a:solidFill>
            <a:schemeClr val="accent2"/>
          </a:solidFill>
          <a:ln w="76200" cap="flat" cmpd="sng" algn="ctr">
            <a:solidFill>
              <a:srgbClr val="FFDA8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3" name="Oval 22">
            <a:extLst>
              <a:ext uri="{FF2B5EF4-FFF2-40B4-BE49-F238E27FC236}">
                <a16:creationId xmlns:a16="http://schemas.microsoft.com/office/drawing/2014/main" id="{124A0628-2086-4535-B0FB-A28D70B6A068}"/>
              </a:ext>
            </a:extLst>
          </p:cNvPr>
          <p:cNvSpPr/>
          <p:nvPr/>
        </p:nvSpPr>
        <p:spPr bwMode="auto">
          <a:xfrm>
            <a:off x="6628995" y="5290884"/>
            <a:ext cx="788999" cy="756311"/>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4" name="Oval 23">
            <a:extLst>
              <a:ext uri="{FF2B5EF4-FFF2-40B4-BE49-F238E27FC236}">
                <a16:creationId xmlns:a16="http://schemas.microsoft.com/office/drawing/2014/main" id="{8AA786AD-3DC8-473C-BC6C-3090A2DE1239}"/>
              </a:ext>
            </a:extLst>
          </p:cNvPr>
          <p:cNvSpPr/>
          <p:nvPr/>
        </p:nvSpPr>
        <p:spPr bwMode="auto">
          <a:xfrm>
            <a:off x="4790793" y="5274792"/>
            <a:ext cx="788999" cy="756311"/>
          </a:xfrm>
          <a:prstGeom prst="ellipse">
            <a:avLst/>
          </a:prstGeom>
          <a:solidFill>
            <a:schemeClr val="accent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5" name="Oval 24">
            <a:extLst>
              <a:ext uri="{FF2B5EF4-FFF2-40B4-BE49-F238E27FC236}">
                <a16:creationId xmlns:a16="http://schemas.microsoft.com/office/drawing/2014/main" id="{152D96B1-75BB-4CD9-AC7B-F009641CCDFC}"/>
              </a:ext>
            </a:extLst>
          </p:cNvPr>
          <p:cNvSpPr/>
          <p:nvPr/>
        </p:nvSpPr>
        <p:spPr bwMode="auto">
          <a:xfrm>
            <a:off x="3607293" y="3898949"/>
            <a:ext cx="788999" cy="756311"/>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6" name="Oval 25">
            <a:extLst>
              <a:ext uri="{FF2B5EF4-FFF2-40B4-BE49-F238E27FC236}">
                <a16:creationId xmlns:a16="http://schemas.microsoft.com/office/drawing/2014/main" id="{E5EB8978-5638-48D6-B978-0A0B7FFE5012}"/>
              </a:ext>
            </a:extLst>
          </p:cNvPr>
          <p:cNvSpPr/>
          <p:nvPr/>
        </p:nvSpPr>
        <p:spPr bwMode="auto">
          <a:xfrm>
            <a:off x="4001792" y="2161042"/>
            <a:ext cx="788999" cy="756311"/>
          </a:xfrm>
          <a:prstGeom prst="ellipse">
            <a:avLst/>
          </a:prstGeom>
          <a:solidFill>
            <a:schemeClr val="tx2">
              <a:lumMod val="90000"/>
              <a:lumOff val="10000"/>
            </a:schemeClr>
          </a:solidFill>
          <a:ln w="76200" cap="flat" cmpd="sng" algn="ctr">
            <a:solidFill>
              <a:srgbClr val="FFDA8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grpSp>
        <p:nvGrpSpPr>
          <p:cNvPr id="117" name="Groupe 299">
            <a:extLst>
              <a:ext uri="{FF2B5EF4-FFF2-40B4-BE49-F238E27FC236}">
                <a16:creationId xmlns:a16="http://schemas.microsoft.com/office/drawing/2014/main" id="{C8352A97-FB98-461A-BFA1-ACA381450628}"/>
              </a:ext>
            </a:extLst>
          </p:cNvPr>
          <p:cNvGrpSpPr/>
          <p:nvPr/>
        </p:nvGrpSpPr>
        <p:grpSpPr>
          <a:xfrm>
            <a:off x="4158739" y="2394984"/>
            <a:ext cx="490466" cy="282474"/>
            <a:chOff x="4572000" y="4300538"/>
            <a:chExt cx="385763" cy="231775"/>
          </a:xfrm>
        </p:grpSpPr>
        <p:sp>
          <p:nvSpPr>
            <p:cNvPr id="118" name="Freeform 828">
              <a:extLst>
                <a:ext uri="{FF2B5EF4-FFF2-40B4-BE49-F238E27FC236}">
                  <a16:creationId xmlns:a16="http://schemas.microsoft.com/office/drawing/2014/main" id="{34186393-10F4-403C-B8B7-6CBE10ED2F62}"/>
                </a:ext>
              </a:extLst>
            </p:cNvPr>
            <p:cNvSpPr>
              <a:spLocks/>
            </p:cNvSpPr>
            <p:nvPr/>
          </p:nvSpPr>
          <p:spPr bwMode="auto">
            <a:xfrm>
              <a:off x="4572000" y="4306888"/>
              <a:ext cx="385763" cy="225425"/>
            </a:xfrm>
            <a:custGeom>
              <a:avLst/>
              <a:gdLst/>
              <a:ahLst/>
              <a:cxnLst>
                <a:cxn ang="0">
                  <a:pos x="0" y="0"/>
                </a:cxn>
                <a:cxn ang="0">
                  <a:pos x="0" y="142"/>
                </a:cxn>
                <a:cxn ang="0">
                  <a:pos x="243" y="142"/>
                </a:cxn>
              </a:cxnLst>
              <a:rect l="0" t="0" r="r" b="b"/>
              <a:pathLst>
                <a:path w="243" h="142">
                  <a:moveTo>
                    <a:pt x="0" y="0"/>
                  </a:moveTo>
                  <a:lnTo>
                    <a:pt x="0" y="142"/>
                  </a:lnTo>
                  <a:lnTo>
                    <a:pt x="243" y="142"/>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19" name="Freeform 829">
              <a:extLst>
                <a:ext uri="{FF2B5EF4-FFF2-40B4-BE49-F238E27FC236}">
                  <a16:creationId xmlns:a16="http://schemas.microsoft.com/office/drawing/2014/main" id="{BE280F3F-94BC-4C1B-9D1C-A06B62D47BD7}"/>
                </a:ext>
              </a:extLst>
            </p:cNvPr>
            <p:cNvSpPr>
              <a:spLocks/>
            </p:cNvSpPr>
            <p:nvPr/>
          </p:nvSpPr>
          <p:spPr bwMode="auto">
            <a:xfrm>
              <a:off x="4611688" y="4337051"/>
              <a:ext cx="260350" cy="168275"/>
            </a:xfrm>
            <a:custGeom>
              <a:avLst/>
              <a:gdLst/>
              <a:ahLst/>
              <a:cxnLst>
                <a:cxn ang="0">
                  <a:pos x="0" y="106"/>
                </a:cxn>
                <a:cxn ang="0">
                  <a:pos x="48" y="57"/>
                </a:cxn>
                <a:cxn ang="0">
                  <a:pos x="77" y="86"/>
                </a:cxn>
                <a:cxn ang="0">
                  <a:pos x="164" y="0"/>
                </a:cxn>
              </a:cxnLst>
              <a:rect l="0" t="0" r="r" b="b"/>
              <a:pathLst>
                <a:path w="164" h="106">
                  <a:moveTo>
                    <a:pt x="0" y="106"/>
                  </a:moveTo>
                  <a:lnTo>
                    <a:pt x="48" y="57"/>
                  </a:lnTo>
                  <a:lnTo>
                    <a:pt x="77" y="86"/>
                  </a:lnTo>
                  <a:lnTo>
                    <a:pt x="164" y="0"/>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20" name="Freeform 831">
              <a:extLst>
                <a:ext uri="{FF2B5EF4-FFF2-40B4-BE49-F238E27FC236}">
                  <a16:creationId xmlns:a16="http://schemas.microsoft.com/office/drawing/2014/main" id="{7A7BBAE7-7208-4B9A-B4D4-63541770FD3E}"/>
                </a:ext>
              </a:extLst>
            </p:cNvPr>
            <p:cNvSpPr>
              <a:spLocks/>
            </p:cNvSpPr>
            <p:nvPr/>
          </p:nvSpPr>
          <p:spPr bwMode="auto">
            <a:xfrm>
              <a:off x="4829175" y="4300538"/>
              <a:ext cx="74613" cy="77788"/>
            </a:xfrm>
            <a:custGeom>
              <a:avLst/>
              <a:gdLst/>
              <a:ahLst/>
              <a:cxnLst>
                <a:cxn ang="0">
                  <a:pos x="0" y="0"/>
                </a:cxn>
                <a:cxn ang="0">
                  <a:pos x="47" y="0"/>
                </a:cxn>
                <a:cxn ang="0">
                  <a:pos x="47" y="49"/>
                </a:cxn>
              </a:cxnLst>
              <a:rect l="0" t="0" r="r" b="b"/>
              <a:pathLst>
                <a:path w="47" h="49">
                  <a:moveTo>
                    <a:pt x="0" y="0"/>
                  </a:moveTo>
                  <a:lnTo>
                    <a:pt x="47" y="0"/>
                  </a:lnTo>
                  <a:lnTo>
                    <a:pt x="47" y="49"/>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sp>
        <p:nvSpPr>
          <p:cNvPr id="129" name="Text Placeholder 2">
            <a:extLst>
              <a:ext uri="{FF2B5EF4-FFF2-40B4-BE49-F238E27FC236}">
                <a16:creationId xmlns:a16="http://schemas.microsoft.com/office/drawing/2014/main" id="{B37FDAB7-8D97-47E1-BF0B-3131104836E3}"/>
              </a:ext>
            </a:extLst>
          </p:cNvPr>
          <p:cNvSpPr>
            <a:spLocks noGrp="1"/>
          </p:cNvSpPr>
          <p:nvPr>
            <p:ph type="body" sz="quarter" idx="10"/>
          </p:nvPr>
        </p:nvSpPr>
        <p:spPr>
          <a:xfrm>
            <a:off x="5177352" y="1090089"/>
            <a:ext cx="4464496" cy="379884"/>
          </a:xfrm>
        </p:spPr>
        <p:txBody>
          <a:bodyPr>
            <a:normAutofit/>
          </a:bodyPr>
          <a:lstStyle/>
          <a:p>
            <a:r>
              <a:rPr lang="nb-NO" sz="1800" b="1"/>
              <a:t>Data Management</a:t>
            </a:r>
          </a:p>
          <a:p>
            <a:endParaRPr lang="nb-NO" sz="1800" b="1"/>
          </a:p>
        </p:txBody>
      </p:sp>
      <p:sp>
        <p:nvSpPr>
          <p:cNvPr id="134" name="TextBox 133">
            <a:extLst>
              <a:ext uri="{FF2B5EF4-FFF2-40B4-BE49-F238E27FC236}">
                <a16:creationId xmlns:a16="http://schemas.microsoft.com/office/drawing/2014/main" id="{065B4607-6A64-4F40-872A-6FC523FB5AF2}"/>
              </a:ext>
            </a:extLst>
          </p:cNvPr>
          <p:cNvSpPr txBox="1"/>
          <p:nvPr/>
        </p:nvSpPr>
        <p:spPr>
          <a:xfrm>
            <a:off x="2511173" y="2267691"/>
            <a:ext cx="2592288" cy="369332"/>
          </a:xfrm>
          <a:prstGeom prst="rect">
            <a:avLst/>
          </a:prstGeom>
          <a:noFill/>
        </p:spPr>
        <p:txBody>
          <a:bodyPr wrap="square" rtlCol="0">
            <a:spAutoFit/>
          </a:bodyPr>
          <a:lstStyle/>
          <a:p>
            <a:r>
              <a:rPr lang="nb-NO" b="1"/>
              <a:t>Data Quality</a:t>
            </a:r>
          </a:p>
        </p:txBody>
      </p:sp>
      <p:sp>
        <p:nvSpPr>
          <p:cNvPr id="138" name="TextBox 137">
            <a:extLst>
              <a:ext uri="{FF2B5EF4-FFF2-40B4-BE49-F238E27FC236}">
                <a16:creationId xmlns:a16="http://schemas.microsoft.com/office/drawing/2014/main" id="{90380516-9C9C-4176-88A2-225F3967286A}"/>
              </a:ext>
            </a:extLst>
          </p:cNvPr>
          <p:cNvSpPr txBox="1"/>
          <p:nvPr/>
        </p:nvSpPr>
        <p:spPr>
          <a:xfrm>
            <a:off x="8584706" y="4092438"/>
            <a:ext cx="3024336" cy="369332"/>
          </a:xfrm>
          <a:prstGeom prst="rect">
            <a:avLst/>
          </a:prstGeom>
          <a:noFill/>
        </p:spPr>
        <p:txBody>
          <a:bodyPr wrap="square" rtlCol="0">
            <a:spAutoFit/>
          </a:bodyPr>
          <a:lstStyle/>
          <a:p>
            <a:r>
              <a:rPr lang="nb-NO" b="1"/>
              <a:t>Data </a:t>
            </a:r>
            <a:r>
              <a:rPr lang="nb-NO" b="1" err="1"/>
              <a:t>Privacy</a:t>
            </a:r>
            <a:endParaRPr lang="nb-NO" b="1"/>
          </a:p>
        </p:txBody>
      </p:sp>
      <p:sp>
        <p:nvSpPr>
          <p:cNvPr id="141" name="Text Placeholder 2">
            <a:extLst>
              <a:ext uri="{FF2B5EF4-FFF2-40B4-BE49-F238E27FC236}">
                <a16:creationId xmlns:a16="http://schemas.microsoft.com/office/drawing/2014/main" id="{C2CCBCE7-0B5E-4C89-BD9D-3C8C28A3B29E}"/>
              </a:ext>
            </a:extLst>
          </p:cNvPr>
          <p:cNvSpPr txBox="1">
            <a:spLocks/>
          </p:cNvSpPr>
          <p:nvPr/>
        </p:nvSpPr>
        <p:spPr>
          <a:xfrm>
            <a:off x="8274555" y="2372938"/>
            <a:ext cx="2569153"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dirty="0"/>
              <a:t>Data Architecture</a:t>
            </a:r>
          </a:p>
          <a:p>
            <a:endParaRPr lang="nb-NO" sz="1800" dirty="0"/>
          </a:p>
        </p:txBody>
      </p:sp>
      <p:sp>
        <p:nvSpPr>
          <p:cNvPr id="143" name="Text Placeholder 2">
            <a:extLst>
              <a:ext uri="{FF2B5EF4-FFF2-40B4-BE49-F238E27FC236}">
                <a16:creationId xmlns:a16="http://schemas.microsoft.com/office/drawing/2014/main" id="{603A37C6-02A0-46D9-ADFF-9687AC583F38}"/>
              </a:ext>
            </a:extLst>
          </p:cNvPr>
          <p:cNvSpPr txBox="1">
            <a:spLocks/>
          </p:cNvSpPr>
          <p:nvPr/>
        </p:nvSpPr>
        <p:spPr>
          <a:xfrm>
            <a:off x="1908260" y="4113517"/>
            <a:ext cx="4464496"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a:t>Data </a:t>
            </a:r>
            <a:r>
              <a:rPr lang="nb-NO" sz="1800" err="1"/>
              <a:t>Modelling</a:t>
            </a:r>
            <a:endParaRPr lang="nb-NO" sz="1800"/>
          </a:p>
          <a:p>
            <a:endParaRPr lang="nb-NO" sz="1800"/>
          </a:p>
        </p:txBody>
      </p:sp>
      <p:sp>
        <p:nvSpPr>
          <p:cNvPr id="144" name="TextBox 143">
            <a:extLst>
              <a:ext uri="{FF2B5EF4-FFF2-40B4-BE49-F238E27FC236}">
                <a16:creationId xmlns:a16="http://schemas.microsoft.com/office/drawing/2014/main" id="{62DB5779-885E-4C34-BAA4-94F35CC481CE}"/>
              </a:ext>
            </a:extLst>
          </p:cNvPr>
          <p:cNvSpPr txBox="1"/>
          <p:nvPr/>
        </p:nvSpPr>
        <p:spPr>
          <a:xfrm>
            <a:off x="7409600" y="5703780"/>
            <a:ext cx="2880320" cy="369332"/>
          </a:xfrm>
          <a:prstGeom prst="rect">
            <a:avLst/>
          </a:prstGeom>
          <a:noFill/>
        </p:spPr>
        <p:txBody>
          <a:bodyPr wrap="square" rtlCol="0">
            <a:spAutoFit/>
          </a:bodyPr>
          <a:lstStyle/>
          <a:p>
            <a:r>
              <a:rPr lang="nb-NO"/>
              <a:t>Metadata</a:t>
            </a:r>
          </a:p>
        </p:txBody>
      </p:sp>
      <p:sp>
        <p:nvSpPr>
          <p:cNvPr id="145" name="TextBox 144">
            <a:extLst>
              <a:ext uri="{FF2B5EF4-FFF2-40B4-BE49-F238E27FC236}">
                <a16:creationId xmlns:a16="http://schemas.microsoft.com/office/drawing/2014/main" id="{0830D84A-6645-4A0C-8472-0630991843CE}"/>
              </a:ext>
            </a:extLst>
          </p:cNvPr>
          <p:cNvSpPr txBox="1"/>
          <p:nvPr/>
        </p:nvSpPr>
        <p:spPr>
          <a:xfrm>
            <a:off x="3097511" y="5745666"/>
            <a:ext cx="2085995" cy="369332"/>
          </a:xfrm>
          <a:prstGeom prst="rect">
            <a:avLst/>
          </a:prstGeom>
          <a:noFill/>
        </p:spPr>
        <p:txBody>
          <a:bodyPr wrap="square" rtlCol="0">
            <a:spAutoFit/>
          </a:bodyPr>
          <a:lstStyle/>
          <a:p>
            <a:r>
              <a:rPr lang="nb-NO" err="1"/>
              <a:t>Documentation</a:t>
            </a:r>
            <a:endParaRPr lang="nb-NO"/>
          </a:p>
        </p:txBody>
      </p:sp>
      <p:pic>
        <p:nvPicPr>
          <p:cNvPr id="122" name="Graphic 121" descr="Label with solid fill">
            <a:extLst>
              <a:ext uri="{FF2B5EF4-FFF2-40B4-BE49-F238E27FC236}">
                <a16:creationId xmlns:a16="http://schemas.microsoft.com/office/drawing/2014/main" id="{265EA163-75B5-418B-A8D1-0BC40BB752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26020" y="5392412"/>
            <a:ext cx="610338" cy="610338"/>
          </a:xfrm>
          <a:prstGeom prst="rect">
            <a:avLst/>
          </a:prstGeom>
        </p:spPr>
      </p:pic>
      <p:pic>
        <p:nvPicPr>
          <p:cNvPr id="146" name="Graphic 145" descr="Blockchain with solid fill">
            <a:extLst>
              <a:ext uri="{FF2B5EF4-FFF2-40B4-BE49-F238E27FC236}">
                <a16:creationId xmlns:a16="http://schemas.microsoft.com/office/drawing/2014/main" id="{2D57AD4C-A153-44E3-89F5-E4AF840186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04360" y="3926049"/>
            <a:ext cx="610338" cy="610338"/>
          </a:xfrm>
          <a:prstGeom prst="rect">
            <a:avLst/>
          </a:prstGeom>
        </p:spPr>
      </p:pic>
      <p:pic>
        <p:nvPicPr>
          <p:cNvPr id="148" name="Graphic 147" descr="Drawing compass with solid fill">
            <a:extLst>
              <a:ext uri="{FF2B5EF4-FFF2-40B4-BE49-F238E27FC236}">
                <a16:creationId xmlns:a16="http://schemas.microsoft.com/office/drawing/2014/main" id="{94A47B4E-A779-4279-936A-AFD045537C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21844" y="2253212"/>
            <a:ext cx="610338" cy="610338"/>
          </a:xfrm>
          <a:prstGeom prst="rect">
            <a:avLst/>
          </a:prstGeom>
        </p:spPr>
      </p:pic>
      <p:pic>
        <p:nvPicPr>
          <p:cNvPr id="150" name="Graphic 149" descr="Board Of Directors with solid fill">
            <a:extLst>
              <a:ext uri="{FF2B5EF4-FFF2-40B4-BE49-F238E27FC236}">
                <a16:creationId xmlns:a16="http://schemas.microsoft.com/office/drawing/2014/main" id="{FFD7AD13-770B-43E5-8B7E-907AA0BAA96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74739" y="1462162"/>
            <a:ext cx="610338" cy="610338"/>
          </a:xfrm>
          <a:prstGeom prst="rect">
            <a:avLst/>
          </a:prstGeom>
        </p:spPr>
      </p:pic>
      <p:pic>
        <p:nvPicPr>
          <p:cNvPr id="154" name="Graphic 153" descr="Folder Search with solid fill">
            <a:extLst>
              <a:ext uri="{FF2B5EF4-FFF2-40B4-BE49-F238E27FC236}">
                <a16:creationId xmlns:a16="http://schemas.microsoft.com/office/drawing/2014/main" id="{C359D303-3C1A-4207-AA46-BF1CF727666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07493" y="5341152"/>
            <a:ext cx="599452" cy="599452"/>
          </a:xfrm>
          <a:prstGeom prst="rect">
            <a:avLst/>
          </a:prstGeom>
        </p:spPr>
      </p:pic>
      <p:sp>
        <p:nvSpPr>
          <p:cNvPr id="52" name="Text Placeholder 2">
            <a:extLst>
              <a:ext uri="{FF2B5EF4-FFF2-40B4-BE49-F238E27FC236}">
                <a16:creationId xmlns:a16="http://schemas.microsoft.com/office/drawing/2014/main" id="{AA4A6385-DEB8-4F1E-B148-26F78DB92D6F}"/>
              </a:ext>
            </a:extLst>
          </p:cNvPr>
          <p:cNvSpPr txBox="1">
            <a:spLocks/>
          </p:cNvSpPr>
          <p:nvPr/>
        </p:nvSpPr>
        <p:spPr>
          <a:xfrm>
            <a:off x="5207219" y="3496493"/>
            <a:ext cx="1833445" cy="74104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nb-NO" sz="1800"/>
              <a:t>DATA GOVERNANCE</a:t>
            </a:r>
          </a:p>
          <a:p>
            <a:pPr algn="ctr"/>
            <a:endParaRPr lang="nb-NO" sz="1800"/>
          </a:p>
        </p:txBody>
      </p:sp>
      <p:sp>
        <p:nvSpPr>
          <p:cNvPr id="53" name="Oval 52">
            <a:extLst>
              <a:ext uri="{FF2B5EF4-FFF2-40B4-BE49-F238E27FC236}">
                <a16:creationId xmlns:a16="http://schemas.microsoft.com/office/drawing/2014/main" id="{38B395AC-9DFA-4379-B632-AD1CAF7715C6}"/>
              </a:ext>
            </a:extLst>
          </p:cNvPr>
          <p:cNvSpPr/>
          <p:nvPr/>
        </p:nvSpPr>
        <p:spPr bwMode="auto">
          <a:xfrm>
            <a:off x="3654119" y="2979747"/>
            <a:ext cx="788999" cy="756311"/>
          </a:xfrm>
          <a:prstGeom prst="ellipse">
            <a:avLst/>
          </a:prstGeom>
          <a:solidFill>
            <a:schemeClr val="tx2">
              <a:lumMod val="90000"/>
              <a:lumOff val="10000"/>
            </a:schemeClr>
          </a:solidFill>
          <a:ln w="76200" cap="flat" cmpd="sng" algn="ctr">
            <a:solidFill>
              <a:srgbClr val="FFDA8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4" name="Oval 53">
            <a:extLst>
              <a:ext uri="{FF2B5EF4-FFF2-40B4-BE49-F238E27FC236}">
                <a16:creationId xmlns:a16="http://schemas.microsoft.com/office/drawing/2014/main" id="{9336BEEE-AA0C-4285-B362-D5EA297899C7}"/>
              </a:ext>
            </a:extLst>
          </p:cNvPr>
          <p:cNvSpPr/>
          <p:nvPr/>
        </p:nvSpPr>
        <p:spPr bwMode="auto">
          <a:xfrm>
            <a:off x="4017432" y="4706680"/>
            <a:ext cx="788999" cy="756311"/>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5" name="Oval 54">
            <a:extLst>
              <a:ext uri="{FF2B5EF4-FFF2-40B4-BE49-F238E27FC236}">
                <a16:creationId xmlns:a16="http://schemas.microsoft.com/office/drawing/2014/main" id="{82237457-7B31-46BC-9B3F-9AB50A205A89}"/>
              </a:ext>
            </a:extLst>
          </p:cNvPr>
          <p:cNvSpPr/>
          <p:nvPr/>
        </p:nvSpPr>
        <p:spPr bwMode="auto">
          <a:xfrm>
            <a:off x="5708323" y="5416815"/>
            <a:ext cx="788999" cy="756311"/>
          </a:xfrm>
          <a:prstGeom prst="ellipse">
            <a:avLst/>
          </a:prstGeom>
          <a:solidFill>
            <a:schemeClr val="accent2">
              <a:lumMod val="50000"/>
            </a:schemeClr>
          </a:solidFill>
          <a:ln w="76200" cap="flat" cmpd="sng" algn="ctr">
            <a:solidFill>
              <a:srgbClr val="FFDA8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6" name="Oval 55">
            <a:extLst>
              <a:ext uri="{FF2B5EF4-FFF2-40B4-BE49-F238E27FC236}">
                <a16:creationId xmlns:a16="http://schemas.microsoft.com/office/drawing/2014/main" id="{1C6F6ABF-20BA-4864-B7E1-F795B4E02870}"/>
              </a:ext>
            </a:extLst>
          </p:cNvPr>
          <p:cNvSpPr/>
          <p:nvPr/>
        </p:nvSpPr>
        <p:spPr bwMode="auto">
          <a:xfrm>
            <a:off x="7408141" y="4689446"/>
            <a:ext cx="788999" cy="756311"/>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7" name="Oval 56">
            <a:extLst>
              <a:ext uri="{FF2B5EF4-FFF2-40B4-BE49-F238E27FC236}">
                <a16:creationId xmlns:a16="http://schemas.microsoft.com/office/drawing/2014/main" id="{75A6203A-1162-4F2E-AA32-B99878C96E21}"/>
              </a:ext>
            </a:extLst>
          </p:cNvPr>
          <p:cNvSpPr/>
          <p:nvPr/>
        </p:nvSpPr>
        <p:spPr bwMode="auto">
          <a:xfrm>
            <a:off x="7786874" y="3002401"/>
            <a:ext cx="788999" cy="756311"/>
          </a:xfrm>
          <a:prstGeom prst="ellipse">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8" name="Oval 57">
            <a:extLst>
              <a:ext uri="{FF2B5EF4-FFF2-40B4-BE49-F238E27FC236}">
                <a16:creationId xmlns:a16="http://schemas.microsoft.com/office/drawing/2014/main" id="{3EF13A74-153B-4109-A0BC-6B4379768288}"/>
              </a:ext>
            </a:extLst>
          </p:cNvPr>
          <p:cNvSpPr/>
          <p:nvPr/>
        </p:nvSpPr>
        <p:spPr bwMode="auto">
          <a:xfrm>
            <a:off x="6706840" y="1567136"/>
            <a:ext cx="788999" cy="756311"/>
          </a:xfrm>
          <a:prstGeom prst="ellipse">
            <a:avLst/>
          </a:prstGeom>
          <a:solidFill>
            <a:schemeClr val="accent2">
              <a:lumMod val="60000"/>
              <a:lumOff val="40000"/>
            </a:schemeClr>
          </a:solidFill>
          <a:ln w="76200" cap="flat" cmpd="sng" algn="ctr">
            <a:solidFill>
              <a:srgbClr val="FFDA8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9" name="Oval 58">
            <a:extLst>
              <a:ext uri="{FF2B5EF4-FFF2-40B4-BE49-F238E27FC236}">
                <a16:creationId xmlns:a16="http://schemas.microsoft.com/office/drawing/2014/main" id="{692517F4-9C03-4CF6-ACE3-91979496ED93}"/>
              </a:ext>
            </a:extLst>
          </p:cNvPr>
          <p:cNvSpPr/>
          <p:nvPr/>
        </p:nvSpPr>
        <p:spPr bwMode="auto">
          <a:xfrm>
            <a:off x="4781994" y="1543964"/>
            <a:ext cx="788999" cy="756311"/>
          </a:xfrm>
          <a:prstGeom prst="ellipse">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60" name="TextBox 59">
            <a:extLst>
              <a:ext uri="{FF2B5EF4-FFF2-40B4-BE49-F238E27FC236}">
                <a16:creationId xmlns:a16="http://schemas.microsoft.com/office/drawing/2014/main" id="{BDBC6530-A1BF-44B4-91F4-EBF9CDF59D28}"/>
              </a:ext>
            </a:extLst>
          </p:cNvPr>
          <p:cNvSpPr txBox="1"/>
          <p:nvPr/>
        </p:nvSpPr>
        <p:spPr>
          <a:xfrm>
            <a:off x="5356621" y="6141264"/>
            <a:ext cx="2085995" cy="646331"/>
          </a:xfrm>
          <a:prstGeom prst="rect">
            <a:avLst/>
          </a:prstGeom>
          <a:noFill/>
        </p:spPr>
        <p:txBody>
          <a:bodyPr wrap="square" rtlCol="0">
            <a:spAutoFit/>
          </a:bodyPr>
          <a:lstStyle/>
          <a:p>
            <a:r>
              <a:rPr lang="nb-NO" b="1"/>
              <a:t>Data Catalog</a:t>
            </a:r>
          </a:p>
          <a:p>
            <a:endParaRPr lang="nb-NO" b="1"/>
          </a:p>
        </p:txBody>
      </p:sp>
      <p:sp>
        <p:nvSpPr>
          <p:cNvPr id="61" name="TextBox 60">
            <a:extLst>
              <a:ext uri="{FF2B5EF4-FFF2-40B4-BE49-F238E27FC236}">
                <a16:creationId xmlns:a16="http://schemas.microsoft.com/office/drawing/2014/main" id="{5A4FD6D8-ED8C-4FF1-B05B-43412BDCBB74}"/>
              </a:ext>
            </a:extLst>
          </p:cNvPr>
          <p:cNvSpPr txBox="1"/>
          <p:nvPr/>
        </p:nvSpPr>
        <p:spPr>
          <a:xfrm>
            <a:off x="7415504" y="1434527"/>
            <a:ext cx="2268252" cy="369332"/>
          </a:xfrm>
          <a:prstGeom prst="rect">
            <a:avLst/>
          </a:prstGeom>
          <a:noFill/>
        </p:spPr>
        <p:txBody>
          <a:bodyPr wrap="square" rtlCol="0">
            <a:spAutoFit/>
          </a:bodyPr>
          <a:lstStyle/>
          <a:p>
            <a:r>
              <a:rPr lang="nb-NO" b="1"/>
              <a:t>Business </a:t>
            </a:r>
            <a:r>
              <a:rPr lang="nb-NO" b="1" err="1"/>
              <a:t>Glossary</a:t>
            </a:r>
            <a:endParaRPr lang="nb-NO" b="1"/>
          </a:p>
        </p:txBody>
      </p:sp>
      <p:sp>
        <p:nvSpPr>
          <p:cNvPr id="62" name="TextBox 61">
            <a:extLst>
              <a:ext uri="{FF2B5EF4-FFF2-40B4-BE49-F238E27FC236}">
                <a16:creationId xmlns:a16="http://schemas.microsoft.com/office/drawing/2014/main" id="{4C211ACA-D01C-4A8E-9DC3-1AC40D28EA81}"/>
              </a:ext>
            </a:extLst>
          </p:cNvPr>
          <p:cNvSpPr txBox="1"/>
          <p:nvPr/>
        </p:nvSpPr>
        <p:spPr>
          <a:xfrm>
            <a:off x="2072524" y="3185459"/>
            <a:ext cx="1860790" cy="369332"/>
          </a:xfrm>
          <a:prstGeom prst="rect">
            <a:avLst/>
          </a:prstGeom>
          <a:noFill/>
        </p:spPr>
        <p:txBody>
          <a:bodyPr wrap="square" rtlCol="0">
            <a:spAutoFit/>
          </a:bodyPr>
          <a:lstStyle/>
          <a:p>
            <a:r>
              <a:rPr lang="nb-NO" b="1"/>
              <a:t>Data </a:t>
            </a:r>
            <a:r>
              <a:rPr lang="nb-NO" b="1" err="1"/>
              <a:t>Lineage</a:t>
            </a:r>
            <a:endParaRPr lang="nb-NO" b="1"/>
          </a:p>
        </p:txBody>
      </p:sp>
      <p:pic>
        <p:nvPicPr>
          <p:cNvPr id="63" name="Graphic 62" descr="Books with solid fill">
            <a:extLst>
              <a:ext uri="{FF2B5EF4-FFF2-40B4-BE49-F238E27FC236}">
                <a16:creationId xmlns:a16="http://schemas.microsoft.com/office/drawing/2014/main" id="{E760C45F-EDCC-47C2-956A-A32EF530E96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63453" y="5559690"/>
            <a:ext cx="496944" cy="496944"/>
          </a:xfrm>
          <a:prstGeom prst="rect">
            <a:avLst/>
          </a:prstGeom>
        </p:spPr>
      </p:pic>
      <p:pic>
        <p:nvPicPr>
          <p:cNvPr id="64" name="Graphic 63" descr="Cause And Effect with solid fill">
            <a:extLst>
              <a:ext uri="{FF2B5EF4-FFF2-40B4-BE49-F238E27FC236}">
                <a16:creationId xmlns:a16="http://schemas.microsoft.com/office/drawing/2014/main" id="{8BD94A63-31D7-4134-B216-17325DD75B2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732713" y="3102718"/>
            <a:ext cx="610338" cy="610338"/>
          </a:xfrm>
          <a:prstGeom prst="rect">
            <a:avLst/>
          </a:prstGeom>
        </p:spPr>
      </p:pic>
      <p:pic>
        <p:nvPicPr>
          <p:cNvPr id="65" name="Graphic 64" descr="Calligraphy Pen with solid fill">
            <a:extLst>
              <a:ext uri="{FF2B5EF4-FFF2-40B4-BE49-F238E27FC236}">
                <a16:creationId xmlns:a16="http://schemas.microsoft.com/office/drawing/2014/main" id="{323F2383-9340-4A16-AA21-077FE7F73EE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851123" y="1691941"/>
            <a:ext cx="457826" cy="457826"/>
          </a:xfrm>
          <a:prstGeom prst="rect">
            <a:avLst/>
          </a:prstGeom>
        </p:spPr>
      </p:pic>
      <p:pic>
        <p:nvPicPr>
          <p:cNvPr id="27" name="Graphic 26" descr="Continuous Improvement with solid fill">
            <a:extLst>
              <a:ext uri="{FF2B5EF4-FFF2-40B4-BE49-F238E27FC236}">
                <a16:creationId xmlns:a16="http://schemas.microsoft.com/office/drawing/2014/main" id="{5D9F01D5-28FC-4430-85D3-B3ECF73F182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516585" y="4777023"/>
            <a:ext cx="607200" cy="607200"/>
          </a:xfrm>
          <a:prstGeom prst="rect">
            <a:avLst/>
          </a:prstGeom>
        </p:spPr>
      </p:pic>
      <p:pic>
        <p:nvPicPr>
          <p:cNvPr id="29" name="Graphic 28" descr="Box with solid fill">
            <a:extLst>
              <a:ext uri="{FF2B5EF4-FFF2-40B4-BE49-F238E27FC236}">
                <a16:creationId xmlns:a16="http://schemas.microsoft.com/office/drawing/2014/main" id="{ABCAB84B-8C5B-41C4-8998-D78C04A7849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877773" y="3068350"/>
            <a:ext cx="607200" cy="607200"/>
          </a:xfrm>
          <a:prstGeom prst="rect">
            <a:avLst/>
          </a:prstGeom>
        </p:spPr>
      </p:pic>
      <p:pic>
        <p:nvPicPr>
          <p:cNvPr id="71" name="Graphic 70" descr="Checklist">
            <a:extLst>
              <a:ext uri="{FF2B5EF4-FFF2-40B4-BE49-F238E27FC236}">
                <a16:creationId xmlns:a16="http://schemas.microsoft.com/office/drawing/2014/main" id="{D2C5906F-67CD-49B5-8236-2CF6981D6B0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129391" y="4826464"/>
            <a:ext cx="533460" cy="533460"/>
          </a:xfrm>
          <a:prstGeom prst="rect">
            <a:avLst/>
          </a:prstGeom>
        </p:spPr>
      </p:pic>
      <p:pic>
        <p:nvPicPr>
          <p:cNvPr id="72" name="Graphic 71" descr="Target Audience">
            <a:extLst>
              <a:ext uri="{FF2B5EF4-FFF2-40B4-BE49-F238E27FC236}">
                <a16:creationId xmlns:a16="http://schemas.microsoft.com/office/drawing/2014/main" id="{0EE8E924-26F2-4A78-AC82-07D7BE4922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868965" y="1617389"/>
            <a:ext cx="583297" cy="583297"/>
          </a:xfrm>
          <a:prstGeom prst="rect">
            <a:avLst/>
          </a:prstGeom>
        </p:spPr>
      </p:pic>
      <p:sp>
        <p:nvSpPr>
          <p:cNvPr id="73" name="TextBox 72">
            <a:extLst>
              <a:ext uri="{FF2B5EF4-FFF2-40B4-BE49-F238E27FC236}">
                <a16:creationId xmlns:a16="http://schemas.microsoft.com/office/drawing/2014/main" id="{5BF1D4E2-7215-43BD-B974-46C405A86C65}"/>
              </a:ext>
            </a:extLst>
          </p:cNvPr>
          <p:cNvSpPr txBox="1"/>
          <p:nvPr/>
        </p:nvSpPr>
        <p:spPr>
          <a:xfrm>
            <a:off x="8713821" y="3185459"/>
            <a:ext cx="3024336" cy="369332"/>
          </a:xfrm>
          <a:prstGeom prst="rect">
            <a:avLst/>
          </a:prstGeom>
          <a:noFill/>
        </p:spPr>
        <p:txBody>
          <a:bodyPr wrap="square" rtlCol="0">
            <a:spAutoFit/>
          </a:bodyPr>
          <a:lstStyle/>
          <a:p>
            <a:r>
              <a:rPr lang="nb-NO"/>
              <a:t>Data Storage</a:t>
            </a:r>
          </a:p>
        </p:txBody>
      </p:sp>
      <p:sp>
        <p:nvSpPr>
          <p:cNvPr id="74" name="TextBox 73">
            <a:extLst>
              <a:ext uri="{FF2B5EF4-FFF2-40B4-BE49-F238E27FC236}">
                <a16:creationId xmlns:a16="http://schemas.microsoft.com/office/drawing/2014/main" id="{4B9D27CA-68F1-4C52-AB63-15D5F6714E22}"/>
              </a:ext>
            </a:extLst>
          </p:cNvPr>
          <p:cNvSpPr txBox="1"/>
          <p:nvPr/>
        </p:nvSpPr>
        <p:spPr>
          <a:xfrm>
            <a:off x="8268923" y="4971820"/>
            <a:ext cx="3024336" cy="369332"/>
          </a:xfrm>
          <a:prstGeom prst="rect">
            <a:avLst/>
          </a:prstGeom>
          <a:noFill/>
        </p:spPr>
        <p:txBody>
          <a:bodyPr wrap="square" rtlCol="0">
            <a:spAutoFit/>
          </a:bodyPr>
          <a:lstStyle/>
          <a:p>
            <a:r>
              <a:rPr lang="nb-NO" err="1"/>
              <a:t>Processes</a:t>
            </a:r>
            <a:endParaRPr lang="nb-NO"/>
          </a:p>
        </p:txBody>
      </p:sp>
      <p:sp>
        <p:nvSpPr>
          <p:cNvPr id="75" name="TextBox 74">
            <a:extLst>
              <a:ext uri="{FF2B5EF4-FFF2-40B4-BE49-F238E27FC236}">
                <a16:creationId xmlns:a16="http://schemas.microsoft.com/office/drawing/2014/main" id="{0545D77D-F10C-4930-8BE5-0E83A9280A5D}"/>
              </a:ext>
            </a:extLst>
          </p:cNvPr>
          <p:cNvSpPr txBox="1"/>
          <p:nvPr/>
        </p:nvSpPr>
        <p:spPr>
          <a:xfrm>
            <a:off x="2661207" y="5026615"/>
            <a:ext cx="3024336" cy="369332"/>
          </a:xfrm>
          <a:prstGeom prst="rect">
            <a:avLst/>
          </a:prstGeom>
          <a:noFill/>
        </p:spPr>
        <p:txBody>
          <a:bodyPr wrap="square" rtlCol="0">
            <a:spAutoFit/>
          </a:bodyPr>
          <a:lstStyle/>
          <a:p>
            <a:r>
              <a:rPr lang="nb-NO" err="1"/>
              <a:t>Policies</a:t>
            </a:r>
            <a:endParaRPr lang="nb-NO"/>
          </a:p>
        </p:txBody>
      </p:sp>
      <p:sp>
        <p:nvSpPr>
          <p:cNvPr id="76" name="TextBox 75">
            <a:extLst>
              <a:ext uri="{FF2B5EF4-FFF2-40B4-BE49-F238E27FC236}">
                <a16:creationId xmlns:a16="http://schemas.microsoft.com/office/drawing/2014/main" id="{96025B90-1E78-46AA-BCCB-D63CDFB3A2F3}"/>
              </a:ext>
            </a:extLst>
          </p:cNvPr>
          <p:cNvSpPr txBox="1"/>
          <p:nvPr/>
        </p:nvSpPr>
        <p:spPr>
          <a:xfrm>
            <a:off x="3929065" y="1392347"/>
            <a:ext cx="3024336" cy="369332"/>
          </a:xfrm>
          <a:prstGeom prst="rect">
            <a:avLst/>
          </a:prstGeom>
          <a:noFill/>
        </p:spPr>
        <p:txBody>
          <a:bodyPr wrap="square" rtlCol="0">
            <a:spAutoFit/>
          </a:bodyPr>
          <a:lstStyle/>
          <a:p>
            <a:r>
              <a:rPr lang="nb-NO" err="1"/>
              <a:t>Roles</a:t>
            </a:r>
            <a:endParaRPr lang="nb-NO"/>
          </a:p>
        </p:txBody>
      </p:sp>
      <p:pic>
        <p:nvPicPr>
          <p:cNvPr id="66" name="Graphic 65" descr="Police female outline">
            <a:extLst>
              <a:ext uri="{FF2B5EF4-FFF2-40B4-BE49-F238E27FC236}">
                <a16:creationId xmlns:a16="http://schemas.microsoft.com/office/drawing/2014/main" id="{36E71441-A45C-4211-A4F2-D416A31B4230}"/>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931437" y="4025305"/>
            <a:ext cx="517537" cy="517537"/>
          </a:xfrm>
          <a:prstGeom prst="rect">
            <a:avLst/>
          </a:prstGeom>
        </p:spPr>
      </p:pic>
    </p:spTree>
    <p:extLst>
      <p:ext uri="{BB962C8B-B14F-4D97-AF65-F5344CB8AC3E}">
        <p14:creationId xmlns:p14="http://schemas.microsoft.com/office/powerpoint/2010/main" val="25175436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rgbClr val="272936"/>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B45FA-847C-4E9D-9896-2CF6D7B4AFBB}"/>
              </a:ext>
            </a:extLst>
          </p:cNvPr>
          <p:cNvSpPr>
            <a:spLocks noGrp="1"/>
          </p:cNvSpPr>
          <p:nvPr>
            <p:ph type="body" sz="quarter" idx="10"/>
          </p:nvPr>
        </p:nvSpPr>
        <p:spPr>
          <a:xfrm>
            <a:off x="14016880" y="2754414"/>
            <a:ext cx="4755084" cy="3086532"/>
          </a:xfrm>
        </p:spPr>
        <p:txBody>
          <a:bodyPr>
            <a:normAutofit fontScale="55000" lnSpcReduction="20000"/>
          </a:bodyPr>
          <a:lstStyle/>
          <a:p>
            <a:pPr>
              <a:lnSpc>
                <a:spcPct val="107000"/>
              </a:lnSpc>
              <a:spcAft>
                <a:spcPts val="800"/>
              </a:spcAft>
            </a:pPr>
            <a:r>
              <a:rPr lang="en-US" sz="1800" b="1">
                <a:effectLst/>
                <a:latin typeface="Calibri" panose="020F0502020204030204" pitchFamily="34" charset="0"/>
                <a:ea typeface="Calibri" panose="020F0502020204030204" pitchFamily="34" charset="0"/>
                <a:cs typeface="Times New Roman" panose="02020603050405020304" pitchFamily="18" charset="0"/>
              </a:rPr>
              <a:t>Business Driver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People and processes – </a:t>
            </a:r>
            <a:r>
              <a:rPr lang="en-US" sz="1800" err="1">
                <a:effectLst/>
                <a:latin typeface="Calibri" panose="020F0502020204030204" pitchFamily="34" charset="0"/>
                <a:ea typeface="Calibri" panose="020F0502020204030204" pitchFamily="34" charset="0"/>
                <a:cs typeface="Times New Roman" panose="02020603050405020304" pitchFamily="18" charset="0"/>
              </a:rPr>
              <a:t>viktigst</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Information and knowledge -&gt; key to competitive advantage</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Reliable, high quality data can make better decision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err="1">
                <a:effectLst/>
                <a:latin typeface="Calibri" panose="020F0502020204030204" pitchFamily="34" charset="0"/>
                <a:ea typeface="Calibri" panose="020F0502020204030204" pitchFamily="34" charset="0"/>
                <a:cs typeface="Times New Roman" panose="02020603050405020304" pitchFamily="18" charset="0"/>
              </a:rPr>
              <a:t>Managa</a:t>
            </a:r>
            <a:r>
              <a:rPr lang="en-US" sz="1800">
                <a:effectLst/>
                <a:latin typeface="Calibri" panose="020F0502020204030204" pitchFamily="34" charset="0"/>
                <a:ea typeface="Calibri" panose="020F0502020204030204" pitchFamily="34" charset="0"/>
                <a:cs typeface="Times New Roman" panose="02020603050405020304" pitchFamily="18" charset="0"/>
              </a:rPr>
              <a:t> data = manage capital</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Data is an asset</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b="1">
                <a:effectLst/>
                <a:latin typeface="Calibri" panose="020F0502020204030204" pitchFamily="34" charset="0"/>
                <a:ea typeface="Calibri" panose="020F0502020204030204" pitchFamily="34" charset="0"/>
                <a:cs typeface="Times New Roman" panose="02020603050405020304" pitchFamily="18" charset="0"/>
              </a:rPr>
              <a:t>Goal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Understand ands support information need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Capturing, storing, protecting, ensuring integrity of data asset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Quality</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Privacy</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Prevent unauthorized acces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Data used effectively</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a:solidFill>
                  <a:schemeClr val="bg1"/>
                </a:solidFill>
              </a:rPr>
              <a:t>Data management</a:t>
            </a:r>
          </a:p>
        </p:txBody>
      </p:sp>
      <p:sp>
        <p:nvSpPr>
          <p:cNvPr id="4" name="Rectangle: Rounded Corners 3">
            <a:extLst>
              <a:ext uri="{FF2B5EF4-FFF2-40B4-BE49-F238E27FC236}">
                <a16:creationId xmlns:a16="http://schemas.microsoft.com/office/drawing/2014/main" id="{A5C33EB1-920E-4869-832F-462458231B0E}"/>
              </a:ext>
            </a:extLst>
          </p:cNvPr>
          <p:cNvSpPr/>
          <p:nvPr/>
        </p:nvSpPr>
        <p:spPr>
          <a:xfrm>
            <a:off x="404812" y="1543804"/>
            <a:ext cx="5115124" cy="914065"/>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WHAT?</a:t>
            </a:r>
          </a:p>
          <a:p>
            <a:pPr algn="ctr"/>
            <a:r>
              <a:rPr lang="en-US" sz="1600">
                <a:solidFill>
                  <a:schemeClr val="tx1"/>
                </a:solidFill>
              </a:rPr>
              <a:t>Development, execution and supervision of plans, policies, programs and practices</a:t>
            </a:r>
          </a:p>
        </p:txBody>
      </p:sp>
      <p:sp>
        <p:nvSpPr>
          <p:cNvPr id="5" name="Rectangle: Rounded Corners 4">
            <a:extLst>
              <a:ext uri="{FF2B5EF4-FFF2-40B4-BE49-F238E27FC236}">
                <a16:creationId xmlns:a16="http://schemas.microsoft.com/office/drawing/2014/main" id="{C95832B3-B5AF-4CB2-AEE4-5820693510F3}"/>
              </a:ext>
            </a:extLst>
          </p:cNvPr>
          <p:cNvSpPr/>
          <p:nvPr/>
        </p:nvSpPr>
        <p:spPr>
          <a:xfrm>
            <a:off x="6672064" y="1559702"/>
            <a:ext cx="5115124" cy="898167"/>
          </a:xfrm>
          <a:prstGeom prst="roundRect">
            <a:avLst/>
          </a:prstGeom>
          <a:solidFill>
            <a:srgbClr val="CCE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WHY?</a:t>
            </a:r>
          </a:p>
          <a:p>
            <a:pPr algn="ctr"/>
            <a:r>
              <a:rPr lang="en-US" sz="1600">
                <a:solidFill>
                  <a:schemeClr val="tx1"/>
                </a:solidFill>
              </a:rPr>
              <a:t>Deliver, control, protect, enhance value of data assets</a:t>
            </a:r>
          </a:p>
        </p:txBody>
      </p:sp>
      <p:sp>
        <p:nvSpPr>
          <p:cNvPr id="12" name="Rectangle 11">
            <a:extLst>
              <a:ext uri="{FF2B5EF4-FFF2-40B4-BE49-F238E27FC236}">
                <a16:creationId xmlns:a16="http://schemas.microsoft.com/office/drawing/2014/main" id="{B6ACD560-451D-48AC-996A-73746CCB74AA}"/>
              </a:ext>
            </a:extLst>
          </p:cNvPr>
          <p:cNvSpPr/>
          <p:nvPr/>
        </p:nvSpPr>
        <p:spPr>
          <a:xfrm>
            <a:off x="13080776" y="620688"/>
            <a:ext cx="4032449" cy="164319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err="1"/>
              <a:t>Hva</a:t>
            </a:r>
            <a:r>
              <a:rPr lang="en-US" sz="1600"/>
              <a:t> er det</a:t>
            </a:r>
          </a:p>
          <a:p>
            <a:pPr algn="ctr"/>
            <a:endParaRPr lang="en-US" sz="1600"/>
          </a:p>
          <a:p>
            <a:pPr algn="ctr"/>
            <a:r>
              <a:rPr lang="en-US" sz="1600" err="1"/>
              <a:t>Drivere</a:t>
            </a:r>
            <a:r>
              <a:rPr lang="en-US" sz="1600"/>
              <a:t> </a:t>
            </a:r>
            <a:r>
              <a:rPr lang="en-US" sz="1600" err="1"/>
              <a:t>og</a:t>
            </a:r>
            <a:r>
              <a:rPr lang="en-US" sz="1600"/>
              <a:t> </a:t>
            </a:r>
            <a:r>
              <a:rPr lang="en-US" sz="1600" err="1"/>
              <a:t>mål</a:t>
            </a:r>
            <a:endParaRPr lang="en-US" sz="1600"/>
          </a:p>
          <a:p>
            <a:pPr algn="ctr"/>
            <a:endParaRPr lang="en-US" sz="1600"/>
          </a:p>
          <a:p>
            <a:pPr algn="ctr"/>
            <a:r>
              <a:rPr lang="en-US" sz="1600"/>
              <a:t>Management vs governance</a:t>
            </a:r>
          </a:p>
        </p:txBody>
      </p:sp>
      <p:pic>
        <p:nvPicPr>
          <p:cNvPr id="15" name="Graphic 14" descr="Board Of Directors with solid fill">
            <a:extLst>
              <a:ext uri="{FF2B5EF4-FFF2-40B4-BE49-F238E27FC236}">
                <a16:creationId xmlns:a16="http://schemas.microsoft.com/office/drawing/2014/main" id="{932321BB-9423-42C1-BDFA-86C2139116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63752" y="531543"/>
            <a:ext cx="610338" cy="610338"/>
          </a:xfrm>
          <a:prstGeom prst="rect">
            <a:avLst/>
          </a:prstGeom>
        </p:spPr>
      </p:pic>
      <p:graphicFrame>
        <p:nvGraphicFramePr>
          <p:cNvPr id="8" name="Diagram 7">
            <a:extLst>
              <a:ext uri="{FF2B5EF4-FFF2-40B4-BE49-F238E27FC236}">
                <a16:creationId xmlns:a16="http://schemas.microsoft.com/office/drawing/2014/main" id="{35B137A6-C6AE-4733-B69A-CBFC330D816A}"/>
              </a:ext>
            </a:extLst>
          </p:cNvPr>
          <p:cNvGraphicFramePr/>
          <p:nvPr>
            <p:extLst>
              <p:ext uri="{D42A27DB-BD31-4B8C-83A1-F6EECF244321}">
                <p14:modId xmlns:p14="http://schemas.microsoft.com/office/powerpoint/2010/main" val="3467877248"/>
              </p:ext>
            </p:extLst>
          </p:nvPr>
        </p:nvGraphicFramePr>
        <p:xfrm>
          <a:off x="1002382" y="2754414"/>
          <a:ext cx="3919984" cy="234929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TextBox 9">
            <a:extLst>
              <a:ext uri="{FF2B5EF4-FFF2-40B4-BE49-F238E27FC236}">
                <a16:creationId xmlns:a16="http://schemas.microsoft.com/office/drawing/2014/main" id="{2A6102EE-BBE0-4338-9972-90CE1CF3AF38}"/>
              </a:ext>
            </a:extLst>
          </p:cNvPr>
          <p:cNvSpPr txBox="1"/>
          <p:nvPr/>
        </p:nvSpPr>
        <p:spPr>
          <a:xfrm>
            <a:off x="5087888" y="3605894"/>
            <a:ext cx="3353803" cy="646331"/>
          </a:xfrm>
          <a:prstGeom prst="rect">
            <a:avLst/>
          </a:prstGeom>
          <a:noFill/>
        </p:spPr>
        <p:txBody>
          <a:bodyPr wrap="none" rtlCol="0">
            <a:spAutoFit/>
          </a:bodyPr>
          <a:lstStyle/>
          <a:p>
            <a:r>
              <a:rPr lang="en-US" dirty="0">
                <a:solidFill>
                  <a:schemeClr val="bg1"/>
                </a:solidFill>
              </a:rPr>
              <a:t>Part of Data Governance</a:t>
            </a:r>
          </a:p>
          <a:p>
            <a:r>
              <a:rPr lang="en-US" dirty="0">
                <a:solidFill>
                  <a:schemeClr val="bg1"/>
                </a:solidFill>
              </a:rPr>
              <a:t>Execution of Data Governance</a:t>
            </a:r>
          </a:p>
        </p:txBody>
      </p:sp>
    </p:spTree>
    <p:extLst>
      <p:ext uri="{BB962C8B-B14F-4D97-AF65-F5344CB8AC3E}">
        <p14:creationId xmlns:p14="http://schemas.microsoft.com/office/powerpoint/2010/main" val="11260142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Graphic spid="8" grpId="0">
        <p:bldAsOne/>
      </p:bldGraphic>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7" name="Isosceles Triangle 6">
            <a:extLst>
              <a:ext uri="{FF2B5EF4-FFF2-40B4-BE49-F238E27FC236}">
                <a16:creationId xmlns:a16="http://schemas.microsoft.com/office/drawing/2014/main" id="{FD0FE68F-3F7A-41B9-9D76-0B5E61F2FAA6}"/>
              </a:ext>
            </a:extLst>
          </p:cNvPr>
          <p:cNvSpPr/>
          <p:nvPr/>
        </p:nvSpPr>
        <p:spPr>
          <a:xfrm rot="5400000">
            <a:off x="7709208" y="1762967"/>
            <a:ext cx="2834608" cy="5321351"/>
          </a:xfrm>
          <a:prstGeom prst="triangle">
            <a:avLst/>
          </a:prstGeom>
          <a:solidFill>
            <a:schemeClr val="bg1">
              <a:alpha val="3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ext Placeholder 1">
            <a:extLst>
              <a:ext uri="{FF2B5EF4-FFF2-40B4-BE49-F238E27FC236}">
                <a16:creationId xmlns:a16="http://schemas.microsoft.com/office/drawing/2014/main" id="{563B45FA-847C-4E9D-9896-2CF6D7B4AFBB}"/>
              </a:ext>
            </a:extLst>
          </p:cNvPr>
          <p:cNvSpPr>
            <a:spLocks noGrp="1"/>
          </p:cNvSpPr>
          <p:nvPr>
            <p:ph type="body" sz="quarter" idx="10"/>
          </p:nvPr>
        </p:nvSpPr>
        <p:spPr>
          <a:xfrm>
            <a:off x="14016880" y="2754414"/>
            <a:ext cx="4755084" cy="3086532"/>
          </a:xfrm>
        </p:spPr>
        <p:txBody>
          <a:bodyPr>
            <a:normAutofit fontScale="55000" lnSpcReduction="20000"/>
          </a:bodyPr>
          <a:lstStyle/>
          <a:p>
            <a:pPr>
              <a:lnSpc>
                <a:spcPct val="107000"/>
              </a:lnSpc>
              <a:spcAft>
                <a:spcPts val="800"/>
              </a:spcAft>
            </a:pPr>
            <a:r>
              <a:rPr lang="en-US" sz="1800" b="1">
                <a:effectLst/>
                <a:latin typeface="Calibri" panose="020F0502020204030204" pitchFamily="34" charset="0"/>
                <a:ea typeface="Calibri" panose="020F0502020204030204" pitchFamily="34" charset="0"/>
                <a:cs typeface="Times New Roman" panose="02020603050405020304" pitchFamily="18" charset="0"/>
              </a:rPr>
              <a:t>Business Driver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People and processes – </a:t>
            </a:r>
            <a:r>
              <a:rPr lang="en-US" sz="1800" err="1">
                <a:effectLst/>
                <a:latin typeface="Calibri" panose="020F0502020204030204" pitchFamily="34" charset="0"/>
                <a:ea typeface="Calibri" panose="020F0502020204030204" pitchFamily="34" charset="0"/>
                <a:cs typeface="Times New Roman" panose="02020603050405020304" pitchFamily="18" charset="0"/>
              </a:rPr>
              <a:t>viktigst</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Information and knowledge -&gt; key to competitive advantage</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Reliable, high quality data can make better decision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err="1">
                <a:effectLst/>
                <a:latin typeface="Calibri" panose="020F0502020204030204" pitchFamily="34" charset="0"/>
                <a:ea typeface="Calibri" panose="020F0502020204030204" pitchFamily="34" charset="0"/>
                <a:cs typeface="Times New Roman" panose="02020603050405020304" pitchFamily="18" charset="0"/>
              </a:rPr>
              <a:t>Managa</a:t>
            </a:r>
            <a:r>
              <a:rPr lang="en-US" sz="1800">
                <a:effectLst/>
                <a:latin typeface="Calibri" panose="020F0502020204030204" pitchFamily="34" charset="0"/>
                <a:ea typeface="Calibri" panose="020F0502020204030204" pitchFamily="34" charset="0"/>
                <a:cs typeface="Times New Roman" panose="02020603050405020304" pitchFamily="18" charset="0"/>
              </a:rPr>
              <a:t> data = manage capital</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Data is an asset</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b="1">
                <a:effectLst/>
                <a:latin typeface="Calibri" panose="020F0502020204030204" pitchFamily="34" charset="0"/>
                <a:ea typeface="Calibri" panose="020F0502020204030204" pitchFamily="34" charset="0"/>
                <a:cs typeface="Times New Roman" panose="02020603050405020304" pitchFamily="18" charset="0"/>
              </a:rPr>
              <a:t>Goal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Understand ands support information need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Capturing, storing, protecting, ensuring integrity of data asset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Quality</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Privacy</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Prevent unauthorized access</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Data used effectively</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a:solidFill>
                  <a:schemeClr val="bg1"/>
                </a:solidFill>
              </a:rPr>
              <a:t>Data management</a:t>
            </a:r>
          </a:p>
        </p:txBody>
      </p:sp>
      <p:sp>
        <p:nvSpPr>
          <p:cNvPr id="4" name="Rectangle: Rounded Corners 3">
            <a:extLst>
              <a:ext uri="{FF2B5EF4-FFF2-40B4-BE49-F238E27FC236}">
                <a16:creationId xmlns:a16="http://schemas.microsoft.com/office/drawing/2014/main" id="{A5C33EB1-920E-4869-832F-462458231B0E}"/>
              </a:ext>
            </a:extLst>
          </p:cNvPr>
          <p:cNvSpPr/>
          <p:nvPr/>
        </p:nvSpPr>
        <p:spPr>
          <a:xfrm>
            <a:off x="404812" y="1543804"/>
            <a:ext cx="5115124" cy="914065"/>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WHAT?</a:t>
            </a:r>
          </a:p>
          <a:p>
            <a:pPr algn="ctr"/>
            <a:r>
              <a:rPr lang="en-US" sz="1600">
                <a:solidFill>
                  <a:schemeClr val="tx1"/>
                </a:solidFill>
              </a:rPr>
              <a:t>Development, execution and supervision of plans, policies, programs and practices</a:t>
            </a:r>
          </a:p>
        </p:txBody>
      </p:sp>
      <p:sp>
        <p:nvSpPr>
          <p:cNvPr id="5" name="Rectangle: Rounded Corners 4">
            <a:extLst>
              <a:ext uri="{FF2B5EF4-FFF2-40B4-BE49-F238E27FC236}">
                <a16:creationId xmlns:a16="http://schemas.microsoft.com/office/drawing/2014/main" id="{C95832B3-B5AF-4CB2-AEE4-5820693510F3}"/>
              </a:ext>
            </a:extLst>
          </p:cNvPr>
          <p:cNvSpPr/>
          <p:nvPr/>
        </p:nvSpPr>
        <p:spPr>
          <a:xfrm>
            <a:off x="6672064" y="1559702"/>
            <a:ext cx="5115124" cy="898167"/>
          </a:xfrm>
          <a:prstGeom prst="roundRect">
            <a:avLst/>
          </a:prstGeom>
          <a:solidFill>
            <a:srgbClr val="CCE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WHY?</a:t>
            </a:r>
          </a:p>
          <a:p>
            <a:pPr algn="ctr"/>
            <a:r>
              <a:rPr lang="en-US" sz="1600">
                <a:solidFill>
                  <a:schemeClr val="tx1"/>
                </a:solidFill>
              </a:rPr>
              <a:t>Deliver, control, protect, enhance value of data assets</a:t>
            </a:r>
          </a:p>
        </p:txBody>
      </p:sp>
      <p:sp>
        <p:nvSpPr>
          <p:cNvPr id="12" name="Rectangle 11">
            <a:extLst>
              <a:ext uri="{FF2B5EF4-FFF2-40B4-BE49-F238E27FC236}">
                <a16:creationId xmlns:a16="http://schemas.microsoft.com/office/drawing/2014/main" id="{B6ACD560-451D-48AC-996A-73746CCB74AA}"/>
              </a:ext>
            </a:extLst>
          </p:cNvPr>
          <p:cNvSpPr/>
          <p:nvPr/>
        </p:nvSpPr>
        <p:spPr>
          <a:xfrm>
            <a:off x="13080776" y="620688"/>
            <a:ext cx="4032449" cy="164319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err="1"/>
              <a:t>Hva</a:t>
            </a:r>
            <a:r>
              <a:rPr lang="en-US" sz="1600"/>
              <a:t> er det</a:t>
            </a:r>
          </a:p>
          <a:p>
            <a:pPr algn="ctr"/>
            <a:endParaRPr lang="en-US" sz="1600"/>
          </a:p>
          <a:p>
            <a:pPr algn="ctr"/>
            <a:r>
              <a:rPr lang="en-US" sz="1600" err="1"/>
              <a:t>Drivere</a:t>
            </a:r>
            <a:r>
              <a:rPr lang="en-US" sz="1600"/>
              <a:t> </a:t>
            </a:r>
            <a:r>
              <a:rPr lang="en-US" sz="1600" err="1"/>
              <a:t>og</a:t>
            </a:r>
            <a:r>
              <a:rPr lang="en-US" sz="1600"/>
              <a:t> </a:t>
            </a:r>
            <a:r>
              <a:rPr lang="en-US" sz="1600" err="1"/>
              <a:t>mål</a:t>
            </a:r>
            <a:endParaRPr lang="en-US" sz="1600"/>
          </a:p>
          <a:p>
            <a:pPr algn="ctr"/>
            <a:endParaRPr lang="en-US" sz="1600"/>
          </a:p>
          <a:p>
            <a:pPr algn="ctr"/>
            <a:r>
              <a:rPr lang="en-US" sz="1600"/>
              <a:t>Management vs governance</a:t>
            </a:r>
          </a:p>
        </p:txBody>
      </p:sp>
      <p:pic>
        <p:nvPicPr>
          <p:cNvPr id="15" name="Graphic 14" descr="Board Of Directors with solid fill">
            <a:extLst>
              <a:ext uri="{FF2B5EF4-FFF2-40B4-BE49-F238E27FC236}">
                <a16:creationId xmlns:a16="http://schemas.microsoft.com/office/drawing/2014/main" id="{932321BB-9423-42C1-BDFA-86C2139116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63752" y="531543"/>
            <a:ext cx="610338" cy="610338"/>
          </a:xfrm>
          <a:prstGeom prst="rect">
            <a:avLst/>
          </a:prstGeom>
        </p:spPr>
      </p:pic>
      <p:sp>
        <p:nvSpPr>
          <p:cNvPr id="6" name="Oval 5">
            <a:extLst>
              <a:ext uri="{FF2B5EF4-FFF2-40B4-BE49-F238E27FC236}">
                <a16:creationId xmlns:a16="http://schemas.microsoft.com/office/drawing/2014/main" id="{7E1BE4B5-2D35-4E06-B755-337FCCF53602}"/>
              </a:ext>
            </a:extLst>
          </p:cNvPr>
          <p:cNvSpPr/>
          <p:nvPr/>
        </p:nvSpPr>
        <p:spPr>
          <a:xfrm>
            <a:off x="404660" y="2996952"/>
            <a:ext cx="3353803" cy="3086531"/>
          </a:xfrm>
          <a:prstGeom prst="ellipse">
            <a:avLst/>
          </a:prstGeom>
          <a:solidFill>
            <a:srgbClr val="0070AD">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Data Governance</a:t>
            </a:r>
          </a:p>
        </p:txBody>
      </p:sp>
      <p:sp>
        <p:nvSpPr>
          <p:cNvPr id="11" name="Oval 10">
            <a:extLst>
              <a:ext uri="{FF2B5EF4-FFF2-40B4-BE49-F238E27FC236}">
                <a16:creationId xmlns:a16="http://schemas.microsoft.com/office/drawing/2014/main" id="{E98BDE87-FC29-471D-A813-37CE139D7202}"/>
              </a:ext>
            </a:extLst>
          </p:cNvPr>
          <p:cNvSpPr/>
          <p:nvPr/>
        </p:nvSpPr>
        <p:spPr>
          <a:xfrm>
            <a:off x="1725661" y="4349922"/>
            <a:ext cx="1656184" cy="1601147"/>
          </a:xfrm>
          <a:prstGeom prst="ellipse">
            <a:avLst/>
          </a:prstGeom>
          <a:solidFill>
            <a:srgbClr val="0070AD">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Management</a:t>
            </a:r>
          </a:p>
        </p:txBody>
      </p:sp>
      <p:sp>
        <p:nvSpPr>
          <p:cNvPr id="13" name="Text Placeholder 5">
            <a:extLst>
              <a:ext uri="{FF2B5EF4-FFF2-40B4-BE49-F238E27FC236}">
                <a16:creationId xmlns:a16="http://schemas.microsoft.com/office/drawing/2014/main" id="{573E80C7-8435-44DA-A19A-7E877872AD26}"/>
              </a:ext>
            </a:extLst>
          </p:cNvPr>
          <p:cNvSpPr txBox="1">
            <a:spLocks/>
          </p:cNvSpPr>
          <p:nvPr/>
        </p:nvSpPr>
        <p:spPr>
          <a:xfrm>
            <a:off x="3865213" y="2996952"/>
            <a:ext cx="2600624" cy="2843993"/>
          </a:xfrm>
          <a:prstGeom prst="rect">
            <a:avLst/>
          </a:prstGeom>
          <a:solidFill>
            <a:srgbClr val="88BCD9">
              <a:alpha val="30980"/>
            </a:srgbClr>
          </a:solidFill>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6700" lvl="1" indent="0">
              <a:buNone/>
            </a:pPr>
            <a:r>
              <a:rPr lang="en-US" sz="1600" b="1">
                <a:solidFill>
                  <a:schemeClr val="bg1"/>
                </a:solidFill>
                <a:latin typeface="+mn-lt"/>
              </a:rPr>
              <a:t>Policies</a:t>
            </a:r>
          </a:p>
          <a:p>
            <a:pPr marL="552450" lvl="1" indent="-285750">
              <a:buFont typeface="Arial" panose="020B0604020202020204" pitchFamily="34" charset="0"/>
              <a:buChar char="•"/>
            </a:pPr>
            <a:r>
              <a:rPr lang="en-US" sz="1400">
                <a:solidFill>
                  <a:schemeClr val="bg1"/>
                </a:solidFill>
              </a:rPr>
              <a:t>Processes</a:t>
            </a:r>
            <a:endParaRPr lang="en-US" sz="1400">
              <a:solidFill>
                <a:schemeClr val="bg1"/>
              </a:solidFill>
              <a:latin typeface="+mn-lt"/>
            </a:endParaRPr>
          </a:p>
          <a:p>
            <a:pPr marL="552450" lvl="1" indent="-285750">
              <a:buFont typeface="Arial" panose="020B0604020202020204" pitchFamily="34" charset="0"/>
              <a:buChar char="•"/>
            </a:pPr>
            <a:r>
              <a:rPr lang="en-US" sz="1400">
                <a:solidFill>
                  <a:schemeClr val="bg1"/>
                </a:solidFill>
                <a:latin typeface="+mn-lt"/>
              </a:rPr>
              <a:t>Roles and Responsibilities</a:t>
            </a:r>
          </a:p>
          <a:p>
            <a:pPr marL="266700" lvl="1" indent="0">
              <a:buNone/>
            </a:pPr>
            <a:endParaRPr lang="en-US" sz="1400">
              <a:solidFill>
                <a:schemeClr val="bg1"/>
              </a:solidFill>
              <a:latin typeface="+mn-lt"/>
            </a:endParaRPr>
          </a:p>
        </p:txBody>
      </p:sp>
      <p:sp>
        <p:nvSpPr>
          <p:cNvPr id="14" name="Text Placeholder 9">
            <a:extLst>
              <a:ext uri="{FF2B5EF4-FFF2-40B4-BE49-F238E27FC236}">
                <a16:creationId xmlns:a16="http://schemas.microsoft.com/office/drawing/2014/main" id="{6BC17408-4126-4823-8651-AC6D3515C03A}"/>
              </a:ext>
            </a:extLst>
          </p:cNvPr>
          <p:cNvSpPr txBox="1">
            <a:spLocks/>
          </p:cNvSpPr>
          <p:nvPr/>
        </p:nvSpPr>
        <p:spPr>
          <a:xfrm>
            <a:off x="6525888" y="3006341"/>
            <a:ext cx="2600624" cy="2843993"/>
          </a:xfrm>
          <a:prstGeom prst="rect">
            <a:avLst/>
          </a:prstGeom>
          <a:solidFill>
            <a:srgbClr val="88BCD9">
              <a:alpha val="30980"/>
            </a:srgbClr>
          </a:solidFill>
        </p:spPr>
        <p:txBody>
          <a:bodyPr vert="horz" lIns="0" tIns="0" rIns="0" bIns="0" rtlCol="0" anchor="ctr">
            <a:noAutofit/>
          </a:bodyPr>
          <a:lst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buNone/>
            </a:pPr>
            <a:r>
              <a:rPr lang="en-US" sz="1600" b="1">
                <a:solidFill>
                  <a:schemeClr val="bg1"/>
                </a:solidFill>
                <a:latin typeface="+mn-lt"/>
              </a:rPr>
              <a:t>Processes</a:t>
            </a:r>
          </a:p>
          <a:p>
            <a:pPr marL="552450" lvl="1" indent="-285750">
              <a:buFont typeface="Arial" panose="020B0604020202020204" pitchFamily="34" charset="0"/>
              <a:buChar char="•"/>
            </a:pPr>
            <a:endParaRPr lang="en-US">
              <a:solidFill>
                <a:schemeClr val="bg1"/>
              </a:solidFill>
              <a:latin typeface="+mn-lt"/>
            </a:endParaRPr>
          </a:p>
          <a:p>
            <a:pPr marL="552450" lvl="1" indent="-285750">
              <a:buFont typeface="Arial" panose="020B0604020202020204" pitchFamily="34" charset="0"/>
              <a:buChar char="•"/>
            </a:pPr>
            <a:r>
              <a:rPr lang="en-US">
                <a:solidFill>
                  <a:schemeClr val="bg1"/>
                </a:solidFill>
                <a:latin typeface="+mn-lt"/>
              </a:rPr>
              <a:t>Development</a:t>
            </a:r>
          </a:p>
          <a:p>
            <a:pPr marL="552450" lvl="1" indent="-285750">
              <a:buFont typeface="Arial" panose="020B0604020202020204" pitchFamily="34" charset="0"/>
              <a:buChar char="•"/>
            </a:pPr>
            <a:r>
              <a:rPr lang="en-US">
                <a:solidFill>
                  <a:schemeClr val="bg1"/>
                </a:solidFill>
                <a:latin typeface="+mn-lt"/>
              </a:rPr>
              <a:t>Publishing</a:t>
            </a:r>
          </a:p>
          <a:p>
            <a:pPr marL="552450" lvl="1" indent="-285750">
              <a:buFont typeface="Arial" panose="020B0604020202020204" pitchFamily="34" charset="0"/>
              <a:buChar char="•"/>
            </a:pPr>
            <a:r>
              <a:rPr lang="en-US">
                <a:solidFill>
                  <a:schemeClr val="bg1"/>
                </a:solidFill>
                <a:latin typeface="+mn-lt"/>
              </a:rPr>
              <a:t>Definitions</a:t>
            </a:r>
          </a:p>
          <a:p>
            <a:pPr marL="552450" lvl="1" indent="-285750">
              <a:buFont typeface="Arial" panose="020B0604020202020204" pitchFamily="34" charset="0"/>
              <a:buChar char="•"/>
            </a:pPr>
            <a:r>
              <a:rPr lang="en-US">
                <a:solidFill>
                  <a:schemeClr val="bg1"/>
                </a:solidFill>
                <a:latin typeface="+mn-lt"/>
              </a:rPr>
              <a:t>Security</a:t>
            </a:r>
          </a:p>
          <a:p>
            <a:pPr marL="552450" lvl="1" indent="-285750">
              <a:buFont typeface="Arial" panose="020B0604020202020204" pitchFamily="34" charset="0"/>
              <a:buChar char="•"/>
            </a:pPr>
            <a:r>
              <a:rPr lang="en-US">
                <a:solidFill>
                  <a:schemeClr val="bg1"/>
                </a:solidFill>
                <a:latin typeface="+mn-lt"/>
              </a:rPr>
              <a:t>Data Quality</a:t>
            </a:r>
          </a:p>
        </p:txBody>
      </p:sp>
      <p:sp>
        <p:nvSpPr>
          <p:cNvPr id="16" name="Text Placeholder 9">
            <a:extLst>
              <a:ext uri="{FF2B5EF4-FFF2-40B4-BE49-F238E27FC236}">
                <a16:creationId xmlns:a16="http://schemas.microsoft.com/office/drawing/2014/main" id="{2C4F38A5-66BF-4947-AD04-2A21C02DA650}"/>
              </a:ext>
            </a:extLst>
          </p:cNvPr>
          <p:cNvSpPr txBox="1">
            <a:spLocks/>
          </p:cNvSpPr>
          <p:nvPr/>
        </p:nvSpPr>
        <p:spPr>
          <a:xfrm>
            <a:off x="9186564" y="2996952"/>
            <a:ext cx="2600624" cy="2843993"/>
          </a:xfrm>
          <a:prstGeom prst="rect">
            <a:avLst/>
          </a:prstGeom>
          <a:solidFill>
            <a:srgbClr val="88BCD9">
              <a:alpha val="30980"/>
            </a:srgbClr>
          </a:solidFill>
        </p:spPr>
        <p:txBody>
          <a:bodyPr vert="horz" lIns="0" tIns="0" rIns="0" bIns="0" rtlCol="0" anchor="ctr">
            <a:noAutofit/>
          </a:bodyPr>
          <a:lst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buNone/>
            </a:pPr>
            <a:r>
              <a:rPr lang="en-US" sz="1600" b="1">
                <a:solidFill>
                  <a:schemeClr val="bg1"/>
                </a:solidFill>
                <a:latin typeface="+mn-lt"/>
              </a:rPr>
              <a:t>Roles and Responsibilities</a:t>
            </a:r>
          </a:p>
          <a:p>
            <a:pPr marL="552450" lvl="1" indent="-285750">
              <a:buFont typeface="Arial" panose="020B0604020202020204" pitchFamily="34" charset="0"/>
              <a:buChar char="•"/>
            </a:pPr>
            <a:endParaRPr lang="en-US">
              <a:solidFill>
                <a:schemeClr val="bg1"/>
              </a:solidFill>
              <a:latin typeface="+mn-lt"/>
            </a:endParaRPr>
          </a:p>
          <a:p>
            <a:pPr marL="552450" lvl="1" indent="-285750">
              <a:buFont typeface="Arial" panose="020B0604020202020204" pitchFamily="34" charset="0"/>
              <a:buChar char="•"/>
            </a:pPr>
            <a:r>
              <a:rPr lang="en-US">
                <a:solidFill>
                  <a:schemeClr val="bg1"/>
                </a:solidFill>
                <a:latin typeface="+mn-lt"/>
              </a:rPr>
              <a:t>Who owns the data?</a:t>
            </a:r>
          </a:p>
          <a:p>
            <a:pPr marL="552450" lvl="1" indent="-285750">
              <a:buFont typeface="Arial" panose="020B0604020202020204" pitchFamily="34" charset="0"/>
              <a:buChar char="•"/>
            </a:pPr>
            <a:r>
              <a:rPr lang="en-US">
                <a:solidFill>
                  <a:schemeClr val="bg1"/>
                </a:solidFill>
                <a:latin typeface="+mn-lt"/>
              </a:rPr>
              <a:t>Who are responsible for the framework?</a:t>
            </a:r>
          </a:p>
          <a:p>
            <a:pPr marL="552450" lvl="1" indent="-285750">
              <a:buFont typeface="Arial" panose="020B0604020202020204" pitchFamily="34" charset="0"/>
              <a:buChar char="•"/>
            </a:pPr>
            <a:r>
              <a:rPr lang="en-US">
                <a:solidFill>
                  <a:schemeClr val="bg1"/>
                </a:solidFill>
                <a:latin typeface="+mn-lt"/>
              </a:rPr>
              <a:t>Who should curate the data?</a:t>
            </a:r>
          </a:p>
          <a:p>
            <a:pPr marL="552450" lvl="1" indent="-285750">
              <a:buFont typeface="Arial" panose="020B0604020202020204" pitchFamily="34" charset="0"/>
              <a:buChar char="•"/>
            </a:pPr>
            <a:r>
              <a:rPr lang="en-US">
                <a:solidFill>
                  <a:schemeClr val="bg1"/>
                </a:solidFill>
                <a:latin typeface="+mn-lt"/>
              </a:rPr>
              <a:t>Who will use it?</a:t>
            </a:r>
          </a:p>
        </p:txBody>
      </p:sp>
    </p:spTree>
    <p:extLst>
      <p:ext uri="{BB962C8B-B14F-4D97-AF65-F5344CB8AC3E}">
        <p14:creationId xmlns:p14="http://schemas.microsoft.com/office/powerpoint/2010/main" val="13301292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 grpId="0" animBg="1"/>
      <p:bldP spid="13" grpId="0" animBg="1"/>
      <p:bldP spid="14" grpId="0" animBg="1"/>
      <p:bldP spid="1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780F593-8E4F-4A9C-97DF-40DAD06792A5}"/>
              </a:ext>
            </a:extLst>
          </p:cNvPr>
          <p:cNvSpPr/>
          <p:nvPr/>
        </p:nvSpPr>
        <p:spPr>
          <a:xfrm>
            <a:off x="0" y="4794491"/>
            <a:ext cx="12192000" cy="1493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a:solidFill>
                  <a:schemeClr val="bg1"/>
                </a:solidFill>
              </a:rPr>
              <a:t>Data catalog</a:t>
            </a:r>
          </a:p>
        </p:txBody>
      </p:sp>
      <p:sp>
        <p:nvSpPr>
          <p:cNvPr id="4" name="Rectangle: Rounded Corners 3">
            <a:extLst>
              <a:ext uri="{FF2B5EF4-FFF2-40B4-BE49-F238E27FC236}">
                <a16:creationId xmlns:a16="http://schemas.microsoft.com/office/drawing/2014/main" id="{216F5971-884D-4BBB-9871-FBFD2CBF7D8B}"/>
              </a:ext>
            </a:extLst>
          </p:cNvPr>
          <p:cNvSpPr/>
          <p:nvPr/>
        </p:nvSpPr>
        <p:spPr>
          <a:xfrm>
            <a:off x="404813" y="1425511"/>
            <a:ext cx="5475163" cy="1559213"/>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WHAT?</a:t>
            </a:r>
          </a:p>
          <a:p>
            <a:pPr algn="ctr"/>
            <a:r>
              <a:rPr lang="en-US" sz="1600">
                <a:solidFill>
                  <a:schemeClr val="tx1"/>
                </a:solidFill>
              </a:rPr>
              <a:t>Creates and maintains an inventory of data assets, Provides context to your data</a:t>
            </a:r>
          </a:p>
        </p:txBody>
      </p:sp>
      <p:pic>
        <p:nvPicPr>
          <p:cNvPr id="5" name="Picture 2" descr="Alation Introduces Agile Information Stewardship with the Release ...">
            <a:extLst>
              <a:ext uri="{FF2B5EF4-FFF2-40B4-BE49-F238E27FC236}">
                <a16:creationId xmlns:a16="http://schemas.microsoft.com/office/drawing/2014/main" id="{E7DE5387-2EE2-4BBA-9202-820DBC711B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338" y="4794492"/>
            <a:ext cx="2088232" cy="155921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ollibra - brand identity, guideline and assets.">
            <a:extLst>
              <a:ext uri="{FF2B5EF4-FFF2-40B4-BE49-F238E27FC236}">
                <a16:creationId xmlns:a16="http://schemas.microsoft.com/office/drawing/2014/main" id="{CD344A52-481D-4ABE-8F8F-46480F0C98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34963" y="4903578"/>
            <a:ext cx="3538364" cy="1341040"/>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4" descr="Azure Purview: Hitchhikers Guide For Power BI Professionals">
            <a:extLst>
              <a:ext uri="{FF2B5EF4-FFF2-40B4-BE49-F238E27FC236}">
                <a16:creationId xmlns:a16="http://schemas.microsoft.com/office/drawing/2014/main" id="{81D3BC13-8A08-42AD-BC62-4E7C9CC198B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2" name="Picture 8" descr="New Blog Post | March Ahead w/ Purview: Unify ALL your data using Apache  Atlas open API support - Microsoft Tech Community">
            <a:extLst>
              <a:ext uri="{FF2B5EF4-FFF2-40B4-BE49-F238E27FC236}">
                <a16:creationId xmlns:a16="http://schemas.microsoft.com/office/drawing/2014/main" id="{FB1D56D5-5885-4E61-B814-06443BB24F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14072" y="4947450"/>
            <a:ext cx="1872208" cy="125329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nformatica-logo (002) - MillenniumIT ESP">
            <a:extLst>
              <a:ext uri="{FF2B5EF4-FFF2-40B4-BE49-F238E27FC236}">
                <a16:creationId xmlns:a16="http://schemas.microsoft.com/office/drawing/2014/main" id="{DB488B79-BAA9-472F-A4C2-B9DBF21A34B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39720" y="5156424"/>
            <a:ext cx="3407958" cy="83534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BEB7B83B-BEE2-47C4-993B-9FD53F6F8E96}"/>
              </a:ext>
            </a:extLst>
          </p:cNvPr>
          <p:cNvSpPr/>
          <p:nvPr/>
        </p:nvSpPr>
        <p:spPr>
          <a:xfrm>
            <a:off x="6312026" y="1425510"/>
            <a:ext cx="5467725" cy="1559213"/>
          </a:xfrm>
          <a:prstGeom prst="roundRect">
            <a:avLst/>
          </a:prstGeom>
          <a:solidFill>
            <a:srgbClr val="CCE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WHY?</a:t>
            </a:r>
          </a:p>
          <a:p>
            <a:pPr algn="ctr"/>
            <a:r>
              <a:rPr lang="en-US" sz="1600" b="1">
                <a:solidFill>
                  <a:schemeClr val="tx1"/>
                </a:solidFill>
              </a:rPr>
              <a:t>Control</a:t>
            </a:r>
            <a:r>
              <a:rPr lang="en-US" sz="1600">
                <a:solidFill>
                  <a:schemeClr val="tx1"/>
                </a:solidFill>
              </a:rPr>
              <a:t> your data</a:t>
            </a:r>
          </a:p>
          <a:p>
            <a:pPr algn="ctr"/>
            <a:r>
              <a:rPr lang="en-US" sz="1600" b="1">
                <a:solidFill>
                  <a:schemeClr val="tx1"/>
                </a:solidFill>
              </a:rPr>
              <a:t>Identifying</a:t>
            </a:r>
            <a:r>
              <a:rPr lang="en-US" sz="1600">
                <a:solidFill>
                  <a:schemeClr val="tx1"/>
                </a:solidFill>
              </a:rPr>
              <a:t> and inventorying data</a:t>
            </a:r>
          </a:p>
          <a:p>
            <a:pPr algn="ctr"/>
            <a:r>
              <a:rPr lang="en-US" sz="1600" b="1">
                <a:solidFill>
                  <a:schemeClr val="tx1"/>
                </a:solidFill>
              </a:rPr>
              <a:t>Enable</a:t>
            </a:r>
            <a:r>
              <a:rPr lang="en-US" sz="1600">
                <a:solidFill>
                  <a:schemeClr val="tx1"/>
                </a:solidFill>
              </a:rPr>
              <a:t> users to take advantage of the data </a:t>
            </a:r>
          </a:p>
        </p:txBody>
      </p:sp>
      <p:sp>
        <p:nvSpPr>
          <p:cNvPr id="13" name="Rectangle 12">
            <a:extLst>
              <a:ext uri="{FF2B5EF4-FFF2-40B4-BE49-F238E27FC236}">
                <a16:creationId xmlns:a16="http://schemas.microsoft.com/office/drawing/2014/main" id="{8DE46629-0769-40F6-BB0B-2E3290FD8132}"/>
              </a:ext>
            </a:extLst>
          </p:cNvPr>
          <p:cNvSpPr/>
          <p:nvPr/>
        </p:nvSpPr>
        <p:spPr>
          <a:xfrm>
            <a:off x="12432704" y="260648"/>
            <a:ext cx="3168352" cy="2016224"/>
          </a:xfrm>
          <a:prstGeom prst="rect">
            <a:avLst/>
          </a:prstGeom>
          <a:solidFill>
            <a:srgbClr val="FFDA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Ta med </a:t>
            </a:r>
            <a:r>
              <a:rPr lang="en-US" sz="1600" err="1"/>
              <a:t>noe</a:t>
            </a:r>
            <a:r>
              <a:rPr lang="en-US" sz="1600"/>
              <a:t> her </a:t>
            </a:r>
            <a:r>
              <a:rPr lang="en-US" sz="1600" err="1"/>
              <a:t>som</a:t>
            </a:r>
            <a:r>
              <a:rPr lang="en-US" sz="1600"/>
              <a:t> er </a:t>
            </a:r>
            <a:r>
              <a:rPr lang="en-US" sz="1600" err="1"/>
              <a:t>sånn</a:t>
            </a:r>
            <a:r>
              <a:rPr lang="en-US" sz="1600"/>
              <a:t>, </a:t>
            </a:r>
            <a:r>
              <a:rPr lang="en-US" sz="1600" err="1"/>
              <a:t>nå</a:t>
            </a:r>
            <a:r>
              <a:rPr lang="en-US" sz="1600"/>
              <a:t> </a:t>
            </a:r>
            <a:r>
              <a:rPr lang="en-US" sz="1600" err="1"/>
              <a:t>skal</a:t>
            </a:r>
            <a:r>
              <a:rPr lang="en-US" sz="1600"/>
              <a:t> vi </a:t>
            </a:r>
            <a:r>
              <a:rPr lang="en-US" sz="1600" err="1"/>
              <a:t>gå</a:t>
            </a:r>
            <a:r>
              <a:rPr lang="en-US" sz="1600"/>
              <a:t> </a:t>
            </a:r>
            <a:r>
              <a:rPr lang="en-US" sz="1600" err="1"/>
              <a:t>igjennom</a:t>
            </a:r>
            <a:r>
              <a:rPr lang="en-US" sz="1600"/>
              <a:t> </a:t>
            </a:r>
            <a:r>
              <a:rPr lang="en-US" sz="1600" err="1"/>
              <a:t>disse</a:t>
            </a:r>
            <a:r>
              <a:rPr lang="en-US" sz="1600"/>
              <a:t> 4 </a:t>
            </a:r>
            <a:r>
              <a:rPr lang="en-US" sz="1600" err="1"/>
              <a:t>tingene</a:t>
            </a:r>
            <a:r>
              <a:rPr lang="en-US" sz="1600"/>
              <a:t> </a:t>
            </a:r>
            <a:r>
              <a:rPr lang="en-US" sz="1600" err="1"/>
              <a:t>som</a:t>
            </a:r>
            <a:r>
              <a:rPr lang="en-US" sz="1600"/>
              <a:t> </a:t>
            </a:r>
            <a:r>
              <a:rPr lang="en-US" sz="1600" err="1"/>
              <a:t>hjelper</a:t>
            </a:r>
            <a:r>
              <a:rPr lang="en-US" sz="1600"/>
              <a:t>? </a:t>
            </a:r>
          </a:p>
        </p:txBody>
      </p:sp>
      <p:pic>
        <p:nvPicPr>
          <p:cNvPr id="12" name="Graphic 11" descr="Books with solid fill">
            <a:extLst>
              <a:ext uri="{FF2B5EF4-FFF2-40B4-BE49-F238E27FC236}">
                <a16:creationId xmlns:a16="http://schemas.microsoft.com/office/drawing/2014/main" id="{892C8129-9267-47B7-B697-328BF4B9D33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71664" y="643089"/>
            <a:ext cx="496944" cy="496944"/>
          </a:xfrm>
          <a:prstGeom prst="rect">
            <a:avLst/>
          </a:prstGeom>
        </p:spPr>
      </p:pic>
      <p:sp>
        <p:nvSpPr>
          <p:cNvPr id="14" name="Text Placeholder 5">
            <a:extLst>
              <a:ext uri="{FF2B5EF4-FFF2-40B4-BE49-F238E27FC236}">
                <a16:creationId xmlns:a16="http://schemas.microsoft.com/office/drawing/2014/main" id="{F12B535A-F643-451E-8549-3D5ED6D2022C}"/>
              </a:ext>
            </a:extLst>
          </p:cNvPr>
          <p:cNvSpPr txBox="1">
            <a:spLocks/>
          </p:cNvSpPr>
          <p:nvPr/>
        </p:nvSpPr>
        <p:spPr>
          <a:xfrm>
            <a:off x="489576" y="3258046"/>
            <a:ext cx="11367502" cy="1341040"/>
          </a:xfrm>
          <a:prstGeom prst="rect">
            <a:avLst/>
          </a:prstGeom>
          <a:noFill/>
        </p:spPr>
        <p:txBody>
          <a:bodyPr vert="horz" lIns="0" tIns="0" rIns="0" bIns="0" numCol="2" rtlCol="0" anchor="ctr">
            <a:normAutofit lnSpcReduction="100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600" lvl="1" indent="-342900" fontAlgn="b">
              <a:buFont typeface="Arial" panose="020B0604020202020204" pitchFamily="34" charset="0"/>
              <a:buChar char="•"/>
            </a:pPr>
            <a:r>
              <a:rPr lang="en-US" sz="1400" b="1">
                <a:solidFill>
                  <a:schemeClr val="bg1"/>
                </a:solidFill>
              </a:rPr>
              <a:t>Data Search</a:t>
            </a:r>
            <a:endParaRPr lang="nb-NO" sz="1400" b="1">
              <a:solidFill>
                <a:schemeClr val="bg1"/>
              </a:solidFill>
            </a:endParaRPr>
          </a:p>
          <a:p>
            <a:pPr marL="609600" lvl="1" indent="-342900" fontAlgn="b">
              <a:buFont typeface="Arial" panose="020B0604020202020204" pitchFamily="34" charset="0"/>
              <a:buChar char="•"/>
            </a:pPr>
            <a:r>
              <a:rPr lang="en-US" sz="1400" b="1">
                <a:solidFill>
                  <a:schemeClr val="bg1"/>
                </a:solidFill>
              </a:rPr>
              <a:t>Data profiling</a:t>
            </a:r>
            <a:endParaRPr lang="nb-NO" sz="1400" b="1">
              <a:solidFill>
                <a:schemeClr val="bg1"/>
              </a:solidFill>
            </a:endParaRPr>
          </a:p>
          <a:p>
            <a:pPr marL="609600" lvl="1" indent="-342900" fontAlgn="b">
              <a:buFont typeface="Arial" panose="020B0604020202020204" pitchFamily="34" charset="0"/>
              <a:buChar char="•"/>
            </a:pPr>
            <a:r>
              <a:rPr lang="en-US" sz="1400" b="1">
                <a:solidFill>
                  <a:schemeClr val="bg1"/>
                </a:solidFill>
              </a:rPr>
              <a:t>Data Linage and Usage</a:t>
            </a:r>
            <a:endParaRPr lang="nb-NO" sz="1400" b="1">
              <a:solidFill>
                <a:schemeClr val="bg1"/>
              </a:solidFill>
            </a:endParaRPr>
          </a:p>
          <a:p>
            <a:pPr marL="609600" lvl="1" indent="-342900" fontAlgn="b">
              <a:buFont typeface="Arial" panose="020B0604020202020204" pitchFamily="34" charset="0"/>
              <a:buChar char="•"/>
            </a:pPr>
            <a:r>
              <a:rPr lang="en-US" sz="1400" b="1">
                <a:solidFill>
                  <a:schemeClr val="bg1"/>
                </a:solidFill>
              </a:rPr>
              <a:t>Data Recommendations</a:t>
            </a:r>
            <a:endParaRPr lang="nb-NO" sz="1400" b="1">
              <a:solidFill>
                <a:schemeClr val="bg1"/>
              </a:solidFill>
            </a:endParaRPr>
          </a:p>
          <a:p>
            <a:pPr marL="609600" lvl="1" indent="-342900" fontAlgn="b">
              <a:buFont typeface="Arial" panose="020B0604020202020204" pitchFamily="34" charset="0"/>
              <a:buChar char="•"/>
            </a:pPr>
            <a:r>
              <a:rPr lang="en-US" sz="1400">
                <a:solidFill>
                  <a:schemeClr val="bg1"/>
                </a:solidFill>
              </a:rPr>
              <a:t>Intelligent Propagation</a:t>
            </a:r>
            <a:endParaRPr lang="nb-NO" sz="1400">
              <a:solidFill>
                <a:schemeClr val="bg1"/>
              </a:solidFill>
            </a:endParaRPr>
          </a:p>
          <a:p>
            <a:pPr marL="609600" lvl="1" indent="-342900" fontAlgn="b">
              <a:buFont typeface="Arial" panose="020B0604020202020204" pitchFamily="34" charset="0"/>
              <a:buChar char="•"/>
            </a:pPr>
            <a:r>
              <a:rPr lang="en-US" sz="1400">
                <a:solidFill>
                  <a:schemeClr val="bg1"/>
                </a:solidFill>
              </a:rPr>
              <a:t>User Collaboration and Crowdsourcing </a:t>
            </a:r>
            <a:endParaRPr lang="nb-NO" sz="1400">
              <a:solidFill>
                <a:schemeClr val="bg1"/>
              </a:solidFill>
            </a:endParaRPr>
          </a:p>
          <a:p>
            <a:pPr marL="609600" lvl="1" indent="-342900" fontAlgn="b">
              <a:buFont typeface="Arial" panose="020B0604020202020204" pitchFamily="34" charset="0"/>
              <a:buChar char="•"/>
            </a:pPr>
            <a:r>
              <a:rPr lang="en-US" sz="1400">
                <a:solidFill>
                  <a:schemeClr val="bg1"/>
                </a:solidFill>
              </a:rPr>
              <a:t>Business Glossary</a:t>
            </a:r>
            <a:endParaRPr lang="nb-NO" sz="1400">
              <a:solidFill>
                <a:schemeClr val="bg1"/>
              </a:solidFill>
            </a:endParaRPr>
          </a:p>
          <a:p>
            <a:pPr marL="609600" lvl="1" indent="-342900" fontAlgn="b">
              <a:buFont typeface="Arial" panose="020B0604020202020204" pitchFamily="34" charset="0"/>
              <a:buChar char="•"/>
            </a:pPr>
            <a:r>
              <a:rPr lang="en-US" sz="1400">
                <a:solidFill>
                  <a:schemeClr val="bg1"/>
                </a:solidFill>
              </a:rPr>
              <a:t>Rule Management</a:t>
            </a:r>
            <a:endParaRPr lang="nb-NO" sz="1400">
              <a:solidFill>
                <a:schemeClr val="bg1"/>
              </a:solidFill>
            </a:endParaRPr>
          </a:p>
          <a:p>
            <a:pPr marL="609600" lvl="1" indent="-342900" fontAlgn="b">
              <a:buFont typeface="Arial" panose="020B0604020202020204" pitchFamily="34" charset="0"/>
              <a:buChar char="•"/>
            </a:pPr>
            <a:r>
              <a:rPr lang="en-US" sz="1400">
                <a:solidFill>
                  <a:schemeClr val="bg1"/>
                </a:solidFill>
              </a:rPr>
              <a:t>Impact Analysis</a:t>
            </a:r>
            <a:endParaRPr lang="en-US" sz="1400">
              <a:solidFill>
                <a:schemeClr val="bg1"/>
              </a:solidFill>
              <a:latin typeface="+mn-lt"/>
            </a:endParaRPr>
          </a:p>
        </p:txBody>
      </p:sp>
    </p:spTree>
    <p:extLst>
      <p:ext uri="{BB962C8B-B14F-4D97-AF65-F5344CB8AC3E}">
        <p14:creationId xmlns:p14="http://schemas.microsoft.com/office/powerpoint/2010/main" val="2000087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2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3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1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a:xfrm>
            <a:off x="5303910" y="1362192"/>
            <a:ext cx="1584177" cy="716711"/>
          </a:xfrm>
        </p:spPr>
        <p:txBody>
          <a:bodyPr/>
          <a:lstStyle/>
          <a:p>
            <a:pPr algn="ctr"/>
            <a:r>
              <a:rPr lang="en-US" dirty="0">
                <a:solidFill>
                  <a:schemeClr val="bg1"/>
                </a:solidFill>
              </a:rPr>
              <a:t>DEMO</a:t>
            </a:r>
          </a:p>
        </p:txBody>
      </p:sp>
      <p:sp>
        <p:nvSpPr>
          <p:cNvPr id="6" name="AutoShape 4" descr="Azure Purview: Hitchhikers Guide For Power BI Professionals">
            <a:extLst>
              <a:ext uri="{FF2B5EF4-FFF2-40B4-BE49-F238E27FC236}">
                <a16:creationId xmlns:a16="http://schemas.microsoft.com/office/drawing/2014/main" id="{81D3BC13-8A08-42AD-BC62-4E7C9CC198B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2" name="Picture 8" descr="New Blog Post | March Ahead w/ Purview: Unify ALL your data using Apache  Atlas open API support - Microsoft Tech Community">
            <a:extLst>
              <a:ext uri="{FF2B5EF4-FFF2-40B4-BE49-F238E27FC236}">
                <a16:creationId xmlns:a16="http://schemas.microsoft.com/office/drawing/2014/main" id="{FB1D56D5-5885-4E61-B814-06443BB24F63}"/>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foregroundMark x1="34504" y1="25926" x2="34504" y2="25926"/>
                        <a14:foregroundMark x1="34504" y1="25926" x2="28926" y2="25617"/>
                        <a14:foregroundMark x1="27686" y1="28395" x2="38430" y2="24074"/>
                        <a14:foregroundMark x1="44835" y1="48148" x2="44835" y2="48148"/>
                        <a14:foregroundMark x1="78306" y1="41358" x2="78306" y2="41358"/>
                        <a14:foregroundMark x1="71281" y1="31790" x2="78099" y2="59877"/>
                        <a14:foregroundMark x1="78099" y1="59877" x2="73967" y2="30556"/>
                        <a14:foregroundMark x1="73967" y1="30556" x2="71901" y2="60802"/>
                        <a14:foregroundMark x1="71901" y1="60802" x2="86777" y2="53086"/>
                        <a14:foregroundMark x1="86777" y1="53086" x2="80579" y2="30247"/>
                        <a14:foregroundMark x1="80579" y1="30247" x2="66736" y2="22531"/>
                        <a14:foregroundMark x1="66736" y1="22531" x2="56612" y2="26543"/>
                        <a14:foregroundMark x1="9917" y1="47222" x2="9917" y2="47222"/>
                      </a14:backgroundRemoval>
                    </a14:imgEffect>
                  </a14:imgLayer>
                </a14:imgProps>
              </a:ext>
              <a:ext uri="{28A0092B-C50C-407E-A947-70E740481C1C}">
                <a14:useLocalDpi xmlns:a14="http://schemas.microsoft.com/office/drawing/2010/main" val="0"/>
              </a:ext>
            </a:extLst>
          </a:blip>
          <a:srcRect/>
          <a:stretch>
            <a:fillRect/>
          </a:stretch>
        </p:blipFill>
        <p:spPr bwMode="auto">
          <a:xfrm>
            <a:off x="4438443" y="2166996"/>
            <a:ext cx="3315114" cy="221920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2921084-B6D0-49DC-881E-533BCEA332EC}"/>
              </a:ext>
            </a:extLst>
          </p:cNvPr>
          <p:cNvSpPr txBox="1"/>
          <p:nvPr/>
        </p:nvSpPr>
        <p:spPr>
          <a:xfrm>
            <a:off x="5114000" y="4386204"/>
            <a:ext cx="1963999" cy="369332"/>
          </a:xfrm>
          <a:prstGeom prst="rect">
            <a:avLst/>
          </a:prstGeom>
          <a:noFill/>
        </p:spPr>
        <p:txBody>
          <a:bodyPr wrap="none" rtlCol="0">
            <a:spAutoFit/>
          </a:bodyPr>
          <a:lstStyle/>
          <a:p>
            <a:r>
              <a:rPr lang="en-US">
                <a:solidFill>
                  <a:schemeClr val="bg1"/>
                </a:solidFill>
              </a:rPr>
              <a:t>AZURE PURVIEW</a:t>
            </a:r>
          </a:p>
        </p:txBody>
      </p:sp>
    </p:spTree>
    <p:extLst>
      <p:ext uri="{BB962C8B-B14F-4D97-AF65-F5344CB8AC3E}">
        <p14:creationId xmlns:p14="http://schemas.microsoft.com/office/powerpoint/2010/main" val="37344401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780F593-8E4F-4A9C-97DF-40DAD06792A5}"/>
              </a:ext>
            </a:extLst>
          </p:cNvPr>
          <p:cNvSpPr/>
          <p:nvPr/>
        </p:nvSpPr>
        <p:spPr>
          <a:xfrm>
            <a:off x="0" y="4794491"/>
            <a:ext cx="12192000" cy="1493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dirty="0">
                <a:solidFill>
                  <a:schemeClr val="bg1"/>
                </a:solidFill>
              </a:rPr>
              <a:t>Data catalog</a:t>
            </a:r>
          </a:p>
        </p:txBody>
      </p:sp>
      <p:sp>
        <p:nvSpPr>
          <p:cNvPr id="4" name="Rectangle: Rounded Corners 3">
            <a:extLst>
              <a:ext uri="{FF2B5EF4-FFF2-40B4-BE49-F238E27FC236}">
                <a16:creationId xmlns:a16="http://schemas.microsoft.com/office/drawing/2014/main" id="{216F5971-884D-4BBB-9871-FBFD2CBF7D8B}"/>
              </a:ext>
            </a:extLst>
          </p:cNvPr>
          <p:cNvSpPr/>
          <p:nvPr/>
        </p:nvSpPr>
        <p:spPr>
          <a:xfrm>
            <a:off x="404813" y="1425511"/>
            <a:ext cx="5475163" cy="1559213"/>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Ubuntu"/>
                <a:ea typeface="+mn-ea"/>
                <a:cs typeface="+mn-cs"/>
              </a:rPr>
              <a:t>WH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Creates and maintains an inventory of data assets, Provides context to your data</a:t>
            </a:r>
          </a:p>
        </p:txBody>
      </p:sp>
      <p:pic>
        <p:nvPicPr>
          <p:cNvPr id="5" name="Picture 2" descr="Alation Introduces Agile Information Stewardship with the Release ...">
            <a:extLst>
              <a:ext uri="{FF2B5EF4-FFF2-40B4-BE49-F238E27FC236}">
                <a16:creationId xmlns:a16="http://schemas.microsoft.com/office/drawing/2014/main" id="{E7DE5387-2EE2-4BBA-9202-820DBC711B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338" y="4794492"/>
            <a:ext cx="2088232" cy="155921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ollibra - brand identity, guideline and assets.">
            <a:extLst>
              <a:ext uri="{FF2B5EF4-FFF2-40B4-BE49-F238E27FC236}">
                <a16:creationId xmlns:a16="http://schemas.microsoft.com/office/drawing/2014/main" id="{CD344A52-481D-4ABE-8F8F-46480F0C98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34963" y="4903578"/>
            <a:ext cx="3538364" cy="1341040"/>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4" descr="Azure Purview: Hitchhikers Guide For Power BI Professionals">
            <a:extLst>
              <a:ext uri="{FF2B5EF4-FFF2-40B4-BE49-F238E27FC236}">
                <a16:creationId xmlns:a16="http://schemas.microsoft.com/office/drawing/2014/main" id="{81D3BC13-8A08-42AD-BC62-4E7C9CC198B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pic>
        <p:nvPicPr>
          <p:cNvPr id="1032" name="Picture 8" descr="New Blog Post | March Ahead w/ Purview: Unify ALL your data using Apache  Atlas open API support - Microsoft Tech Community">
            <a:extLst>
              <a:ext uri="{FF2B5EF4-FFF2-40B4-BE49-F238E27FC236}">
                <a16:creationId xmlns:a16="http://schemas.microsoft.com/office/drawing/2014/main" id="{FB1D56D5-5885-4E61-B814-06443BB24F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14072" y="4947450"/>
            <a:ext cx="1872208" cy="125329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nformatica-logo (002) - MillenniumIT ESP">
            <a:extLst>
              <a:ext uri="{FF2B5EF4-FFF2-40B4-BE49-F238E27FC236}">
                <a16:creationId xmlns:a16="http://schemas.microsoft.com/office/drawing/2014/main" id="{DB488B79-BAA9-472F-A4C2-B9DBF21A34B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39720" y="5156424"/>
            <a:ext cx="3407958" cy="83534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BEB7B83B-BEE2-47C4-993B-9FD53F6F8E96}"/>
              </a:ext>
            </a:extLst>
          </p:cNvPr>
          <p:cNvSpPr/>
          <p:nvPr/>
        </p:nvSpPr>
        <p:spPr>
          <a:xfrm>
            <a:off x="6312026" y="1425510"/>
            <a:ext cx="5467725" cy="1559213"/>
          </a:xfrm>
          <a:prstGeom prst="roundRect">
            <a:avLst/>
          </a:prstGeom>
          <a:solidFill>
            <a:srgbClr val="CCE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Ubuntu"/>
                <a:ea typeface="+mn-ea"/>
                <a:cs typeface="+mn-cs"/>
              </a:rPr>
              <a:t>WH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Control your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Identifying and inventorying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Enable users to take advantage of the data </a:t>
            </a:r>
          </a:p>
        </p:txBody>
      </p:sp>
      <p:sp>
        <p:nvSpPr>
          <p:cNvPr id="13" name="Rectangle 12">
            <a:extLst>
              <a:ext uri="{FF2B5EF4-FFF2-40B4-BE49-F238E27FC236}">
                <a16:creationId xmlns:a16="http://schemas.microsoft.com/office/drawing/2014/main" id="{8DE46629-0769-40F6-BB0B-2E3290FD8132}"/>
              </a:ext>
            </a:extLst>
          </p:cNvPr>
          <p:cNvSpPr/>
          <p:nvPr/>
        </p:nvSpPr>
        <p:spPr>
          <a:xfrm>
            <a:off x="12432704" y="260648"/>
            <a:ext cx="3168352" cy="2016224"/>
          </a:xfrm>
          <a:prstGeom prst="rect">
            <a:avLst/>
          </a:prstGeom>
          <a:solidFill>
            <a:srgbClr val="FFDA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Ta med </a:t>
            </a:r>
            <a:r>
              <a:rPr kumimoji="0" lang="en-US" sz="1600" b="0" i="0" u="none" strike="noStrike" kern="1200" cap="none" spc="0" normalizeH="0" baseline="0" noProof="0" err="1">
                <a:ln>
                  <a:noFill/>
                </a:ln>
                <a:solidFill>
                  <a:srgbClr val="FFFFFF"/>
                </a:solidFill>
                <a:effectLst/>
                <a:uLnTx/>
                <a:uFillTx/>
                <a:latin typeface="Ubuntu"/>
                <a:ea typeface="+mn-ea"/>
                <a:cs typeface="+mn-cs"/>
              </a:rPr>
              <a:t>noe</a:t>
            </a:r>
            <a:r>
              <a:rPr kumimoji="0" lang="en-US" sz="1600" b="0" i="0" u="none" strike="noStrike" kern="1200" cap="none" spc="0" normalizeH="0" baseline="0" noProof="0">
                <a:ln>
                  <a:noFill/>
                </a:ln>
                <a:solidFill>
                  <a:srgbClr val="FFFFFF"/>
                </a:solidFill>
                <a:effectLst/>
                <a:uLnTx/>
                <a:uFillTx/>
                <a:latin typeface="Ubuntu"/>
                <a:ea typeface="+mn-ea"/>
                <a:cs typeface="+mn-cs"/>
              </a:rPr>
              <a:t> her </a:t>
            </a:r>
            <a:r>
              <a:rPr kumimoji="0" lang="en-US" sz="1600" b="0" i="0" u="none" strike="noStrike" kern="1200" cap="none" spc="0" normalizeH="0" baseline="0" noProof="0" err="1">
                <a:ln>
                  <a:noFill/>
                </a:ln>
                <a:solidFill>
                  <a:srgbClr val="FFFFFF"/>
                </a:solidFill>
                <a:effectLst/>
                <a:uLnTx/>
                <a:uFillTx/>
                <a:latin typeface="Ubuntu"/>
                <a:ea typeface="+mn-ea"/>
                <a:cs typeface="+mn-cs"/>
              </a:rPr>
              <a:t>som</a:t>
            </a:r>
            <a:r>
              <a:rPr kumimoji="0" lang="en-US" sz="1600" b="0" i="0" u="none" strike="noStrike" kern="1200" cap="none" spc="0" normalizeH="0" baseline="0" noProof="0">
                <a:ln>
                  <a:noFill/>
                </a:ln>
                <a:solidFill>
                  <a:srgbClr val="FFFFFF"/>
                </a:solidFill>
                <a:effectLst/>
                <a:uLnTx/>
                <a:uFillTx/>
                <a:latin typeface="Ubuntu"/>
                <a:ea typeface="+mn-ea"/>
                <a:cs typeface="+mn-cs"/>
              </a:rPr>
              <a:t> er </a:t>
            </a:r>
            <a:r>
              <a:rPr kumimoji="0" lang="en-US" sz="1600" b="0" i="0" u="none" strike="noStrike" kern="1200" cap="none" spc="0" normalizeH="0" baseline="0" noProof="0" err="1">
                <a:ln>
                  <a:noFill/>
                </a:ln>
                <a:solidFill>
                  <a:srgbClr val="FFFFFF"/>
                </a:solidFill>
                <a:effectLst/>
                <a:uLnTx/>
                <a:uFillTx/>
                <a:latin typeface="Ubuntu"/>
                <a:ea typeface="+mn-ea"/>
                <a:cs typeface="+mn-cs"/>
              </a:rPr>
              <a:t>sånn</a:t>
            </a:r>
            <a:r>
              <a:rPr kumimoji="0" lang="en-US" sz="1600" b="0" i="0" u="none" strike="noStrike" kern="1200" cap="none" spc="0" normalizeH="0" baseline="0" noProof="0">
                <a:ln>
                  <a:noFill/>
                </a:ln>
                <a:solidFill>
                  <a:srgbClr val="FFFFFF"/>
                </a:solidFill>
                <a:effectLst/>
                <a:uLnTx/>
                <a:uFillTx/>
                <a:latin typeface="Ubuntu"/>
                <a:ea typeface="+mn-ea"/>
                <a:cs typeface="+mn-cs"/>
              </a:rPr>
              <a:t>, </a:t>
            </a:r>
            <a:r>
              <a:rPr kumimoji="0" lang="en-US" sz="1600" b="0" i="0" u="none" strike="noStrike" kern="1200" cap="none" spc="0" normalizeH="0" baseline="0" noProof="0" err="1">
                <a:ln>
                  <a:noFill/>
                </a:ln>
                <a:solidFill>
                  <a:srgbClr val="FFFFFF"/>
                </a:solidFill>
                <a:effectLst/>
                <a:uLnTx/>
                <a:uFillTx/>
                <a:latin typeface="Ubuntu"/>
                <a:ea typeface="+mn-ea"/>
                <a:cs typeface="+mn-cs"/>
              </a:rPr>
              <a:t>nå</a:t>
            </a:r>
            <a:r>
              <a:rPr kumimoji="0" lang="en-US" sz="1600" b="0" i="0" u="none" strike="noStrike" kern="1200" cap="none" spc="0" normalizeH="0" baseline="0" noProof="0">
                <a:ln>
                  <a:noFill/>
                </a:ln>
                <a:solidFill>
                  <a:srgbClr val="FFFFFF"/>
                </a:solidFill>
                <a:effectLst/>
                <a:uLnTx/>
                <a:uFillTx/>
                <a:latin typeface="Ubuntu"/>
                <a:ea typeface="+mn-ea"/>
                <a:cs typeface="+mn-cs"/>
              </a:rPr>
              <a:t> </a:t>
            </a:r>
            <a:r>
              <a:rPr kumimoji="0" lang="en-US" sz="1600" b="0" i="0" u="none" strike="noStrike" kern="1200" cap="none" spc="0" normalizeH="0" baseline="0" noProof="0" err="1">
                <a:ln>
                  <a:noFill/>
                </a:ln>
                <a:solidFill>
                  <a:srgbClr val="FFFFFF"/>
                </a:solidFill>
                <a:effectLst/>
                <a:uLnTx/>
                <a:uFillTx/>
                <a:latin typeface="Ubuntu"/>
                <a:ea typeface="+mn-ea"/>
                <a:cs typeface="+mn-cs"/>
              </a:rPr>
              <a:t>skal</a:t>
            </a:r>
            <a:r>
              <a:rPr kumimoji="0" lang="en-US" sz="1600" b="0" i="0" u="none" strike="noStrike" kern="1200" cap="none" spc="0" normalizeH="0" baseline="0" noProof="0">
                <a:ln>
                  <a:noFill/>
                </a:ln>
                <a:solidFill>
                  <a:srgbClr val="FFFFFF"/>
                </a:solidFill>
                <a:effectLst/>
                <a:uLnTx/>
                <a:uFillTx/>
                <a:latin typeface="Ubuntu"/>
                <a:ea typeface="+mn-ea"/>
                <a:cs typeface="+mn-cs"/>
              </a:rPr>
              <a:t> vi </a:t>
            </a:r>
            <a:r>
              <a:rPr kumimoji="0" lang="en-US" sz="1600" b="0" i="0" u="none" strike="noStrike" kern="1200" cap="none" spc="0" normalizeH="0" baseline="0" noProof="0" err="1">
                <a:ln>
                  <a:noFill/>
                </a:ln>
                <a:solidFill>
                  <a:srgbClr val="FFFFFF"/>
                </a:solidFill>
                <a:effectLst/>
                <a:uLnTx/>
                <a:uFillTx/>
                <a:latin typeface="Ubuntu"/>
                <a:ea typeface="+mn-ea"/>
                <a:cs typeface="+mn-cs"/>
              </a:rPr>
              <a:t>gå</a:t>
            </a:r>
            <a:r>
              <a:rPr kumimoji="0" lang="en-US" sz="1600" b="0" i="0" u="none" strike="noStrike" kern="1200" cap="none" spc="0" normalizeH="0" baseline="0" noProof="0">
                <a:ln>
                  <a:noFill/>
                </a:ln>
                <a:solidFill>
                  <a:srgbClr val="FFFFFF"/>
                </a:solidFill>
                <a:effectLst/>
                <a:uLnTx/>
                <a:uFillTx/>
                <a:latin typeface="Ubuntu"/>
                <a:ea typeface="+mn-ea"/>
                <a:cs typeface="+mn-cs"/>
              </a:rPr>
              <a:t> </a:t>
            </a:r>
            <a:r>
              <a:rPr kumimoji="0" lang="en-US" sz="1600" b="0" i="0" u="none" strike="noStrike" kern="1200" cap="none" spc="0" normalizeH="0" baseline="0" noProof="0" err="1">
                <a:ln>
                  <a:noFill/>
                </a:ln>
                <a:solidFill>
                  <a:srgbClr val="FFFFFF"/>
                </a:solidFill>
                <a:effectLst/>
                <a:uLnTx/>
                <a:uFillTx/>
                <a:latin typeface="Ubuntu"/>
                <a:ea typeface="+mn-ea"/>
                <a:cs typeface="+mn-cs"/>
              </a:rPr>
              <a:t>igjennom</a:t>
            </a:r>
            <a:r>
              <a:rPr kumimoji="0" lang="en-US" sz="1600" b="0" i="0" u="none" strike="noStrike" kern="1200" cap="none" spc="0" normalizeH="0" baseline="0" noProof="0">
                <a:ln>
                  <a:noFill/>
                </a:ln>
                <a:solidFill>
                  <a:srgbClr val="FFFFFF"/>
                </a:solidFill>
                <a:effectLst/>
                <a:uLnTx/>
                <a:uFillTx/>
                <a:latin typeface="Ubuntu"/>
                <a:ea typeface="+mn-ea"/>
                <a:cs typeface="+mn-cs"/>
              </a:rPr>
              <a:t> </a:t>
            </a:r>
            <a:r>
              <a:rPr kumimoji="0" lang="en-US" sz="1600" b="0" i="0" u="none" strike="noStrike" kern="1200" cap="none" spc="0" normalizeH="0" baseline="0" noProof="0" err="1">
                <a:ln>
                  <a:noFill/>
                </a:ln>
                <a:solidFill>
                  <a:srgbClr val="FFFFFF"/>
                </a:solidFill>
                <a:effectLst/>
                <a:uLnTx/>
                <a:uFillTx/>
                <a:latin typeface="Ubuntu"/>
                <a:ea typeface="+mn-ea"/>
                <a:cs typeface="+mn-cs"/>
              </a:rPr>
              <a:t>disse</a:t>
            </a:r>
            <a:r>
              <a:rPr kumimoji="0" lang="en-US" sz="1600" b="0" i="0" u="none" strike="noStrike" kern="1200" cap="none" spc="0" normalizeH="0" baseline="0" noProof="0">
                <a:ln>
                  <a:noFill/>
                </a:ln>
                <a:solidFill>
                  <a:srgbClr val="FFFFFF"/>
                </a:solidFill>
                <a:effectLst/>
                <a:uLnTx/>
                <a:uFillTx/>
                <a:latin typeface="Ubuntu"/>
                <a:ea typeface="+mn-ea"/>
                <a:cs typeface="+mn-cs"/>
              </a:rPr>
              <a:t> 4 </a:t>
            </a:r>
            <a:r>
              <a:rPr kumimoji="0" lang="en-US" sz="1600" b="0" i="0" u="none" strike="noStrike" kern="1200" cap="none" spc="0" normalizeH="0" baseline="0" noProof="0" err="1">
                <a:ln>
                  <a:noFill/>
                </a:ln>
                <a:solidFill>
                  <a:srgbClr val="FFFFFF"/>
                </a:solidFill>
                <a:effectLst/>
                <a:uLnTx/>
                <a:uFillTx/>
                <a:latin typeface="Ubuntu"/>
                <a:ea typeface="+mn-ea"/>
                <a:cs typeface="+mn-cs"/>
              </a:rPr>
              <a:t>tingene</a:t>
            </a:r>
            <a:r>
              <a:rPr kumimoji="0" lang="en-US" sz="1600" b="0" i="0" u="none" strike="noStrike" kern="1200" cap="none" spc="0" normalizeH="0" baseline="0" noProof="0">
                <a:ln>
                  <a:noFill/>
                </a:ln>
                <a:solidFill>
                  <a:srgbClr val="FFFFFF"/>
                </a:solidFill>
                <a:effectLst/>
                <a:uLnTx/>
                <a:uFillTx/>
                <a:latin typeface="Ubuntu"/>
                <a:ea typeface="+mn-ea"/>
                <a:cs typeface="+mn-cs"/>
              </a:rPr>
              <a:t> </a:t>
            </a:r>
            <a:r>
              <a:rPr kumimoji="0" lang="en-US" sz="1600" b="0" i="0" u="none" strike="noStrike" kern="1200" cap="none" spc="0" normalizeH="0" baseline="0" noProof="0" err="1">
                <a:ln>
                  <a:noFill/>
                </a:ln>
                <a:solidFill>
                  <a:srgbClr val="FFFFFF"/>
                </a:solidFill>
                <a:effectLst/>
                <a:uLnTx/>
                <a:uFillTx/>
                <a:latin typeface="Ubuntu"/>
                <a:ea typeface="+mn-ea"/>
                <a:cs typeface="+mn-cs"/>
              </a:rPr>
              <a:t>som</a:t>
            </a:r>
            <a:r>
              <a:rPr kumimoji="0" lang="en-US" sz="1600" b="0" i="0" u="none" strike="noStrike" kern="1200" cap="none" spc="0" normalizeH="0" baseline="0" noProof="0">
                <a:ln>
                  <a:noFill/>
                </a:ln>
                <a:solidFill>
                  <a:srgbClr val="FFFFFF"/>
                </a:solidFill>
                <a:effectLst/>
                <a:uLnTx/>
                <a:uFillTx/>
                <a:latin typeface="Ubuntu"/>
                <a:ea typeface="+mn-ea"/>
                <a:cs typeface="+mn-cs"/>
              </a:rPr>
              <a:t> </a:t>
            </a:r>
            <a:r>
              <a:rPr kumimoji="0" lang="en-US" sz="1600" b="0" i="0" u="none" strike="noStrike" kern="1200" cap="none" spc="0" normalizeH="0" baseline="0" noProof="0" err="1">
                <a:ln>
                  <a:noFill/>
                </a:ln>
                <a:solidFill>
                  <a:srgbClr val="FFFFFF"/>
                </a:solidFill>
                <a:effectLst/>
                <a:uLnTx/>
                <a:uFillTx/>
                <a:latin typeface="Ubuntu"/>
                <a:ea typeface="+mn-ea"/>
                <a:cs typeface="+mn-cs"/>
              </a:rPr>
              <a:t>hjelper</a:t>
            </a:r>
            <a:r>
              <a:rPr kumimoji="0" lang="en-US" sz="1600" b="0" i="0" u="none" strike="noStrike" kern="1200" cap="none" spc="0" normalizeH="0" baseline="0" noProof="0">
                <a:ln>
                  <a:noFill/>
                </a:ln>
                <a:solidFill>
                  <a:srgbClr val="FFFFFF"/>
                </a:solidFill>
                <a:effectLst/>
                <a:uLnTx/>
                <a:uFillTx/>
                <a:latin typeface="Ubuntu"/>
                <a:ea typeface="+mn-ea"/>
                <a:cs typeface="+mn-cs"/>
              </a:rPr>
              <a:t>? </a:t>
            </a:r>
          </a:p>
        </p:txBody>
      </p:sp>
      <p:pic>
        <p:nvPicPr>
          <p:cNvPr id="12" name="Graphic 11" descr="Books with solid fill">
            <a:extLst>
              <a:ext uri="{FF2B5EF4-FFF2-40B4-BE49-F238E27FC236}">
                <a16:creationId xmlns:a16="http://schemas.microsoft.com/office/drawing/2014/main" id="{892C8129-9267-47B7-B697-328BF4B9D33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71664" y="643089"/>
            <a:ext cx="496944" cy="496944"/>
          </a:xfrm>
          <a:prstGeom prst="rect">
            <a:avLst/>
          </a:prstGeom>
        </p:spPr>
      </p:pic>
      <p:sp>
        <p:nvSpPr>
          <p:cNvPr id="14" name="Text Placeholder 5">
            <a:extLst>
              <a:ext uri="{FF2B5EF4-FFF2-40B4-BE49-F238E27FC236}">
                <a16:creationId xmlns:a16="http://schemas.microsoft.com/office/drawing/2014/main" id="{F12B535A-F643-451E-8549-3D5ED6D2022C}"/>
              </a:ext>
            </a:extLst>
          </p:cNvPr>
          <p:cNvSpPr txBox="1">
            <a:spLocks/>
          </p:cNvSpPr>
          <p:nvPr/>
        </p:nvSpPr>
        <p:spPr>
          <a:xfrm>
            <a:off x="489576" y="3258046"/>
            <a:ext cx="11367502" cy="1341040"/>
          </a:xfrm>
          <a:prstGeom prst="rect">
            <a:avLst/>
          </a:prstGeom>
          <a:noFill/>
        </p:spPr>
        <p:txBody>
          <a:bodyPr vert="horz" lIns="0" tIns="0" rIns="0" bIns="0" numCol="2" rtlCol="0" anchor="ctr">
            <a:normAutofit lnSpcReduction="100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600" marR="0" lvl="1" indent="-342900" algn="l" defTabSz="914400" rtl="0" eaLnBrk="1" fontAlgn="b" latinLnBrk="0" hangingPunct="1">
              <a:lnSpc>
                <a:spcPct val="100000"/>
              </a:lnSpc>
              <a:spcBef>
                <a:spcPts val="600"/>
              </a:spcBef>
              <a:spcAft>
                <a:spcPts val="0"/>
              </a:spcAft>
              <a:buClr>
                <a:srgbClr val="0070AD"/>
              </a:buClr>
              <a:buSzTx/>
              <a:buFont typeface="Arial" panose="020B0604020202020204" pitchFamily="34" charset="0"/>
              <a:buChar char="•"/>
              <a:tabLst/>
              <a:defRPr/>
            </a:pPr>
            <a:r>
              <a:rPr kumimoji="0" lang="en-US" sz="1400" b="1" i="0" u="none" strike="noStrike" kern="1200" cap="none" spc="0" normalizeH="0" baseline="0" noProof="0" dirty="0">
                <a:ln>
                  <a:noFill/>
                </a:ln>
                <a:solidFill>
                  <a:srgbClr val="FFFFFF"/>
                </a:solidFill>
                <a:effectLst/>
                <a:uLnTx/>
                <a:uFillTx/>
                <a:latin typeface="Ubuntu Medium"/>
                <a:ea typeface="+mn-ea"/>
                <a:cs typeface="+mn-cs"/>
              </a:rPr>
              <a:t>Data Search</a:t>
            </a:r>
            <a:endParaRPr kumimoji="0" lang="nb-NO" sz="1400" b="1" i="0" u="none" strike="noStrike" kern="1200" cap="none" spc="0" normalizeH="0" baseline="0" noProof="0" dirty="0">
              <a:ln>
                <a:noFill/>
              </a:ln>
              <a:solidFill>
                <a:srgbClr val="FFFFFF"/>
              </a:solidFill>
              <a:effectLst/>
              <a:uLnTx/>
              <a:uFillTx/>
              <a:latin typeface="Ubuntu Medium"/>
              <a:ea typeface="+mn-ea"/>
              <a:cs typeface="+mn-cs"/>
            </a:endParaRPr>
          </a:p>
          <a:p>
            <a:pPr marL="609600" marR="0" lvl="1" indent="-342900" algn="l" defTabSz="914400" rtl="0" eaLnBrk="1" fontAlgn="b" latinLnBrk="0" hangingPunct="1">
              <a:lnSpc>
                <a:spcPct val="100000"/>
              </a:lnSpc>
              <a:spcBef>
                <a:spcPts val="600"/>
              </a:spcBef>
              <a:spcAft>
                <a:spcPts val="0"/>
              </a:spcAft>
              <a:buClr>
                <a:srgbClr val="0070AD"/>
              </a:buClr>
              <a:buSzTx/>
              <a:buFont typeface="Arial" panose="020B0604020202020204" pitchFamily="34" charset="0"/>
              <a:buChar char="•"/>
              <a:tabLst/>
              <a:defRPr/>
            </a:pPr>
            <a:r>
              <a:rPr kumimoji="0" lang="en-US" sz="1400" b="1" i="0" u="none" strike="noStrike" kern="1200" cap="none" spc="0" normalizeH="0" baseline="0" noProof="0" dirty="0">
                <a:ln>
                  <a:noFill/>
                </a:ln>
                <a:solidFill>
                  <a:srgbClr val="FFFFFF"/>
                </a:solidFill>
                <a:effectLst/>
                <a:uLnTx/>
                <a:uFillTx/>
                <a:latin typeface="Ubuntu Medium"/>
                <a:ea typeface="+mn-ea"/>
                <a:cs typeface="+mn-cs"/>
              </a:rPr>
              <a:t>Data profiling</a:t>
            </a:r>
            <a:endParaRPr kumimoji="0" lang="nb-NO" sz="1400" b="1" i="0" u="none" strike="noStrike" kern="1200" cap="none" spc="0" normalizeH="0" baseline="0" noProof="0" dirty="0">
              <a:ln>
                <a:noFill/>
              </a:ln>
              <a:solidFill>
                <a:srgbClr val="FFFFFF"/>
              </a:solidFill>
              <a:effectLst/>
              <a:uLnTx/>
              <a:uFillTx/>
              <a:latin typeface="Ubuntu Medium"/>
              <a:ea typeface="+mn-ea"/>
              <a:cs typeface="+mn-cs"/>
            </a:endParaRPr>
          </a:p>
          <a:p>
            <a:pPr marL="609600" marR="0" lvl="1" indent="-342900" algn="l" defTabSz="914400" rtl="0" eaLnBrk="1" fontAlgn="b" latinLnBrk="0" hangingPunct="1">
              <a:lnSpc>
                <a:spcPct val="100000"/>
              </a:lnSpc>
              <a:spcBef>
                <a:spcPts val="600"/>
              </a:spcBef>
              <a:spcAft>
                <a:spcPts val="0"/>
              </a:spcAft>
              <a:buClr>
                <a:srgbClr val="0070AD"/>
              </a:buClr>
              <a:buSzTx/>
              <a:buFont typeface="Arial" panose="020B0604020202020204" pitchFamily="34" charset="0"/>
              <a:buChar char="•"/>
              <a:tabLst/>
              <a:defRPr/>
            </a:pPr>
            <a:r>
              <a:rPr kumimoji="0" lang="en-US" sz="1400" b="1" i="0" u="none" strike="noStrike" kern="1200" cap="none" spc="0" normalizeH="0" baseline="0" noProof="0" dirty="0">
                <a:ln>
                  <a:noFill/>
                </a:ln>
                <a:solidFill>
                  <a:srgbClr val="FFFFFF"/>
                </a:solidFill>
                <a:effectLst/>
                <a:uLnTx/>
                <a:uFillTx/>
                <a:latin typeface="Ubuntu Medium"/>
                <a:ea typeface="+mn-ea"/>
                <a:cs typeface="+mn-cs"/>
              </a:rPr>
              <a:t>Data Linage and Usage</a:t>
            </a:r>
            <a:endParaRPr kumimoji="0" lang="nb-NO" sz="1400" b="1" i="0" u="none" strike="noStrike" kern="1200" cap="none" spc="0" normalizeH="0" baseline="0" noProof="0" dirty="0">
              <a:ln>
                <a:noFill/>
              </a:ln>
              <a:solidFill>
                <a:srgbClr val="FFFFFF"/>
              </a:solidFill>
              <a:effectLst/>
              <a:uLnTx/>
              <a:uFillTx/>
              <a:latin typeface="Ubuntu Medium"/>
              <a:ea typeface="+mn-ea"/>
              <a:cs typeface="+mn-cs"/>
            </a:endParaRPr>
          </a:p>
          <a:p>
            <a:pPr marL="609600" marR="0" lvl="1" indent="-342900" algn="l" defTabSz="914400" rtl="0" eaLnBrk="1" fontAlgn="b" latinLnBrk="0" hangingPunct="1">
              <a:lnSpc>
                <a:spcPct val="100000"/>
              </a:lnSpc>
              <a:spcBef>
                <a:spcPts val="600"/>
              </a:spcBef>
              <a:spcAft>
                <a:spcPts val="0"/>
              </a:spcAft>
              <a:buClr>
                <a:srgbClr val="0070AD"/>
              </a:buClr>
              <a:buSzTx/>
              <a:buFont typeface="Arial" panose="020B0604020202020204" pitchFamily="34" charset="0"/>
              <a:buChar char="•"/>
              <a:tabLst/>
              <a:defRPr/>
            </a:pPr>
            <a:r>
              <a:rPr kumimoji="0" lang="en-US" sz="1400" b="1" i="0" u="none" strike="noStrike" kern="1200" cap="none" spc="0" normalizeH="0" baseline="0" noProof="0" dirty="0">
                <a:ln>
                  <a:noFill/>
                </a:ln>
                <a:solidFill>
                  <a:srgbClr val="FFFFFF"/>
                </a:solidFill>
                <a:effectLst/>
                <a:uLnTx/>
                <a:uFillTx/>
                <a:latin typeface="Ubuntu Medium"/>
                <a:ea typeface="+mn-ea"/>
                <a:cs typeface="+mn-cs"/>
              </a:rPr>
              <a:t>Data Recommendations</a:t>
            </a:r>
            <a:endParaRPr kumimoji="0" lang="nb-NO" sz="1400" b="1" i="0" u="none" strike="noStrike" kern="1200" cap="none" spc="0" normalizeH="0" baseline="0" noProof="0" dirty="0">
              <a:ln>
                <a:noFill/>
              </a:ln>
              <a:solidFill>
                <a:srgbClr val="FFFFFF"/>
              </a:solidFill>
              <a:effectLst/>
              <a:uLnTx/>
              <a:uFillTx/>
              <a:latin typeface="Ubuntu Medium"/>
              <a:ea typeface="+mn-ea"/>
              <a:cs typeface="+mn-cs"/>
            </a:endParaRPr>
          </a:p>
          <a:p>
            <a:pPr marL="609600" marR="0" lvl="1" indent="-342900" algn="l" defTabSz="914400" rtl="0" eaLnBrk="1" fontAlgn="b" latinLnBrk="0" hangingPunct="1">
              <a:lnSpc>
                <a:spcPct val="100000"/>
              </a:lnSpc>
              <a:spcBef>
                <a:spcPts val="600"/>
              </a:spcBef>
              <a:spcAft>
                <a:spcPts val="0"/>
              </a:spcAft>
              <a:buClr>
                <a:srgbClr val="0070A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Ubuntu Medium"/>
                <a:ea typeface="+mn-ea"/>
                <a:cs typeface="+mn-cs"/>
              </a:rPr>
              <a:t>Publish to popular targets </a:t>
            </a:r>
          </a:p>
          <a:p>
            <a:pPr marL="609600" marR="0" lvl="1" indent="-342900" algn="l" defTabSz="914400" rtl="0" eaLnBrk="1" fontAlgn="b" latinLnBrk="0" hangingPunct="1">
              <a:lnSpc>
                <a:spcPct val="100000"/>
              </a:lnSpc>
              <a:spcBef>
                <a:spcPts val="600"/>
              </a:spcBef>
              <a:spcAft>
                <a:spcPts val="0"/>
              </a:spcAft>
              <a:buClr>
                <a:srgbClr val="0070A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Ubuntu Medium"/>
                <a:ea typeface="+mn-ea"/>
                <a:cs typeface="+mn-cs"/>
              </a:rPr>
              <a:t>Intelligent Propagation</a:t>
            </a:r>
            <a:endParaRPr kumimoji="0" lang="nb-NO" sz="1400" b="0" i="0" u="none" strike="noStrike" kern="1200" cap="none" spc="0" normalizeH="0" baseline="0" noProof="0" dirty="0">
              <a:ln>
                <a:noFill/>
              </a:ln>
              <a:solidFill>
                <a:srgbClr val="FFFFFF"/>
              </a:solidFill>
              <a:effectLst/>
              <a:uLnTx/>
              <a:uFillTx/>
              <a:latin typeface="Ubuntu Medium"/>
              <a:ea typeface="+mn-ea"/>
              <a:cs typeface="+mn-cs"/>
            </a:endParaRPr>
          </a:p>
          <a:p>
            <a:pPr marL="609600" marR="0" lvl="1" indent="-342900" algn="l" defTabSz="914400" rtl="0" eaLnBrk="1" fontAlgn="b" latinLnBrk="0" hangingPunct="1">
              <a:lnSpc>
                <a:spcPct val="100000"/>
              </a:lnSpc>
              <a:spcBef>
                <a:spcPts val="600"/>
              </a:spcBef>
              <a:spcAft>
                <a:spcPts val="0"/>
              </a:spcAft>
              <a:buClr>
                <a:srgbClr val="0070A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Ubuntu Medium"/>
                <a:ea typeface="+mn-ea"/>
                <a:cs typeface="+mn-cs"/>
              </a:rPr>
              <a:t>User Collaboration and Crowdsourcing </a:t>
            </a:r>
            <a:endParaRPr kumimoji="0" lang="nb-NO" sz="1400" b="0" i="0" u="none" strike="noStrike" kern="1200" cap="none" spc="0" normalizeH="0" baseline="0" noProof="0" dirty="0">
              <a:ln>
                <a:noFill/>
              </a:ln>
              <a:solidFill>
                <a:srgbClr val="FFFFFF"/>
              </a:solidFill>
              <a:effectLst/>
              <a:uLnTx/>
              <a:uFillTx/>
              <a:latin typeface="Ubuntu Medium"/>
              <a:ea typeface="+mn-ea"/>
              <a:cs typeface="+mn-cs"/>
            </a:endParaRPr>
          </a:p>
          <a:p>
            <a:pPr marL="609600" marR="0" lvl="1" indent="-342900" algn="l" defTabSz="914400" rtl="0" eaLnBrk="1" fontAlgn="b" latinLnBrk="0" hangingPunct="1">
              <a:lnSpc>
                <a:spcPct val="100000"/>
              </a:lnSpc>
              <a:spcBef>
                <a:spcPts val="600"/>
              </a:spcBef>
              <a:spcAft>
                <a:spcPts val="0"/>
              </a:spcAft>
              <a:buClr>
                <a:srgbClr val="0070A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Ubuntu Medium"/>
                <a:ea typeface="+mn-ea"/>
                <a:cs typeface="+mn-cs"/>
              </a:rPr>
              <a:t>Business Glossary</a:t>
            </a:r>
            <a:endParaRPr kumimoji="0" lang="nb-NO" sz="1400" b="0" i="0" u="none" strike="noStrike" kern="1200" cap="none" spc="0" normalizeH="0" baseline="0" noProof="0" dirty="0">
              <a:ln>
                <a:noFill/>
              </a:ln>
              <a:solidFill>
                <a:srgbClr val="FFFFFF"/>
              </a:solidFill>
              <a:effectLst/>
              <a:uLnTx/>
              <a:uFillTx/>
              <a:latin typeface="Ubuntu Medium"/>
              <a:ea typeface="+mn-ea"/>
              <a:cs typeface="+mn-cs"/>
            </a:endParaRPr>
          </a:p>
          <a:p>
            <a:pPr marL="609600" marR="0" lvl="1" indent="-342900" algn="l" defTabSz="914400" rtl="0" eaLnBrk="1" fontAlgn="b" latinLnBrk="0" hangingPunct="1">
              <a:lnSpc>
                <a:spcPct val="100000"/>
              </a:lnSpc>
              <a:spcBef>
                <a:spcPts val="600"/>
              </a:spcBef>
              <a:spcAft>
                <a:spcPts val="0"/>
              </a:spcAft>
              <a:buClr>
                <a:srgbClr val="0070A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Ubuntu Medium"/>
                <a:ea typeface="+mn-ea"/>
                <a:cs typeface="+mn-cs"/>
              </a:rPr>
              <a:t>Rule Management</a:t>
            </a:r>
            <a:endParaRPr kumimoji="0" lang="nb-NO" sz="1400" b="0" i="0" u="none" strike="noStrike" kern="1200" cap="none" spc="0" normalizeH="0" baseline="0" noProof="0" dirty="0">
              <a:ln>
                <a:noFill/>
              </a:ln>
              <a:solidFill>
                <a:srgbClr val="FFFFFF"/>
              </a:solidFill>
              <a:effectLst/>
              <a:uLnTx/>
              <a:uFillTx/>
              <a:latin typeface="Ubuntu Medium"/>
              <a:ea typeface="+mn-ea"/>
              <a:cs typeface="+mn-cs"/>
            </a:endParaRPr>
          </a:p>
          <a:p>
            <a:pPr marL="609600" marR="0" lvl="1" indent="-342900" algn="l" defTabSz="914400" rtl="0" eaLnBrk="1" fontAlgn="b" latinLnBrk="0" hangingPunct="1">
              <a:lnSpc>
                <a:spcPct val="100000"/>
              </a:lnSpc>
              <a:spcBef>
                <a:spcPts val="600"/>
              </a:spcBef>
              <a:spcAft>
                <a:spcPts val="0"/>
              </a:spcAft>
              <a:buClr>
                <a:srgbClr val="0070AD"/>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Ubuntu Medium"/>
                <a:ea typeface="+mn-ea"/>
                <a:cs typeface="+mn-cs"/>
              </a:rPr>
              <a:t>Impact Analysis</a:t>
            </a:r>
            <a:endParaRPr kumimoji="0" lang="en-US" sz="1400" b="0" i="0" u="none" strike="noStrike" kern="1200" cap="none" spc="0" normalizeH="0" baseline="0" noProof="0" dirty="0">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30375871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886738-A406-4711-90F4-591BF3768E35}"/>
              </a:ext>
            </a:extLst>
          </p:cNvPr>
          <p:cNvPicPr>
            <a:picLocks noChangeAspect="1"/>
          </p:cNvPicPr>
          <p:nvPr/>
        </p:nvPicPr>
        <p:blipFill>
          <a:blip r:embed="rId2"/>
          <a:stretch>
            <a:fillRect/>
          </a:stretch>
        </p:blipFill>
        <p:spPr>
          <a:xfrm>
            <a:off x="0" y="88290"/>
            <a:ext cx="12192000" cy="6681420"/>
          </a:xfrm>
          <a:prstGeom prst="rect">
            <a:avLst/>
          </a:prstGeom>
        </p:spPr>
      </p:pic>
    </p:spTree>
    <p:extLst>
      <p:ext uri="{BB962C8B-B14F-4D97-AF65-F5344CB8AC3E}">
        <p14:creationId xmlns:p14="http://schemas.microsoft.com/office/powerpoint/2010/main" val="34252430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390CD8-AF46-4614-8D88-9389B27374E4}"/>
              </a:ext>
            </a:extLst>
          </p:cNvPr>
          <p:cNvPicPr>
            <a:picLocks noChangeAspect="1"/>
          </p:cNvPicPr>
          <p:nvPr/>
        </p:nvPicPr>
        <p:blipFill>
          <a:blip r:embed="rId2"/>
          <a:stretch>
            <a:fillRect/>
          </a:stretch>
        </p:blipFill>
        <p:spPr>
          <a:xfrm>
            <a:off x="0" y="1197"/>
            <a:ext cx="12192000" cy="6855606"/>
          </a:xfrm>
          <a:prstGeom prst="rect">
            <a:avLst/>
          </a:prstGeom>
        </p:spPr>
      </p:pic>
    </p:spTree>
    <p:extLst>
      <p:ext uri="{BB962C8B-B14F-4D97-AF65-F5344CB8AC3E}">
        <p14:creationId xmlns:p14="http://schemas.microsoft.com/office/powerpoint/2010/main" val="32790889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6E23F5-1036-4072-9531-D06E5081F567}"/>
              </a:ext>
            </a:extLst>
          </p:cNvPr>
          <p:cNvPicPr>
            <a:picLocks noChangeAspect="1"/>
          </p:cNvPicPr>
          <p:nvPr/>
        </p:nvPicPr>
        <p:blipFill>
          <a:blip r:embed="rId2"/>
          <a:stretch>
            <a:fillRect/>
          </a:stretch>
        </p:blipFill>
        <p:spPr>
          <a:xfrm>
            <a:off x="0" y="350637"/>
            <a:ext cx="12192000" cy="6156726"/>
          </a:xfrm>
          <a:prstGeom prst="rect">
            <a:avLst/>
          </a:prstGeom>
        </p:spPr>
      </p:pic>
    </p:spTree>
    <p:extLst>
      <p:ext uri="{BB962C8B-B14F-4D97-AF65-F5344CB8AC3E}">
        <p14:creationId xmlns:p14="http://schemas.microsoft.com/office/powerpoint/2010/main" val="1223343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C25624-EDC9-4C18-B577-E9D6427AA2DA}"/>
              </a:ext>
            </a:extLst>
          </p:cNvPr>
          <p:cNvPicPr>
            <a:picLocks noChangeAspect="1"/>
          </p:cNvPicPr>
          <p:nvPr/>
        </p:nvPicPr>
        <p:blipFill>
          <a:blip r:embed="rId2"/>
          <a:stretch>
            <a:fillRect/>
          </a:stretch>
        </p:blipFill>
        <p:spPr>
          <a:xfrm>
            <a:off x="548337" y="0"/>
            <a:ext cx="11095325" cy="6858000"/>
          </a:xfrm>
          <a:prstGeom prst="rect">
            <a:avLst/>
          </a:prstGeom>
        </p:spPr>
      </p:pic>
    </p:spTree>
    <p:extLst>
      <p:ext uri="{BB962C8B-B14F-4D97-AF65-F5344CB8AC3E}">
        <p14:creationId xmlns:p14="http://schemas.microsoft.com/office/powerpoint/2010/main" val="16738718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943541D-A4DA-4B1D-9DE3-7CFC52B21143}"/>
              </a:ext>
            </a:extLst>
          </p:cNvPr>
          <p:cNvSpPr>
            <a:spLocks noGrp="1"/>
          </p:cNvSpPr>
          <p:nvPr>
            <p:ph type="pic" sz="quarter" idx="10"/>
          </p:nvPr>
        </p:nvSpPr>
        <p:spPr/>
      </p:sp>
      <p:sp>
        <p:nvSpPr>
          <p:cNvPr id="3" name="Title 2">
            <a:extLst>
              <a:ext uri="{FF2B5EF4-FFF2-40B4-BE49-F238E27FC236}">
                <a16:creationId xmlns:a16="http://schemas.microsoft.com/office/drawing/2014/main" id="{4437AD06-E41E-41FC-92BF-AABFD64E044E}"/>
              </a:ext>
            </a:extLst>
          </p:cNvPr>
          <p:cNvSpPr>
            <a:spLocks noGrp="1"/>
          </p:cNvSpPr>
          <p:nvPr>
            <p:ph type="title"/>
          </p:nvPr>
        </p:nvSpPr>
        <p:spPr/>
        <p:txBody>
          <a:bodyPr/>
          <a:lstStyle/>
          <a:p>
            <a:r>
              <a:rPr lang="en-US" dirty="0">
                <a:solidFill>
                  <a:schemeClr val="bg1"/>
                </a:solidFill>
              </a:rPr>
              <a:t>Agenda</a:t>
            </a:r>
          </a:p>
        </p:txBody>
      </p:sp>
      <p:sp>
        <p:nvSpPr>
          <p:cNvPr id="4" name="Text Placeholder 3">
            <a:extLst>
              <a:ext uri="{FF2B5EF4-FFF2-40B4-BE49-F238E27FC236}">
                <a16:creationId xmlns:a16="http://schemas.microsoft.com/office/drawing/2014/main" id="{54D9BA4E-7CF7-41B7-B542-751AA08786AA}"/>
              </a:ext>
            </a:extLst>
          </p:cNvPr>
          <p:cNvSpPr>
            <a:spLocks noGrp="1"/>
          </p:cNvSpPr>
          <p:nvPr>
            <p:ph type="body" sz="quarter" idx="11"/>
          </p:nvPr>
        </p:nvSpPr>
        <p:spPr>
          <a:xfrm>
            <a:off x="404813" y="2691245"/>
            <a:ext cx="6627290" cy="3221182"/>
          </a:xfrm>
        </p:spPr>
        <p:txBody>
          <a:bodyPr>
            <a:normAutofit/>
          </a:bodyPr>
          <a:lstStyle/>
          <a:p>
            <a:r>
              <a:rPr lang="en-US" dirty="0">
                <a:solidFill>
                  <a:schemeClr val="bg1"/>
                </a:solidFill>
              </a:rPr>
              <a:t>What is Data Governance?</a:t>
            </a:r>
          </a:p>
          <a:p>
            <a:endParaRPr lang="en-US" dirty="0">
              <a:solidFill>
                <a:schemeClr val="bg1"/>
              </a:solidFill>
            </a:endParaRPr>
          </a:p>
          <a:p>
            <a:r>
              <a:rPr lang="en-US" dirty="0">
                <a:solidFill>
                  <a:schemeClr val="bg1"/>
                </a:solidFill>
              </a:rPr>
              <a:t>The different governance domains</a:t>
            </a:r>
          </a:p>
          <a:p>
            <a:endParaRPr lang="en-US" dirty="0">
              <a:solidFill>
                <a:schemeClr val="bg1"/>
              </a:solidFill>
            </a:endParaRPr>
          </a:p>
          <a:p>
            <a:r>
              <a:rPr lang="en-US" dirty="0">
                <a:solidFill>
                  <a:schemeClr val="bg1"/>
                </a:solidFill>
              </a:rPr>
              <a:t>Why Should You Care?</a:t>
            </a:r>
          </a:p>
        </p:txBody>
      </p:sp>
      <p:sp>
        <p:nvSpPr>
          <p:cNvPr id="6" name="TextBox 5">
            <a:extLst>
              <a:ext uri="{FF2B5EF4-FFF2-40B4-BE49-F238E27FC236}">
                <a16:creationId xmlns:a16="http://schemas.microsoft.com/office/drawing/2014/main" id="{5B90375F-4127-4BB5-A657-7C039D782C4E}"/>
              </a:ext>
            </a:extLst>
          </p:cNvPr>
          <p:cNvSpPr txBox="1"/>
          <p:nvPr/>
        </p:nvSpPr>
        <p:spPr>
          <a:xfrm>
            <a:off x="7798225" y="3198167"/>
            <a:ext cx="3639138" cy="461665"/>
          </a:xfrm>
          <a:prstGeom prst="rect">
            <a:avLst/>
          </a:prstGeom>
          <a:noFill/>
        </p:spPr>
        <p:txBody>
          <a:bodyPr wrap="none" rtlCol="0">
            <a:spAutoFit/>
          </a:bodyPr>
          <a:lstStyle/>
          <a:p>
            <a:r>
              <a:rPr lang="en-US" sz="2400" b="1" dirty="0">
                <a:solidFill>
                  <a:schemeClr val="accent1"/>
                </a:solidFill>
              </a:rPr>
              <a:t>Demo of Azure </a:t>
            </a:r>
            <a:r>
              <a:rPr lang="en-US" sz="2400" b="1">
                <a:solidFill>
                  <a:schemeClr val="accent1"/>
                </a:solidFill>
              </a:rPr>
              <a:t>Purview</a:t>
            </a:r>
            <a:endParaRPr lang="en-US" sz="2400" b="1" dirty="0">
              <a:solidFill>
                <a:schemeClr val="accent1"/>
              </a:solidFill>
            </a:endParaRPr>
          </a:p>
        </p:txBody>
      </p:sp>
      <p:pic>
        <p:nvPicPr>
          <p:cNvPr id="7" name="Image 17">
            <a:extLst>
              <a:ext uri="{FF2B5EF4-FFF2-40B4-BE49-F238E27FC236}">
                <a16:creationId xmlns:a16="http://schemas.microsoft.com/office/drawing/2014/main" id="{2C231594-B0DE-476A-B824-B87F45E4A8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1329064">
            <a:off x="594229" y="-8281"/>
            <a:ext cx="10948478" cy="7739913"/>
          </a:xfrm>
          <a:prstGeom prst="rect">
            <a:avLst/>
          </a:prstGeom>
        </p:spPr>
      </p:pic>
    </p:spTree>
    <p:extLst>
      <p:ext uri="{BB962C8B-B14F-4D97-AF65-F5344CB8AC3E}">
        <p14:creationId xmlns:p14="http://schemas.microsoft.com/office/powerpoint/2010/main" val="28728449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9C9A947-F65F-4A41-8509-C8F8AB29B29D}"/>
              </a:ext>
            </a:extLst>
          </p:cNvPr>
          <p:cNvPicPr>
            <a:picLocks noChangeAspect="1"/>
          </p:cNvPicPr>
          <p:nvPr/>
        </p:nvPicPr>
        <p:blipFill>
          <a:blip r:embed="rId2"/>
          <a:stretch>
            <a:fillRect/>
          </a:stretch>
        </p:blipFill>
        <p:spPr>
          <a:xfrm>
            <a:off x="0" y="18294"/>
            <a:ext cx="12192000" cy="6821411"/>
          </a:xfrm>
          <a:prstGeom prst="rect">
            <a:avLst/>
          </a:prstGeom>
        </p:spPr>
      </p:pic>
    </p:spTree>
    <p:extLst>
      <p:ext uri="{BB962C8B-B14F-4D97-AF65-F5344CB8AC3E}">
        <p14:creationId xmlns:p14="http://schemas.microsoft.com/office/powerpoint/2010/main" val="15653336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B45FA-847C-4E9D-9896-2CF6D7B4AFBB}"/>
              </a:ext>
            </a:extLst>
          </p:cNvPr>
          <p:cNvSpPr>
            <a:spLocks noGrp="1"/>
          </p:cNvSpPr>
          <p:nvPr>
            <p:ph type="body" sz="quarter" idx="10"/>
          </p:nvPr>
        </p:nvSpPr>
        <p:spPr>
          <a:xfrm>
            <a:off x="6456039" y="1543543"/>
            <a:ext cx="5331148" cy="2821562"/>
          </a:xfrm>
          <a:prstGeom prst="roundRect">
            <a:avLst/>
          </a:prstGeom>
          <a:solidFill>
            <a:srgbClr val="CCE9AD"/>
          </a:solidFill>
        </p:spPr>
        <p:txBody>
          <a:bodyPr anchor="ctr">
            <a:normAutofit/>
          </a:bodyPr>
          <a:lstStyle/>
          <a:p>
            <a:pPr lvl="1" indent="0" algn="ctr">
              <a:buNone/>
            </a:pPr>
            <a:r>
              <a:rPr lang="en-US" sz="1600" b="1"/>
              <a:t>WHY?</a:t>
            </a:r>
          </a:p>
          <a:p>
            <a:pPr marL="520700" lvl="1" indent="-342900">
              <a:buFont typeface="Arial" panose="020B0604020202020204" pitchFamily="34" charset="0"/>
              <a:buChar char="•"/>
            </a:pPr>
            <a:r>
              <a:rPr lang="en-US" sz="1600"/>
              <a:t>Used to define and locate data in the organization</a:t>
            </a:r>
          </a:p>
          <a:p>
            <a:pPr marL="520700" lvl="1" indent="-342900">
              <a:buFont typeface="Arial" panose="020B0604020202020204" pitchFamily="34" charset="0"/>
              <a:buChar char="•"/>
            </a:pPr>
            <a:r>
              <a:rPr lang="en-US" sz="1600"/>
              <a:t>Common understanding</a:t>
            </a:r>
          </a:p>
          <a:p>
            <a:pPr marL="520700" lvl="1" indent="-342900">
              <a:buFont typeface="Arial" panose="020B0604020202020204" pitchFamily="34" charset="0"/>
              <a:buChar char="•"/>
            </a:pPr>
            <a:r>
              <a:rPr lang="en-US" sz="1600"/>
              <a:t>Reduce risk that data will be misused</a:t>
            </a:r>
          </a:p>
          <a:p>
            <a:pPr marL="520700" lvl="1" indent="-342900">
              <a:buFont typeface="Arial" panose="020B0604020202020204" pitchFamily="34" charset="0"/>
              <a:buChar char="•"/>
            </a:pPr>
            <a:r>
              <a:rPr lang="en-US" sz="1600"/>
              <a:t>Improve alignment between technology and business</a:t>
            </a:r>
          </a:p>
          <a:p>
            <a:pPr marL="520700" lvl="1" indent="-342900">
              <a:buFont typeface="Arial" panose="020B0604020202020204" pitchFamily="34" charset="0"/>
              <a:buChar char="•"/>
            </a:pPr>
            <a:r>
              <a:rPr lang="en-US" sz="1600"/>
              <a:t>Optimize identification</a:t>
            </a:r>
          </a:p>
        </p:txBody>
      </p:sp>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a:noFill/>
        </p:spPr>
        <p:txBody>
          <a:bodyPr/>
          <a:lstStyle/>
          <a:p>
            <a:r>
              <a:rPr lang="en-US">
                <a:solidFill>
                  <a:schemeClr val="bg1"/>
                </a:solidFill>
              </a:rPr>
              <a:t>Business glossary</a:t>
            </a:r>
          </a:p>
        </p:txBody>
      </p:sp>
      <p:pic>
        <p:nvPicPr>
          <p:cNvPr id="8" name="Graphic 7" descr="Calligraphy Pen with solid fill">
            <a:extLst>
              <a:ext uri="{FF2B5EF4-FFF2-40B4-BE49-F238E27FC236}">
                <a16:creationId xmlns:a16="http://schemas.microsoft.com/office/drawing/2014/main" id="{2AFD645D-FB02-4082-9EF3-54FBF21F63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63752" y="613364"/>
            <a:ext cx="457826" cy="457826"/>
          </a:xfrm>
          <a:prstGeom prst="rect">
            <a:avLst/>
          </a:prstGeom>
        </p:spPr>
      </p:pic>
      <p:sp>
        <p:nvSpPr>
          <p:cNvPr id="11" name="Rectangle: Rounded Corners 10">
            <a:extLst>
              <a:ext uri="{FF2B5EF4-FFF2-40B4-BE49-F238E27FC236}">
                <a16:creationId xmlns:a16="http://schemas.microsoft.com/office/drawing/2014/main" id="{64436704-FE11-4667-ACD5-9AD411EB4D86}"/>
              </a:ext>
            </a:extLst>
          </p:cNvPr>
          <p:cNvSpPr/>
          <p:nvPr/>
        </p:nvSpPr>
        <p:spPr>
          <a:xfrm>
            <a:off x="404813" y="1543542"/>
            <a:ext cx="5475163" cy="282156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WHAT?</a:t>
            </a:r>
          </a:p>
          <a:p>
            <a:pPr algn="ctr"/>
            <a:endParaRPr lang="en-US" sz="1600" b="1">
              <a:solidFill>
                <a:schemeClr val="bg1"/>
              </a:solidFill>
            </a:endParaRPr>
          </a:p>
          <a:p>
            <a:pPr algn="ctr"/>
            <a:r>
              <a:rPr lang="en-US" sz="1600">
                <a:solidFill>
                  <a:schemeClr val="tx1"/>
                </a:solidFill>
              </a:rPr>
              <a:t>A business glossary is a list of business terms and their definitions that organizations use to ensure the same definitions are used company-wide when analyzing data.</a:t>
            </a:r>
          </a:p>
        </p:txBody>
      </p:sp>
      <p:pic>
        <p:nvPicPr>
          <p:cNvPr id="7" name="Graphic 6" descr="Storytelling with solid fill">
            <a:extLst>
              <a:ext uri="{FF2B5EF4-FFF2-40B4-BE49-F238E27FC236}">
                <a16:creationId xmlns:a16="http://schemas.microsoft.com/office/drawing/2014/main" id="{3EE919DC-2629-4E61-BFCC-86D7D9BED7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18859" y="4521109"/>
            <a:ext cx="1354282" cy="1354282"/>
          </a:xfrm>
          <a:prstGeom prst="rect">
            <a:avLst/>
          </a:prstGeom>
        </p:spPr>
      </p:pic>
      <p:pic>
        <p:nvPicPr>
          <p:cNvPr id="5" name="Graphic 4" descr="Magnifying glass with solid fill">
            <a:extLst>
              <a:ext uri="{FF2B5EF4-FFF2-40B4-BE49-F238E27FC236}">
                <a16:creationId xmlns:a16="http://schemas.microsoft.com/office/drawing/2014/main" id="{E1C59BB1-2506-4223-B6B8-2BCF4C554B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99909" y="5080486"/>
            <a:ext cx="689264" cy="689264"/>
          </a:xfrm>
          <a:prstGeom prst="rect">
            <a:avLst/>
          </a:prstGeom>
        </p:spPr>
      </p:pic>
    </p:spTree>
    <p:extLst>
      <p:ext uri="{BB962C8B-B14F-4D97-AF65-F5344CB8AC3E}">
        <p14:creationId xmlns:p14="http://schemas.microsoft.com/office/powerpoint/2010/main" val="368195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bg/>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animBg="1"/>
      <p:bldP spid="1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a:xfrm>
            <a:off x="5303910" y="1362192"/>
            <a:ext cx="1584177" cy="716711"/>
          </a:xfrm>
        </p:spPr>
        <p:txBody>
          <a:bodyPr/>
          <a:lstStyle/>
          <a:p>
            <a:pPr algn="ctr"/>
            <a:r>
              <a:rPr lang="en-US" dirty="0">
                <a:solidFill>
                  <a:schemeClr val="bg1"/>
                </a:solidFill>
              </a:rPr>
              <a:t>DEMO</a:t>
            </a:r>
          </a:p>
        </p:txBody>
      </p:sp>
      <p:sp>
        <p:nvSpPr>
          <p:cNvPr id="6" name="AutoShape 4" descr="Azure Purview: Hitchhikers Guide For Power BI Professionals">
            <a:extLst>
              <a:ext uri="{FF2B5EF4-FFF2-40B4-BE49-F238E27FC236}">
                <a16:creationId xmlns:a16="http://schemas.microsoft.com/office/drawing/2014/main" id="{81D3BC13-8A08-42AD-BC62-4E7C9CC198B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pic>
        <p:nvPicPr>
          <p:cNvPr id="1032" name="Picture 8" descr="New Blog Post | March Ahead w/ Purview: Unify ALL your data using Apache  Atlas open API support - Microsoft Tech Community">
            <a:extLst>
              <a:ext uri="{FF2B5EF4-FFF2-40B4-BE49-F238E27FC236}">
                <a16:creationId xmlns:a16="http://schemas.microsoft.com/office/drawing/2014/main" id="{FB1D56D5-5885-4E61-B814-06443BB24F63}"/>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foregroundMark x1="34504" y1="25926" x2="34504" y2="25926"/>
                        <a14:foregroundMark x1="34504" y1="25926" x2="28926" y2="25617"/>
                        <a14:foregroundMark x1="27686" y1="28395" x2="38430" y2="24074"/>
                        <a14:foregroundMark x1="44835" y1="48148" x2="44835" y2="48148"/>
                        <a14:foregroundMark x1="78306" y1="41358" x2="78306" y2="41358"/>
                        <a14:foregroundMark x1="71281" y1="31790" x2="78099" y2="59877"/>
                        <a14:foregroundMark x1="78099" y1="59877" x2="73967" y2="30556"/>
                        <a14:foregroundMark x1="73967" y1="30556" x2="71901" y2="60802"/>
                        <a14:foregroundMark x1="71901" y1="60802" x2="86777" y2="53086"/>
                        <a14:foregroundMark x1="86777" y1="53086" x2="80579" y2="30247"/>
                        <a14:foregroundMark x1="80579" y1="30247" x2="66736" y2="22531"/>
                        <a14:foregroundMark x1="66736" y1="22531" x2="56612" y2="26543"/>
                        <a14:foregroundMark x1="9917" y1="47222" x2="9917" y2="47222"/>
                      </a14:backgroundRemoval>
                    </a14:imgEffect>
                  </a14:imgLayer>
                </a14:imgProps>
              </a:ext>
              <a:ext uri="{28A0092B-C50C-407E-A947-70E740481C1C}">
                <a14:useLocalDpi xmlns:a14="http://schemas.microsoft.com/office/drawing/2010/main" val="0"/>
              </a:ext>
            </a:extLst>
          </a:blip>
          <a:srcRect/>
          <a:stretch>
            <a:fillRect/>
          </a:stretch>
        </p:blipFill>
        <p:spPr bwMode="auto">
          <a:xfrm>
            <a:off x="4438443" y="2166996"/>
            <a:ext cx="3315114" cy="221920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2921084-B6D0-49DC-881E-533BCEA332EC}"/>
              </a:ext>
            </a:extLst>
          </p:cNvPr>
          <p:cNvSpPr txBox="1"/>
          <p:nvPr/>
        </p:nvSpPr>
        <p:spPr>
          <a:xfrm>
            <a:off x="5114000" y="4386204"/>
            <a:ext cx="196399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Ubuntu"/>
                <a:ea typeface="+mn-ea"/>
                <a:cs typeface="+mn-cs"/>
              </a:rPr>
              <a:t>AZURE PURVIEW</a:t>
            </a:r>
          </a:p>
        </p:txBody>
      </p:sp>
    </p:spTree>
    <p:extLst>
      <p:ext uri="{BB962C8B-B14F-4D97-AF65-F5344CB8AC3E}">
        <p14:creationId xmlns:p14="http://schemas.microsoft.com/office/powerpoint/2010/main" val="3152339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E9562FB5-1BF8-4913-B1E6-A035E6415C32}"/>
              </a:ext>
            </a:extLst>
          </p:cNvPr>
          <p:cNvSpPr/>
          <p:nvPr/>
        </p:nvSpPr>
        <p:spPr>
          <a:xfrm>
            <a:off x="487462" y="4666996"/>
            <a:ext cx="2909454" cy="91185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ysClr val="windowText" lastClr="000000"/>
                </a:solidFill>
              </a:rPr>
              <a:t>Manual corrections when spotted</a:t>
            </a:r>
          </a:p>
        </p:txBody>
      </p:sp>
      <p:sp>
        <p:nvSpPr>
          <p:cNvPr id="18" name="Rectangle: Rounded Corners 17">
            <a:extLst>
              <a:ext uri="{FF2B5EF4-FFF2-40B4-BE49-F238E27FC236}">
                <a16:creationId xmlns:a16="http://schemas.microsoft.com/office/drawing/2014/main" id="{90475A94-1238-44C4-8B27-285A458D56F9}"/>
              </a:ext>
            </a:extLst>
          </p:cNvPr>
          <p:cNvSpPr/>
          <p:nvPr/>
        </p:nvSpPr>
        <p:spPr>
          <a:xfrm>
            <a:off x="4641273" y="4666996"/>
            <a:ext cx="2909454" cy="91185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ysClr val="windowText" lastClr="000000"/>
                </a:solidFill>
              </a:rPr>
              <a:t>Checks and corrections in ETL pipelines</a:t>
            </a:r>
          </a:p>
        </p:txBody>
      </p:sp>
      <p:sp>
        <p:nvSpPr>
          <p:cNvPr id="10" name="Rectangle: Rounded Corners 9">
            <a:extLst>
              <a:ext uri="{FF2B5EF4-FFF2-40B4-BE49-F238E27FC236}">
                <a16:creationId xmlns:a16="http://schemas.microsoft.com/office/drawing/2014/main" id="{75B20682-2F86-4363-B5E8-55B43672CF52}"/>
              </a:ext>
            </a:extLst>
          </p:cNvPr>
          <p:cNvSpPr/>
          <p:nvPr/>
        </p:nvSpPr>
        <p:spPr>
          <a:xfrm>
            <a:off x="8795084" y="4666996"/>
            <a:ext cx="2909454" cy="911851"/>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ysClr val="windowText" lastClr="000000"/>
                </a:solidFill>
              </a:rPr>
              <a:t>Specialized and partly automated data quality solutions</a:t>
            </a:r>
          </a:p>
        </p:txBody>
      </p:sp>
      <p:sp>
        <p:nvSpPr>
          <p:cNvPr id="4" name="Rectangle: Rounded Corners 3">
            <a:extLst>
              <a:ext uri="{FF2B5EF4-FFF2-40B4-BE49-F238E27FC236}">
                <a16:creationId xmlns:a16="http://schemas.microsoft.com/office/drawing/2014/main" id="{1D1593AC-0DB1-48B0-AA39-FF4496D674FE}"/>
              </a:ext>
            </a:extLst>
          </p:cNvPr>
          <p:cNvSpPr/>
          <p:nvPr/>
        </p:nvSpPr>
        <p:spPr>
          <a:xfrm>
            <a:off x="404333" y="3762735"/>
            <a:ext cx="7391731" cy="71671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solidFill>
                  <a:schemeClr val="bg1"/>
                </a:solidFill>
              </a:rPr>
              <a:t>3 archetypes of data quality efforts:</a:t>
            </a:r>
          </a:p>
        </p:txBody>
      </p:sp>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a:solidFill>
                  <a:schemeClr val="bg1"/>
                </a:solidFill>
              </a:rPr>
              <a:t>Data quality</a:t>
            </a:r>
          </a:p>
        </p:txBody>
      </p:sp>
      <p:sp>
        <p:nvSpPr>
          <p:cNvPr id="8" name="Rectangle: Rounded Corners 7">
            <a:extLst>
              <a:ext uri="{FF2B5EF4-FFF2-40B4-BE49-F238E27FC236}">
                <a16:creationId xmlns:a16="http://schemas.microsoft.com/office/drawing/2014/main" id="{7EFD650D-5787-46E6-BE42-C183623E3D9F}"/>
              </a:ext>
            </a:extLst>
          </p:cNvPr>
          <p:cNvSpPr/>
          <p:nvPr/>
        </p:nvSpPr>
        <p:spPr>
          <a:xfrm>
            <a:off x="404333" y="1334781"/>
            <a:ext cx="5475643" cy="1896791"/>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WHAT?</a:t>
            </a:r>
          </a:p>
          <a:p>
            <a:pPr algn="ctr"/>
            <a:r>
              <a:rPr lang="en-US" sz="1600">
                <a:solidFill>
                  <a:schemeClr val="tx1"/>
                </a:solidFill>
              </a:rPr>
              <a:t>Apply quality management techniques to data in order to assure it is for consumption and meets the needs of data consumers</a:t>
            </a:r>
          </a:p>
        </p:txBody>
      </p:sp>
      <p:sp>
        <p:nvSpPr>
          <p:cNvPr id="9" name="Rectangle: Rounded Corners 8">
            <a:extLst>
              <a:ext uri="{FF2B5EF4-FFF2-40B4-BE49-F238E27FC236}">
                <a16:creationId xmlns:a16="http://schemas.microsoft.com/office/drawing/2014/main" id="{9D55179B-2431-4B3F-9FB0-C196D2CD3434}"/>
              </a:ext>
            </a:extLst>
          </p:cNvPr>
          <p:cNvSpPr/>
          <p:nvPr/>
        </p:nvSpPr>
        <p:spPr>
          <a:xfrm>
            <a:off x="6312023" y="1334781"/>
            <a:ext cx="5475643" cy="1896792"/>
          </a:xfrm>
          <a:prstGeom prst="roundRect">
            <a:avLst/>
          </a:prstGeom>
          <a:solidFill>
            <a:srgbClr val="CCE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WHY?</a:t>
            </a:r>
          </a:p>
          <a:p>
            <a:pPr marL="342900" indent="-342900">
              <a:buFont typeface="Arial" panose="020B0604020202020204" pitchFamily="34" charset="0"/>
              <a:buChar char="•"/>
            </a:pPr>
            <a:r>
              <a:rPr lang="en-US" sz="1600">
                <a:solidFill>
                  <a:schemeClr val="tx1"/>
                </a:solidFill>
              </a:rPr>
              <a:t>Accurate, informed decisions</a:t>
            </a:r>
          </a:p>
          <a:p>
            <a:pPr marL="342900" indent="-342900">
              <a:buFont typeface="Arial" panose="020B0604020202020204" pitchFamily="34" charset="0"/>
              <a:buChar char="•"/>
            </a:pPr>
            <a:r>
              <a:rPr lang="en-US" sz="1600">
                <a:solidFill>
                  <a:schemeClr val="tx1"/>
                </a:solidFill>
              </a:rPr>
              <a:t>Decrease risk</a:t>
            </a:r>
          </a:p>
          <a:p>
            <a:pPr marL="342900" indent="-342900">
              <a:buFont typeface="Arial" panose="020B0604020202020204" pitchFamily="34" charset="0"/>
              <a:buChar char="•"/>
            </a:pPr>
            <a:r>
              <a:rPr lang="en-US" sz="1600">
                <a:solidFill>
                  <a:schemeClr val="tx1"/>
                </a:solidFill>
              </a:rPr>
              <a:t>Increase trust</a:t>
            </a:r>
          </a:p>
          <a:p>
            <a:pPr marL="342900" indent="-342900">
              <a:buFont typeface="Arial" panose="020B0604020202020204" pitchFamily="34" charset="0"/>
              <a:buChar char="•"/>
            </a:pPr>
            <a:r>
              <a:rPr lang="en-US" sz="1600">
                <a:solidFill>
                  <a:schemeClr val="tx1"/>
                </a:solidFill>
              </a:rPr>
              <a:t>Reduce operational costs </a:t>
            </a:r>
          </a:p>
        </p:txBody>
      </p:sp>
      <p:grpSp>
        <p:nvGrpSpPr>
          <p:cNvPr id="11" name="Groupe 299">
            <a:extLst>
              <a:ext uri="{FF2B5EF4-FFF2-40B4-BE49-F238E27FC236}">
                <a16:creationId xmlns:a16="http://schemas.microsoft.com/office/drawing/2014/main" id="{F731FE05-39AC-4C04-9B88-E3D1638DA5D3}"/>
              </a:ext>
            </a:extLst>
          </p:cNvPr>
          <p:cNvGrpSpPr/>
          <p:nvPr/>
        </p:nvGrpSpPr>
        <p:grpSpPr>
          <a:xfrm>
            <a:off x="2999656" y="767957"/>
            <a:ext cx="432048" cy="252027"/>
            <a:chOff x="4572000" y="4300538"/>
            <a:chExt cx="385763" cy="231775"/>
          </a:xfrm>
          <a:noFill/>
        </p:grpSpPr>
        <p:sp>
          <p:nvSpPr>
            <p:cNvPr id="12" name="Freeform 828">
              <a:extLst>
                <a:ext uri="{FF2B5EF4-FFF2-40B4-BE49-F238E27FC236}">
                  <a16:creationId xmlns:a16="http://schemas.microsoft.com/office/drawing/2014/main" id="{FE899CAF-55F4-49D1-9300-AC95FD932537}"/>
                </a:ext>
              </a:extLst>
            </p:cNvPr>
            <p:cNvSpPr>
              <a:spLocks/>
            </p:cNvSpPr>
            <p:nvPr/>
          </p:nvSpPr>
          <p:spPr bwMode="auto">
            <a:xfrm>
              <a:off x="4572000" y="4306888"/>
              <a:ext cx="385763" cy="225425"/>
            </a:xfrm>
            <a:custGeom>
              <a:avLst/>
              <a:gdLst/>
              <a:ahLst/>
              <a:cxnLst>
                <a:cxn ang="0">
                  <a:pos x="0" y="0"/>
                </a:cxn>
                <a:cxn ang="0">
                  <a:pos x="0" y="142"/>
                </a:cxn>
                <a:cxn ang="0">
                  <a:pos x="243" y="142"/>
                </a:cxn>
              </a:cxnLst>
              <a:rect l="0" t="0" r="r" b="b"/>
              <a:pathLst>
                <a:path w="243" h="142">
                  <a:moveTo>
                    <a:pt x="0" y="0"/>
                  </a:moveTo>
                  <a:lnTo>
                    <a:pt x="0" y="142"/>
                  </a:lnTo>
                  <a:lnTo>
                    <a:pt x="243" y="142"/>
                  </a:lnTo>
                </a:path>
              </a:pathLst>
            </a:custGeom>
            <a:grpFill/>
            <a:ln w="381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3" name="Freeform 829">
              <a:extLst>
                <a:ext uri="{FF2B5EF4-FFF2-40B4-BE49-F238E27FC236}">
                  <a16:creationId xmlns:a16="http://schemas.microsoft.com/office/drawing/2014/main" id="{3C47AAF4-830D-49C3-9394-30F896FE2375}"/>
                </a:ext>
              </a:extLst>
            </p:cNvPr>
            <p:cNvSpPr>
              <a:spLocks/>
            </p:cNvSpPr>
            <p:nvPr/>
          </p:nvSpPr>
          <p:spPr bwMode="auto">
            <a:xfrm>
              <a:off x="4611688" y="4337051"/>
              <a:ext cx="260350" cy="168275"/>
            </a:xfrm>
            <a:custGeom>
              <a:avLst/>
              <a:gdLst/>
              <a:ahLst/>
              <a:cxnLst>
                <a:cxn ang="0">
                  <a:pos x="0" y="106"/>
                </a:cxn>
                <a:cxn ang="0">
                  <a:pos x="48" y="57"/>
                </a:cxn>
                <a:cxn ang="0">
                  <a:pos x="77" y="86"/>
                </a:cxn>
                <a:cxn ang="0">
                  <a:pos x="164" y="0"/>
                </a:cxn>
              </a:cxnLst>
              <a:rect l="0" t="0" r="r" b="b"/>
              <a:pathLst>
                <a:path w="164" h="106">
                  <a:moveTo>
                    <a:pt x="0" y="106"/>
                  </a:moveTo>
                  <a:lnTo>
                    <a:pt x="48" y="57"/>
                  </a:lnTo>
                  <a:lnTo>
                    <a:pt x="77" y="86"/>
                  </a:lnTo>
                  <a:lnTo>
                    <a:pt x="164" y="0"/>
                  </a:lnTo>
                </a:path>
              </a:pathLst>
            </a:custGeom>
            <a:grpFill/>
            <a:ln w="381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4" name="Freeform 831">
              <a:extLst>
                <a:ext uri="{FF2B5EF4-FFF2-40B4-BE49-F238E27FC236}">
                  <a16:creationId xmlns:a16="http://schemas.microsoft.com/office/drawing/2014/main" id="{334665F4-95EE-4F60-9ECF-106B0568C335}"/>
                </a:ext>
              </a:extLst>
            </p:cNvPr>
            <p:cNvSpPr>
              <a:spLocks/>
            </p:cNvSpPr>
            <p:nvPr/>
          </p:nvSpPr>
          <p:spPr bwMode="auto">
            <a:xfrm>
              <a:off x="4829175" y="4300538"/>
              <a:ext cx="74613" cy="77788"/>
            </a:xfrm>
            <a:custGeom>
              <a:avLst/>
              <a:gdLst/>
              <a:ahLst/>
              <a:cxnLst>
                <a:cxn ang="0">
                  <a:pos x="0" y="0"/>
                </a:cxn>
                <a:cxn ang="0">
                  <a:pos x="47" y="0"/>
                </a:cxn>
                <a:cxn ang="0">
                  <a:pos x="47" y="49"/>
                </a:cxn>
              </a:cxnLst>
              <a:rect l="0" t="0" r="r" b="b"/>
              <a:pathLst>
                <a:path w="47" h="49">
                  <a:moveTo>
                    <a:pt x="0" y="0"/>
                  </a:moveTo>
                  <a:lnTo>
                    <a:pt x="47" y="0"/>
                  </a:lnTo>
                  <a:lnTo>
                    <a:pt x="47" y="49"/>
                  </a:lnTo>
                </a:path>
              </a:pathLst>
            </a:custGeom>
            <a:grpFill/>
            <a:ln w="381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sp>
        <p:nvSpPr>
          <p:cNvPr id="6" name="TextBox 5">
            <a:extLst>
              <a:ext uri="{FF2B5EF4-FFF2-40B4-BE49-F238E27FC236}">
                <a16:creationId xmlns:a16="http://schemas.microsoft.com/office/drawing/2014/main" id="{3293B9C1-6EB4-4D58-A5F2-B332148FA900}"/>
              </a:ext>
            </a:extLst>
          </p:cNvPr>
          <p:cNvSpPr txBox="1"/>
          <p:nvPr/>
        </p:nvSpPr>
        <p:spPr>
          <a:xfrm>
            <a:off x="323288" y="4223903"/>
            <a:ext cx="622286" cy="1015663"/>
          </a:xfrm>
          <a:prstGeom prst="rect">
            <a:avLst/>
          </a:prstGeom>
          <a:noFill/>
        </p:spPr>
        <p:txBody>
          <a:bodyPr wrap="none" rtlCol="0">
            <a:spAutoFit/>
          </a:bodyPr>
          <a:lstStyle/>
          <a:p>
            <a:r>
              <a:rPr lang="en-US" sz="6000" b="1" dirty="0">
                <a:solidFill>
                  <a:schemeClr val="bg1"/>
                </a:solidFill>
              </a:rPr>
              <a:t>1</a:t>
            </a:r>
          </a:p>
        </p:txBody>
      </p:sp>
      <p:sp>
        <p:nvSpPr>
          <p:cNvPr id="16" name="TextBox 15">
            <a:extLst>
              <a:ext uri="{FF2B5EF4-FFF2-40B4-BE49-F238E27FC236}">
                <a16:creationId xmlns:a16="http://schemas.microsoft.com/office/drawing/2014/main" id="{BA1BC960-633E-407C-8E27-E195B107C8C2}"/>
              </a:ext>
            </a:extLst>
          </p:cNvPr>
          <p:cNvSpPr txBox="1"/>
          <p:nvPr/>
        </p:nvSpPr>
        <p:spPr>
          <a:xfrm>
            <a:off x="4419323" y="4223902"/>
            <a:ext cx="622286" cy="1015663"/>
          </a:xfrm>
          <a:prstGeom prst="rect">
            <a:avLst/>
          </a:prstGeom>
          <a:noFill/>
        </p:spPr>
        <p:txBody>
          <a:bodyPr wrap="none" rtlCol="0">
            <a:spAutoFit/>
          </a:bodyPr>
          <a:lstStyle/>
          <a:p>
            <a:r>
              <a:rPr lang="en-US" sz="6000" b="1" dirty="0">
                <a:solidFill>
                  <a:schemeClr val="bg1"/>
                </a:solidFill>
              </a:rPr>
              <a:t>2</a:t>
            </a:r>
          </a:p>
        </p:txBody>
      </p:sp>
      <p:sp>
        <p:nvSpPr>
          <p:cNvPr id="17" name="TextBox 16">
            <a:extLst>
              <a:ext uri="{FF2B5EF4-FFF2-40B4-BE49-F238E27FC236}">
                <a16:creationId xmlns:a16="http://schemas.microsoft.com/office/drawing/2014/main" id="{C9E64BA2-240F-4A0D-B185-A553F026FC3A}"/>
              </a:ext>
            </a:extLst>
          </p:cNvPr>
          <p:cNvSpPr txBox="1"/>
          <p:nvPr/>
        </p:nvSpPr>
        <p:spPr>
          <a:xfrm>
            <a:off x="8739372" y="4169555"/>
            <a:ext cx="622286" cy="1015663"/>
          </a:xfrm>
          <a:prstGeom prst="rect">
            <a:avLst/>
          </a:prstGeom>
          <a:noFill/>
        </p:spPr>
        <p:txBody>
          <a:bodyPr wrap="none" rtlCol="0">
            <a:spAutoFit/>
          </a:bodyPr>
          <a:lstStyle/>
          <a:p>
            <a:r>
              <a:rPr lang="en-US" sz="6000" b="1">
                <a:solidFill>
                  <a:schemeClr val="bg1"/>
                </a:solidFill>
              </a:rPr>
              <a:t>3</a:t>
            </a:r>
          </a:p>
        </p:txBody>
      </p:sp>
    </p:spTree>
    <p:extLst>
      <p:ext uri="{BB962C8B-B14F-4D97-AF65-F5344CB8AC3E}">
        <p14:creationId xmlns:p14="http://schemas.microsoft.com/office/powerpoint/2010/main" val="287052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8" grpId="0" animBg="1"/>
      <p:bldP spid="10" grpId="0" animBg="1"/>
      <p:bldP spid="4" grpId="0"/>
      <p:bldP spid="9" grpId="0" animBg="1"/>
      <p:bldP spid="6" grpId="0"/>
      <p:bldP spid="16" grpId="0"/>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a:t>Data quality</a:t>
            </a:r>
          </a:p>
        </p:txBody>
      </p:sp>
      <p:grpSp>
        <p:nvGrpSpPr>
          <p:cNvPr id="11" name="Groupe 299">
            <a:extLst>
              <a:ext uri="{FF2B5EF4-FFF2-40B4-BE49-F238E27FC236}">
                <a16:creationId xmlns:a16="http://schemas.microsoft.com/office/drawing/2014/main" id="{F731FE05-39AC-4C04-9B88-E3D1638DA5D3}"/>
              </a:ext>
            </a:extLst>
          </p:cNvPr>
          <p:cNvGrpSpPr/>
          <p:nvPr/>
        </p:nvGrpSpPr>
        <p:grpSpPr>
          <a:xfrm>
            <a:off x="2999656" y="767957"/>
            <a:ext cx="432048" cy="252027"/>
            <a:chOff x="4572000" y="4300538"/>
            <a:chExt cx="385763" cy="231775"/>
          </a:xfrm>
          <a:noFill/>
        </p:grpSpPr>
        <p:sp>
          <p:nvSpPr>
            <p:cNvPr id="12" name="Freeform 828">
              <a:extLst>
                <a:ext uri="{FF2B5EF4-FFF2-40B4-BE49-F238E27FC236}">
                  <a16:creationId xmlns:a16="http://schemas.microsoft.com/office/drawing/2014/main" id="{FE899CAF-55F4-49D1-9300-AC95FD932537}"/>
                </a:ext>
              </a:extLst>
            </p:cNvPr>
            <p:cNvSpPr>
              <a:spLocks/>
            </p:cNvSpPr>
            <p:nvPr/>
          </p:nvSpPr>
          <p:spPr bwMode="auto">
            <a:xfrm>
              <a:off x="4572000" y="4306888"/>
              <a:ext cx="385763" cy="225425"/>
            </a:xfrm>
            <a:custGeom>
              <a:avLst/>
              <a:gdLst/>
              <a:ahLst/>
              <a:cxnLst>
                <a:cxn ang="0">
                  <a:pos x="0" y="0"/>
                </a:cxn>
                <a:cxn ang="0">
                  <a:pos x="0" y="142"/>
                </a:cxn>
                <a:cxn ang="0">
                  <a:pos x="243" y="142"/>
                </a:cxn>
              </a:cxnLst>
              <a:rect l="0" t="0" r="r" b="b"/>
              <a:pathLst>
                <a:path w="243" h="142">
                  <a:moveTo>
                    <a:pt x="0" y="0"/>
                  </a:moveTo>
                  <a:lnTo>
                    <a:pt x="0" y="142"/>
                  </a:lnTo>
                  <a:lnTo>
                    <a:pt x="243" y="142"/>
                  </a:lnTo>
                </a:path>
              </a:pathLst>
            </a:custGeom>
            <a:grpFill/>
            <a:ln w="38100" cap="rnd">
              <a:solidFill>
                <a:srgbClr val="27293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3" name="Freeform 829">
              <a:extLst>
                <a:ext uri="{FF2B5EF4-FFF2-40B4-BE49-F238E27FC236}">
                  <a16:creationId xmlns:a16="http://schemas.microsoft.com/office/drawing/2014/main" id="{3C47AAF4-830D-49C3-9394-30F896FE2375}"/>
                </a:ext>
              </a:extLst>
            </p:cNvPr>
            <p:cNvSpPr>
              <a:spLocks/>
            </p:cNvSpPr>
            <p:nvPr/>
          </p:nvSpPr>
          <p:spPr bwMode="auto">
            <a:xfrm>
              <a:off x="4611688" y="4337051"/>
              <a:ext cx="260350" cy="168275"/>
            </a:xfrm>
            <a:custGeom>
              <a:avLst/>
              <a:gdLst/>
              <a:ahLst/>
              <a:cxnLst>
                <a:cxn ang="0">
                  <a:pos x="0" y="106"/>
                </a:cxn>
                <a:cxn ang="0">
                  <a:pos x="48" y="57"/>
                </a:cxn>
                <a:cxn ang="0">
                  <a:pos x="77" y="86"/>
                </a:cxn>
                <a:cxn ang="0">
                  <a:pos x="164" y="0"/>
                </a:cxn>
              </a:cxnLst>
              <a:rect l="0" t="0" r="r" b="b"/>
              <a:pathLst>
                <a:path w="164" h="106">
                  <a:moveTo>
                    <a:pt x="0" y="106"/>
                  </a:moveTo>
                  <a:lnTo>
                    <a:pt x="48" y="57"/>
                  </a:lnTo>
                  <a:lnTo>
                    <a:pt x="77" y="86"/>
                  </a:lnTo>
                  <a:lnTo>
                    <a:pt x="164" y="0"/>
                  </a:lnTo>
                </a:path>
              </a:pathLst>
            </a:custGeom>
            <a:grpFill/>
            <a:ln w="38100" cap="rnd">
              <a:solidFill>
                <a:srgbClr val="27293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4" name="Freeform 831">
              <a:extLst>
                <a:ext uri="{FF2B5EF4-FFF2-40B4-BE49-F238E27FC236}">
                  <a16:creationId xmlns:a16="http://schemas.microsoft.com/office/drawing/2014/main" id="{334665F4-95EE-4F60-9ECF-106B0568C335}"/>
                </a:ext>
              </a:extLst>
            </p:cNvPr>
            <p:cNvSpPr>
              <a:spLocks/>
            </p:cNvSpPr>
            <p:nvPr/>
          </p:nvSpPr>
          <p:spPr bwMode="auto">
            <a:xfrm>
              <a:off x="4829175" y="4300538"/>
              <a:ext cx="74613" cy="77788"/>
            </a:xfrm>
            <a:custGeom>
              <a:avLst/>
              <a:gdLst/>
              <a:ahLst/>
              <a:cxnLst>
                <a:cxn ang="0">
                  <a:pos x="0" y="0"/>
                </a:cxn>
                <a:cxn ang="0">
                  <a:pos x="47" y="0"/>
                </a:cxn>
                <a:cxn ang="0">
                  <a:pos x="47" y="49"/>
                </a:cxn>
              </a:cxnLst>
              <a:rect l="0" t="0" r="r" b="b"/>
              <a:pathLst>
                <a:path w="47" h="49">
                  <a:moveTo>
                    <a:pt x="0" y="0"/>
                  </a:moveTo>
                  <a:lnTo>
                    <a:pt x="47" y="0"/>
                  </a:lnTo>
                  <a:lnTo>
                    <a:pt x="47" y="49"/>
                  </a:lnTo>
                </a:path>
              </a:pathLst>
            </a:custGeom>
            <a:grpFill/>
            <a:ln w="38100" cap="rnd">
              <a:solidFill>
                <a:srgbClr val="27293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sp>
        <p:nvSpPr>
          <p:cNvPr id="16" name="Rectangle 15">
            <a:extLst>
              <a:ext uri="{FF2B5EF4-FFF2-40B4-BE49-F238E27FC236}">
                <a16:creationId xmlns:a16="http://schemas.microsoft.com/office/drawing/2014/main" id="{5A8E1DE9-85FE-4A13-86EB-D20E18D3FC7E}"/>
              </a:ext>
            </a:extLst>
          </p:cNvPr>
          <p:cNvSpPr/>
          <p:nvPr/>
        </p:nvSpPr>
        <p:spPr>
          <a:xfrm>
            <a:off x="8407933" y="2185479"/>
            <a:ext cx="3447863" cy="41555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914CEACE-6619-4775-9D26-A204BF8DBFD1}"/>
              </a:ext>
            </a:extLst>
          </p:cNvPr>
          <p:cNvSpPr/>
          <p:nvPr/>
        </p:nvSpPr>
        <p:spPr>
          <a:xfrm>
            <a:off x="4351787" y="2207792"/>
            <a:ext cx="3514918" cy="41456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Arrow: Chevron 24">
            <a:extLst>
              <a:ext uri="{FF2B5EF4-FFF2-40B4-BE49-F238E27FC236}">
                <a16:creationId xmlns:a16="http://schemas.microsoft.com/office/drawing/2014/main" id="{99CE1FF9-FDF0-491E-94A1-57B87AB9AF07}"/>
              </a:ext>
            </a:extLst>
          </p:cNvPr>
          <p:cNvSpPr>
            <a:spLocks noChangeAspect="1"/>
          </p:cNvSpPr>
          <p:nvPr/>
        </p:nvSpPr>
        <p:spPr>
          <a:xfrm>
            <a:off x="4313358" y="1816572"/>
            <a:ext cx="3553348" cy="378810"/>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a:solidFill>
                  <a:schemeClr val="bg1"/>
                </a:solidFill>
                <a:latin typeface="Calibri" pitchFamily="34" charset="0"/>
                <a:cs typeface="Calibri" pitchFamily="34" charset="0"/>
              </a:rPr>
              <a:t>SOLUTION</a:t>
            </a:r>
          </a:p>
        </p:txBody>
      </p:sp>
      <p:sp>
        <p:nvSpPr>
          <p:cNvPr id="19" name="Rectangle 18">
            <a:extLst>
              <a:ext uri="{FF2B5EF4-FFF2-40B4-BE49-F238E27FC236}">
                <a16:creationId xmlns:a16="http://schemas.microsoft.com/office/drawing/2014/main" id="{564A0B25-E082-448B-8C58-2575D4AEFD88}"/>
              </a:ext>
            </a:extLst>
          </p:cNvPr>
          <p:cNvSpPr/>
          <p:nvPr/>
        </p:nvSpPr>
        <p:spPr>
          <a:xfrm>
            <a:off x="227014" y="2210799"/>
            <a:ext cx="3557053" cy="41357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Arrow: Chevron 24">
            <a:extLst>
              <a:ext uri="{FF2B5EF4-FFF2-40B4-BE49-F238E27FC236}">
                <a16:creationId xmlns:a16="http://schemas.microsoft.com/office/drawing/2014/main" id="{A33CCFDC-016C-4F54-82D2-BA5353DFFF25}"/>
              </a:ext>
            </a:extLst>
          </p:cNvPr>
          <p:cNvSpPr>
            <a:spLocks noChangeAspect="1"/>
          </p:cNvSpPr>
          <p:nvPr/>
        </p:nvSpPr>
        <p:spPr>
          <a:xfrm>
            <a:off x="227013" y="1816572"/>
            <a:ext cx="3545118" cy="378810"/>
          </a:xfrm>
          <a:prstGeom prst="homePlate">
            <a:avLst/>
          </a:prstGeom>
          <a:solidFill>
            <a:srgbClr val="88086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a:solidFill>
                  <a:schemeClr val="bg1"/>
                </a:solidFill>
                <a:latin typeface="Calibri" pitchFamily="34" charset="0"/>
                <a:cs typeface="Calibri" pitchFamily="34" charset="0"/>
              </a:rPr>
              <a:t>CHALLENGE</a:t>
            </a:r>
          </a:p>
        </p:txBody>
      </p:sp>
      <p:sp>
        <p:nvSpPr>
          <p:cNvPr id="21" name="Arrow: Chevron 25">
            <a:extLst>
              <a:ext uri="{FF2B5EF4-FFF2-40B4-BE49-F238E27FC236}">
                <a16:creationId xmlns:a16="http://schemas.microsoft.com/office/drawing/2014/main" id="{DD401D52-8834-49E3-B1E7-967809FEF9A9}"/>
              </a:ext>
            </a:extLst>
          </p:cNvPr>
          <p:cNvSpPr>
            <a:spLocks noChangeAspect="1"/>
          </p:cNvSpPr>
          <p:nvPr/>
        </p:nvSpPr>
        <p:spPr>
          <a:xfrm>
            <a:off x="8407933" y="1816630"/>
            <a:ext cx="3447863" cy="391291"/>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a:solidFill>
                  <a:schemeClr val="bg1"/>
                </a:solidFill>
                <a:latin typeface="Calibri" pitchFamily="34" charset="0"/>
                <a:cs typeface="Calibri" pitchFamily="34" charset="0"/>
              </a:rPr>
              <a:t>RESULT</a:t>
            </a:r>
          </a:p>
        </p:txBody>
      </p:sp>
      <p:sp>
        <p:nvSpPr>
          <p:cNvPr id="22" name="TextBox 21">
            <a:extLst>
              <a:ext uri="{FF2B5EF4-FFF2-40B4-BE49-F238E27FC236}">
                <a16:creationId xmlns:a16="http://schemas.microsoft.com/office/drawing/2014/main" id="{4FD73353-4777-4FBD-8CA5-CFC7B4A5C44F}"/>
              </a:ext>
            </a:extLst>
          </p:cNvPr>
          <p:cNvSpPr txBox="1"/>
          <p:nvPr/>
        </p:nvSpPr>
        <p:spPr>
          <a:xfrm>
            <a:off x="372002" y="4794050"/>
            <a:ext cx="3267075" cy="1384995"/>
          </a:xfrm>
          <a:prstGeom prst="rect">
            <a:avLst/>
          </a:prstGeom>
          <a:noFill/>
        </p:spPr>
        <p:txBody>
          <a:bodyPr wrap="square" rtlCol="0" anchor="t">
            <a:spAutoFit/>
          </a:bodyPr>
          <a:lstStyle/>
          <a:p>
            <a:pPr marL="171450" indent="-171450">
              <a:buFont typeface="Arial" panose="020B0604020202020204" pitchFamily="34" charset="0"/>
              <a:buChar char="•"/>
            </a:pPr>
            <a:r>
              <a:rPr lang="en-GB" sz="1200" b="1"/>
              <a:t>Quality on invoicing data</a:t>
            </a:r>
          </a:p>
          <a:p>
            <a:pPr marL="628650" lvl="1" indent="-171450">
              <a:buFont typeface="Arial" panose="020B0604020202020204" pitchFamily="34" charset="0"/>
              <a:buChar char="•"/>
            </a:pPr>
            <a:r>
              <a:rPr lang="en-US" sz="1200"/>
              <a:t>Use wrong vendor in procurement</a:t>
            </a:r>
          </a:p>
          <a:p>
            <a:pPr marL="628650" lvl="1" indent="-171450">
              <a:buFont typeface="Arial" panose="020B0604020202020204" pitchFamily="34" charset="0"/>
              <a:buChar char="•"/>
            </a:pPr>
            <a:r>
              <a:rPr lang="en-US" sz="1200"/>
              <a:t>Use wrong line on agreement</a:t>
            </a:r>
          </a:p>
          <a:p>
            <a:pPr marL="628650" lvl="1"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b="1"/>
              <a:t>Manual</a:t>
            </a:r>
            <a:r>
              <a:rPr lang="en-US" sz="1200"/>
              <a:t> job to maintain and improve</a:t>
            </a:r>
          </a:p>
          <a:p>
            <a:pPr marL="171450" indent="-171450">
              <a:buFont typeface="Arial" panose="020B0604020202020204" pitchFamily="34" charset="0"/>
              <a:buChar char="•"/>
            </a:pPr>
            <a:endParaRPr lang="en-GB" sz="1200" b="1">
              <a:solidFill>
                <a:srgbClr val="880865"/>
              </a:solidFill>
            </a:endParaRPr>
          </a:p>
          <a:p>
            <a:pPr algn="ctr"/>
            <a:endParaRPr lang="en-GB" sz="1200" b="1">
              <a:solidFill>
                <a:srgbClr val="0F999C"/>
              </a:solidFill>
            </a:endParaRPr>
          </a:p>
        </p:txBody>
      </p:sp>
      <p:sp>
        <p:nvSpPr>
          <p:cNvPr id="23" name="Text Placeholder 9">
            <a:extLst>
              <a:ext uri="{FF2B5EF4-FFF2-40B4-BE49-F238E27FC236}">
                <a16:creationId xmlns:a16="http://schemas.microsoft.com/office/drawing/2014/main" id="{71F9DBFA-DF2E-4E8E-910F-E3E63C0CB479}"/>
              </a:ext>
            </a:extLst>
          </p:cNvPr>
          <p:cNvSpPr txBox="1">
            <a:spLocks/>
          </p:cNvSpPr>
          <p:nvPr/>
        </p:nvSpPr>
        <p:spPr>
          <a:xfrm>
            <a:off x="4564172" y="4794050"/>
            <a:ext cx="3063655" cy="1131832"/>
          </a:xfrm>
          <a:prstGeom prst="rect">
            <a:avLst/>
          </a:prstGeom>
        </p:spPr>
        <p:txBody>
          <a:bodyPr anchor="t"/>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Font typeface="Arial" panose="020B0604020202020204" pitchFamily="34" charset="0"/>
              <a:buChar char="•"/>
            </a:pPr>
            <a:endParaRPr lang="en-GB" sz="1200">
              <a:solidFill>
                <a:schemeClr val="accent1"/>
              </a:solidFill>
              <a:latin typeface="+mn-lt"/>
            </a:endParaRPr>
          </a:p>
        </p:txBody>
      </p:sp>
      <p:sp>
        <p:nvSpPr>
          <p:cNvPr id="24" name="TextBox 23">
            <a:extLst>
              <a:ext uri="{FF2B5EF4-FFF2-40B4-BE49-F238E27FC236}">
                <a16:creationId xmlns:a16="http://schemas.microsoft.com/office/drawing/2014/main" id="{2BC436CF-E946-41EB-BB34-893E987220E3}"/>
              </a:ext>
            </a:extLst>
          </p:cNvPr>
          <p:cNvSpPr txBox="1"/>
          <p:nvPr/>
        </p:nvSpPr>
        <p:spPr>
          <a:xfrm>
            <a:off x="8890023" y="4794050"/>
            <a:ext cx="2744228" cy="646331"/>
          </a:xfrm>
          <a:prstGeom prst="rect">
            <a:avLst/>
          </a:prstGeom>
          <a:solidFill>
            <a:schemeClr val="bg1"/>
          </a:solidFill>
        </p:spPr>
        <p:txBody>
          <a:bodyPr wrap="square" rtlCol="0" anchor="t">
            <a:spAutoFit/>
          </a:bodyPr>
          <a:lstStyle/>
          <a:p>
            <a:pPr marL="171450" indent="-171450">
              <a:buFont typeface="Arial" panose="020B0604020202020204" pitchFamily="34" charset="0"/>
              <a:buChar char="•"/>
            </a:pPr>
            <a:r>
              <a:rPr lang="en-US" sz="1200"/>
              <a:t>Net present value savings potential of </a:t>
            </a:r>
            <a:r>
              <a:rPr lang="en-US" sz="1200" b="1"/>
              <a:t>12 MNOK</a:t>
            </a:r>
          </a:p>
          <a:p>
            <a:pPr marL="171450" indent="-171450">
              <a:buFont typeface="Arial" panose="020B0604020202020204" pitchFamily="34" charset="0"/>
              <a:buChar char="•"/>
            </a:pPr>
            <a:r>
              <a:rPr lang="en-US" sz="1200"/>
              <a:t>Expected to reduce </a:t>
            </a:r>
            <a:r>
              <a:rPr lang="en-US" sz="1200" b="1"/>
              <a:t>3 FTE </a:t>
            </a:r>
            <a:endParaRPr lang="en-GB" sz="1200" b="1"/>
          </a:p>
        </p:txBody>
      </p:sp>
      <p:sp>
        <p:nvSpPr>
          <p:cNvPr id="25" name="Freeform 719">
            <a:extLst>
              <a:ext uri="{FF2B5EF4-FFF2-40B4-BE49-F238E27FC236}">
                <a16:creationId xmlns:a16="http://schemas.microsoft.com/office/drawing/2014/main" id="{FFA620AF-76A3-433A-8B60-6DD13D891259}"/>
              </a:ext>
            </a:extLst>
          </p:cNvPr>
          <p:cNvSpPr>
            <a:spLocks noChangeAspect="1" noEditPoints="1"/>
          </p:cNvSpPr>
          <p:nvPr/>
        </p:nvSpPr>
        <p:spPr bwMode="auto">
          <a:xfrm>
            <a:off x="992480" y="3798258"/>
            <a:ext cx="294252" cy="540000"/>
          </a:xfrm>
          <a:custGeom>
            <a:avLst/>
            <a:gdLst/>
            <a:ahLst/>
            <a:cxnLst>
              <a:cxn ang="0">
                <a:pos x="35" y="104"/>
              </a:cxn>
              <a:cxn ang="0">
                <a:pos x="25" y="199"/>
              </a:cxn>
              <a:cxn ang="0">
                <a:pos x="37" y="199"/>
              </a:cxn>
              <a:cxn ang="0">
                <a:pos x="55" y="113"/>
              </a:cxn>
              <a:cxn ang="0">
                <a:pos x="60" y="199"/>
              </a:cxn>
              <a:cxn ang="0">
                <a:pos x="73" y="199"/>
              </a:cxn>
              <a:cxn ang="0">
                <a:pos x="77" y="104"/>
              </a:cxn>
              <a:cxn ang="0">
                <a:pos x="108" y="118"/>
              </a:cxn>
              <a:cxn ang="0">
                <a:pos x="86" y="80"/>
              </a:cxn>
              <a:cxn ang="0">
                <a:pos x="61" y="36"/>
              </a:cxn>
              <a:cxn ang="0">
                <a:pos x="68" y="19"/>
              </a:cxn>
              <a:cxn ang="0">
                <a:pos x="54" y="0"/>
              </a:cxn>
              <a:cxn ang="0">
                <a:pos x="40" y="19"/>
              </a:cxn>
              <a:cxn ang="0">
                <a:pos x="48" y="36"/>
              </a:cxn>
              <a:cxn ang="0">
                <a:pos x="22" y="80"/>
              </a:cxn>
              <a:cxn ang="0">
                <a:pos x="1" y="116"/>
              </a:cxn>
            </a:cxnLst>
            <a:rect l="0" t="0" r="r" b="b"/>
            <a:pathLst>
              <a:path w="108" h="199">
                <a:moveTo>
                  <a:pt x="35" y="104"/>
                </a:moveTo>
                <a:cubicBezTo>
                  <a:pt x="35" y="107"/>
                  <a:pt x="25" y="199"/>
                  <a:pt x="25" y="199"/>
                </a:cubicBezTo>
                <a:cubicBezTo>
                  <a:pt x="37" y="199"/>
                  <a:pt x="37" y="199"/>
                  <a:pt x="37" y="199"/>
                </a:cubicBezTo>
                <a:cubicBezTo>
                  <a:pt x="55" y="113"/>
                  <a:pt x="55" y="113"/>
                  <a:pt x="55" y="113"/>
                </a:cubicBezTo>
                <a:cubicBezTo>
                  <a:pt x="60" y="199"/>
                  <a:pt x="60" y="199"/>
                  <a:pt x="60" y="199"/>
                </a:cubicBezTo>
                <a:cubicBezTo>
                  <a:pt x="73" y="199"/>
                  <a:pt x="73" y="199"/>
                  <a:pt x="73" y="199"/>
                </a:cubicBezTo>
                <a:cubicBezTo>
                  <a:pt x="77" y="104"/>
                  <a:pt x="77" y="104"/>
                  <a:pt x="77" y="104"/>
                </a:cubicBezTo>
                <a:moveTo>
                  <a:pt x="108" y="118"/>
                </a:moveTo>
                <a:cubicBezTo>
                  <a:pt x="108" y="114"/>
                  <a:pt x="86" y="84"/>
                  <a:pt x="86" y="80"/>
                </a:cubicBezTo>
                <a:cubicBezTo>
                  <a:pt x="86" y="55"/>
                  <a:pt x="80" y="37"/>
                  <a:pt x="61" y="36"/>
                </a:cubicBezTo>
                <a:cubicBezTo>
                  <a:pt x="64" y="32"/>
                  <a:pt x="68" y="25"/>
                  <a:pt x="68" y="19"/>
                </a:cubicBezTo>
                <a:cubicBezTo>
                  <a:pt x="68" y="9"/>
                  <a:pt x="62" y="0"/>
                  <a:pt x="54" y="0"/>
                </a:cubicBezTo>
                <a:cubicBezTo>
                  <a:pt x="46" y="0"/>
                  <a:pt x="40" y="9"/>
                  <a:pt x="40" y="19"/>
                </a:cubicBezTo>
                <a:cubicBezTo>
                  <a:pt x="40" y="25"/>
                  <a:pt x="45" y="32"/>
                  <a:pt x="48" y="36"/>
                </a:cubicBezTo>
                <a:cubicBezTo>
                  <a:pt x="23" y="39"/>
                  <a:pt x="22" y="55"/>
                  <a:pt x="22" y="80"/>
                </a:cubicBezTo>
                <a:cubicBezTo>
                  <a:pt x="22" y="84"/>
                  <a:pt x="0" y="111"/>
                  <a:pt x="1" y="11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26" name="Group 25">
            <a:extLst>
              <a:ext uri="{FF2B5EF4-FFF2-40B4-BE49-F238E27FC236}">
                <a16:creationId xmlns:a16="http://schemas.microsoft.com/office/drawing/2014/main" id="{9E4FF9DE-1463-42E6-8938-A8B0FF2720C2}"/>
              </a:ext>
            </a:extLst>
          </p:cNvPr>
          <p:cNvGrpSpPr/>
          <p:nvPr/>
        </p:nvGrpSpPr>
        <p:grpSpPr>
          <a:xfrm>
            <a:off x="1191929" y="2984190"/>
            <a:ext cx="1499205" cy="1115252"/>
            <a:chOff x="1109428" y="2572117"/>
            <a:chExt cx="2546357" cy="1844142"/>
          </a:xfrm>
        </p:grpSpPr>
        <p:pic>
          <p:nvPicPr>
            <p:cNvPr id="27" name="Graphic 26" descr="Line arrow Clockwise curve">
              <a:extLst>
                <a:ext uri="{FF2B5EF4-FFF2-40B4-BE49-F238E27FC236}">
                  <a16:creationId xmlns:a16="http://schemas.microsoft.com/office/drawing/2014/main" id="{55B4029E-C235-40CA-8AFA-F602EB96DA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6026957">
              <a:off x="1921336" y="2212443"/>
              <a:ext cx="406401" cy="1125749"/>
            </a:xfrm>
            <a:prstGeom prst="rect">
              <a:avLst/>
            </a:prstGeom>
          </p:spPr>
        </p:pic>
        <p:pic>
          <p:nvPicPr>
            <p:cNvPr id="28" name="Graphic 27" descr="Line arrow Clockwise curve">
              <a:extLst>
                <a:ext uri="{FF2B5EF4-FFF2-40B4-BE49-F238E27FC236}">
                  <a16:creationId xmlns:a16="http://schemas.microsoft.com/office/drawing/2014/main" id="{657334DA-C1C6-41A4-B87C-6206B4C852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9175346">
              <a:off x="3193276" y="2967077"/>
              <a:ext cx="275000" cy="639206"/>
            </a:xfrm>
            <a:prstGeom prst="rect">
              <a:avLst/>
            </a:prstGeom>
          </p:spPr>
        </p:pic>
        <p:pic>
          <p:nvPicPr>
            <p:cNvPr id="29" name="Graphic 28" descr="Line arrow Clockwise curve">
              <a:extLst>
                <a:ext uri="{FF2B5EF4-FFF2-40B4-BE49-F238E27FC236}">
                  <a16:creationId xmlns:a16="http://schemas.microsoft.com/office/drawing/2014/main" id="{391C8DC2-D7E8-4FB9-81D1-47E74015C9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249417">
              <a:off x="1418640" y="3247617"/>
              <a:ext cx="341153" cy="792972"/>
            </a:xfrm>
            <a:prstGeom prst="rect">
              <a:avLst/>
            </a:prstGeom>
          </p:spPr>
        </p:pic>
        <p:pic>
          <p:nvPicPr>
            <p:cNvPr id="30" name="Graphic 29" descr="Line arrow Clockwise curve">
              <a:extLst>
                <a:ext uri="{FF2B5EF4-FFF2-40B4-BE49-F238E27FC236}">
                  <a16:creationId xmlns:a16="http://schemas.microsoft.com/office/drawing/2014/main" id="{9DD07AB7-C048-4DCA-8B9A-F12CAF77BF1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7335611">
              <a:off x="2165653" y="2482397"/>
              <a:ext cx="468298" cy="1911663"/>
            </a:xfrm>
            <a:prstGeom prst="rect">
              <a:avLst/>
            </a:prstGeom>
          </p:spPr>
        </p:pic>
        <p:grpSp>
          <p:nvGrpSpPr>
            <p:cNvPr id="31" name="Group 30">
              <a:extLst>
                <a:ext uri="{FF2B5EF4-FFF2-40B4-BE49-F238E27FC236}">
                  <a16:creationId xmlns:a16="http://schemas.microsoft.com/office/drawing/2014/main" id="{046E58A1-2153-4223-8CAC-6D62C0730DB8}"/>
                </a:ext>
              </a:extLst>
            </p:cNvPr>
            <p:cNvGrpSpPr/>
            <p:nvPr/>
          </p:nvGrpSpPr>
          <p:grpSpPr>
            <a:xfrm>
              <a:off x="1109428" y="2703551"/>
              <a:ext cx="434523" cy="471306"/>
              <a:chOff x="10167257" y="1112583"/>
              <a:chExt cx="434523" cy="471306"/>
            </a:xfrm>
          </p:grpSpPr>
          <p:sp>
            <p:nvSpPr>
              <p:cNvPr id="41" name="Rectangle 40">
                <a:extLst>
                  <a:ext uri="{FF2B5EF4-FFF2-40B4-BE49-F238E27FC236}">
                    <a16:creationId xmlns:a16="http://schemas.microsoft.com/office/drawing/2014/main" id="{DA32AA8A-C322-44D7-84D1-B4104A71665D}"/>
                  </a:ext>
                </a:extLst>
              </p:cNvPr>
              <p:cNvSpPr/>
              <p:nvPr/>
            </p:nvSpPr>
            <p:spPr>
              <a:xfrm>
                <a:off x="10167257" y="1125538"/>
                <a:ext cx="434523" cy="458351"/>
              </a:xfrm>
              <a:prstGeom prst="rect">
                <a:avLst/>
              </a:prstGeom>
              <a:noFill/>
              <a:ln w="19050">
                <a:solidFill>
                  <a:srgbClr val="880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461BBBC3-CC3B-4628-9040-C1F2BE5E51D3}"/>
                  </a:ext>
                </a:extLst>
              </p:cNvPr>
              <p:cNvSpPr/>
              <p:nvPr/>
            </p:nvSpPr>
            <p:spPr>
              <a:xfrm>
                <a:off x="10167257" y="1112583"/>
                <a:ext cx="423637" cy="139274"/>
              </a:xfrm>
              <a:prstGeom prst="rect">
                <a:avLst/>
              </a:prstGeom>
              <a:solidFill>
                <a:schemeClr val="bg1">
                  <a:lumMod val="95000"/>
                </a:schemeClr>
              </a:solidFill>
              <a:ln>
                <a:solidFill>
                  <a:srgbClr val="880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solidFill>
                    <a:schemeClr val="tx1"/>
                  </a:solidFill>
                </a:endParaRPr>
              </a:p>
            </p:txBody>
          </p:sp>
        </p:grpSp>
        <p:grpSp>
          <p:nvGrpSpPr>
            <p:cNvPr id="32" name="Group 31">
              <a:extLst>
                <a:ext uri="{FF2B5EF4-FFF2-40B4-BE49-F238E27FC236}">
                  <a16:creationId xmlns:a16="http://schemas.microsoft.com/office/drawing/2014/main" id="{7B1AF793-2586-4F4F-A92D-79C246DAE645}"/>
                </a:ext>
              </a:extLst>
            </p:cNvPr>
            <p:cNvGrpSpPr/>
            <p:nvPr/>
          </p:nvGrpSpPr>
          <p:grpSpPr>
            <a:xfrm>
              <a:off x="3221262" y="3558366"/>
              <a:ext cx="434523" cy="471306"/>
              <a:chOff x="10167257" y="1112583"/>
              <a:chExt cx="434523" cy="471306"/>
            </a:xfrm>
          </p:grpSpPr>
          <p:sp>
            <p:nvSpPr>
              <p:cNvPr id="39" name="Rectangle 38">
                <a:extLst>
                  <a:ext uri="{FF2B5EF4-FFF2-40B4-BE49-F238E27FC236}">
                    <a16:creationId xmlns:a16="http://schemas.microsoft.com/office/drawing/2014/main" id="{82302A8E-174A-4DC8-BF3B-738AF1249935}"/>
                  </a:ext>
                </a:extLst>
              </p:cNvPr>
              <p:cNvSpPr/>
              <p:nvPr/>
            </p:nvSpPr>
            <p:spPr>
              <a:xfrm>
                <a:off x="10167257" y="1125538"/>
                <a:ext cx="434523" cy="458351"/>
              </a:xfrm>
              <a:prstGeom prst="rect">
                <a:avLst/>
              </a:prstGeom>
              <a:noFill/>
              <a:ln w="19050">
                <a:solidFill>
                  <a:srgbClr val="880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EEB78BB3-EF6E-4B29-B052-9DB098093DCC}"/>
                  </a:ext>
                </a:extLst>
              </p:cNvPr>
              <p:cNvSpPr/>
              <p:nvPr/>
            </p:nvSpPr>
            <p:spPr>
              <a:xfrm>
                <a:off x="10167257" y="1112583"/>
                <a:ext cx="423637" cy="139274"/>
              </a:xfrm>
              <a:prstGeom prst="rect">
                <a:avLst/>
              </a:prstGeom>
              <a:solidFill>
                <a:schemeClr val="bg1">
                  <a:lumMod val="95000"/>
                </a:schemeClr>
              </a:solidFill>
              <a:ln>
                <a:solidFill>
                  <a:srgbClr val="880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solidFill>
                    <a:schemeClr val="tx1"/>
                  </a:solidFill>
                </a:endParaRPr>
              </a:p>
            </p:txBody>
          </p:sp>
        </p:grpSp>
        <p:grpSp>
          <p:nvGrpSpPr>
            <p:cNvPr id="33" name="Group 32">
              <a:extLst>
                <a:ext uri="{FF2B5EF4-FFF2-40B4-BE49-F238E27FC236}">
                  <a16:creationId xmlns:a16="http://schemas.microsoft.com/office/drawing/2014/main" id="{B750ADBD-8486-4290-B879-418CC85E7B34}"/>
                </a:ext>
              </a:extLst>
            </p:cNvPr>
            <p:cNvGrpSpPr/>
            <p:nvPr/>
          </p:nvGrpSpPr>
          <p:grpSpPr>
            <a:xfrm>
              <a:off x="2712792" y="2595815"/>
              <a:ext cx="434523" cy="471306"/>
              <a:chOff x="10167257" y="1112583"/>
              <a:chExt cx="434523" cy="471306"/>
            </a:xfrm>
          </p:grpSpPr>
          <p:sp>
            <p:nvSpPr>
              <p:cNvPr id="37" name="Rectangle 36">
                <a:extLst>
                  <a:ext uri="{FF2B5EF4-FFF2-40B4-BE49-F238E27FC236}">
                    <a16:creationId xmlns:a16="http://schemas.microsoft.com/office/drawing/2014/main" id="{0A1538AE-A26F-449B-B6B4-77867EABB64B}"/>
                  </a:ext>
                </a:extLst>
              </p:cNvPr>
              <p:cNvSpPr/>
              <p:nvPr/>
            </p:nvSpPr>
            <p:spPr>
              <a:xfrm>
                <a:off x="10167257" y="1125538"/>
                <a:ext cx="434523" cy="458351"/>
              </a:xfrm>
              <a:prstGeom prst="rect">
                <a:avLst/>
              </a:prstGeom>
              <a:noFill/>
              <a:ln w="19050">
                <a:solidFill>
                  <a:srgbClr val="880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51A50091-F1A9-4AA7-8A64-4D993C3472B9}"/>
                  </a:ext>
                </a:extLst>
              </p:cNvPr>
              <p:cNvSpPr/>
              <p:nvPr/>
            </p:nvSpPr>
            <p:spPr>
              <a:xfrm>
                <a:off x="10167257" y="1112583"/>
                <a:ext cx="423637" cy="139274"/>
              </a:xfrm>
              <a:prstGeom prst="rect">
                <a:avLst/>
              </a:prstGeom>
              <a:solidFill>
                <a:schemeClr val="bg1">
                  <a:lumMod val="95000"/>
                </a:schemeClr>
              </a:solidFill>
              <a:ln>
                <a:solidFill>
                  <a:srgbClr val="880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solidFill>
                    <a:schemeClr val="tx1"/>
                  </a:solidFill>
                </a:endParaRPr>
              </a:p>
            </p:txBody>
          </p:sp>
        </p:grpSp>
        <p:grpSp>
          <p:nvGrpSpPr>
            <p:cNvPr id="34" name="Group 33">
              <a:extLst>
                <a:ext uri="{FF2B5EF4-FFF2-40B4-BE49-F238E27FC236}">
                  <a16:creationId xmlns:a16="http://schemas.microsoft.com/office/drawing/2014/main" id="{7919DB5D-9EAB-478B-BF92-D7C45C310320}"/>
                </a:ext>
              </a:extLst>
            </p:cNvPr>
            <p:cNvGrpSpPr/>
            <p:nvPr/>
          </p:nvGrpSpPr>
          <p:grpSpPr>
            <a:xfrm>
              <a:off x="1965643" y="3944953"/>
              <a:ext cx="434523" cy="471306"/>
              <a:chOff x="10167257" y="1112583"/>
              <a:chExt cx="434523" cy="471306"/>
            </a:xfrm>
          </p:grpSpPr>
          <p:sp>
            <p:nvSpPr>
              <p:cNvPr id="35" name="Rectangle 34">
                <a:extLst>
                  <a:ext uri="{FF2B5EF4-FFF2-40B4-BE49-F238E27FC236}">
                    <a16:creationId xmlns:a16="http://schemas.microsoft.com/office/drawing/2014/main" id="{AD47F247-30FE-4FB9-856F-E0B8BD14DAEB}"/>
                  </a:ext>
                </a:extLst>
              </p:cNvPr>
              <p:cNvSpPr/>
              <p:nvPr/>
            </p:nvSpPr>
            <p:spPr>
              <a:xfrm>
                <a:off x="10167257" y="1125538"/>
                <a:ext cx="434523" cy="458351"/>
              </a:xfrm>
              <a:prstGeom prst="rect">
                <a:avLst/>
              </a:prstGeom>
              <a:noFill/>
              <a:ln w="19050">
                <a:solidFill>
                  <a:srgbClr val="880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ED61E332-E4FF-44DA-9D01-A73BBD8A94DD}"/>
                  </a:ext>
                </a:extLst>
              </p:cNvPr>
              <p:cNvSpPr/>
              <p:nvPr/>
            </p:nvSpPr>
            <p:spPr>
              <a:xfrm>
                <a:off x="10167257" y="1112583"/>
                <a:ext cx="423637" cy="139274"/>
              </a:xfrm>
              <a:prstGeom prst="rect">
                <a:avLst/>
              </a:prstGeom>
              <a:solidFill>
                <a:schemeClr val="bg1">
                  <a:lumMod val="95000"/>
                </a:schemeClr>
              </a:solidFill>
              <a:ln>
                <a:solidFill>
                  <a:srgbClr val="8808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solidFill>
                    <a:schemeClr val="tx1"/>
                  </a:solidFill>
                </a:endParaRPr>
              </a:p>
            </p:txBody>
          </p:sp>
        </p:grpSp>
      </p:grpSp>
      <p:sp>
        <p:nvSpPr>
          <p:cNvPr id="70" name="TextBox 69">
            <a:extLst>
              <a:ext uri="{FF2B5EF4-FFF2-40B4-BE49-F238E27FC236}">
                <a16:creationId xmlns:a16="http://schemas.microsoft.com/office/drawing/2014/main" id="{205E2FF8-49A5-4325-90E8-DC4CEC7272D7}"/>
              </a:ext>
            </a:extLst>
          </p:cNvPr>
          <p:cNvSpPr txBox="1"/>
          <p:nvPr/>
        </p:nvSpPr>
        <p:spPr>
          <a:xfrm>
            <a:off x="4723885" y="4907217"/>
            <a:ext cx="2744228" cy="461665"/>
          </a:xfrm>
          <a:prstGeom prst="rect">
            <a:avLst/>
          </a:prstGeom>
          <a:solidFill>
            <a:schemeClr val="bg1"/>
          </a:solidFill>
        </p:spPr>
        <p:txBody>
          <a:bodyPr wrap="square" rtlCol="0" anchor="t">
            <a:spAutoFit/>
          </a:bodyPr>
          <a:lstStyle/>
          <a:p>
            <a:pPr marL="171450" indent="-171450">
              <a:buFont typeface="Arial" panose="020B0604020202020204" pitchFamily="34" charset="0"/>
              <a:buChar char="•"/>
            </a:pPr>
            <a:r>
              <a:rPr lang="en-US" sz="1200" b="1"/>
              <a:t>Automate quality checks </a:t>
            </a:r>
            <a:r>
              <a:rPr lang="en-US" sz="1200"/>
              <a:t>in Data Catalog</a:t>
            </a:r>
            <a:endParaRPr lang="en-GB" sz="1200"/>
          </a:p>
        </p:txBody>
      </p:sp>
      <p:pic>
        <p:nvPicPr>
          <p:cNvPr id="7" name="Graphic 6" descr="Database with solid fill">
            <a:extLst>
              <a:ext uri="{FF2B5EF4-FFF2-40B4-BE49-F238E27FC236}">
                <a16:creationId xmlns:a16="http://schemas.microsoft.com/office/drawing/2014/main" id="{66EA8240-14F7-4ED6-838A-1A5DEFFF29B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76887" y="3205135"/>
            <a:ext cx="914400" cy="914400"/>
          </a:xfrm>
          <a:prstGeom prst="rect">
            <a:avLst/>
          </a:prstGeom>
        </p:spPr>
      </p:pic>
      <p:pic>
        <p:nvPicPr>
          <p:cNvPr id="71" name="Graphic 70" descr="Thumbs Down with solid fill">
            <a:extLst>
              <a:ext uri="{FF2B5EF4-FFF2-40B4-BE49-F238E27FC236}">
                <a16:creationId xmlns:a16="http://schemas.microsoft.com/office/drawing/2014/main" id="{00C1F57F-76DB-401D-B5AA-6909600778B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77627" y="2824301"/>
            <a:ext cx="319779" cy="319779"/>
          </a:xfrm>
          <a:prstGeom prst="rect">
            <a:avLst/>
          </a:prstGeom>
        </p:spPr>
      </p:pic>
      <p:pic>
        <p:nvPicPr>
          <p:cNvPr id="73" name="Graphic 72" descr="Question Mark with solid fill">
            <a:extLst>
              <a:ext uri="{FF2B5EF4-FFF2-40B4-BE49-F238E27FC236}">
                <a16:creationId xmlns:a16="http://schemas.microsoft.com/office/drawing/2014/main" id="{0A45511D-F293-4BD0-862A-2B9E2D8F361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06786" y="3586245"/>
            <a:ext cx="395527" cy="395527"/>
          </a:xfrm>
          <a:prstGeom prst="rect">
            <a:avLst/>
          </a:prstGeom>
        </p:spPr>
      </p:pic>
      <p:pic>
        <p:nvPicPr>
          <p:cNvPr id="75" name="Graphic 74" descr="Piggy Bank with solid fill">
            <a:extLst>
              <a:ext uri="{FF2B5EF4-FFF2-40B4-BE49-F238E27FC236}">
                <a16:creationId xmlns:a16="http://schemas.microsoft.com/office/drawing/2014/main" id="{A04F397D-41DE-47EB-A585-BC12E096E68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695203" y="3205135"/>
            <a:ext cx="914400" cy="914400"/>
          </a:xfrm>
          <a:prstGeom prst="rect">
            <a:avLst/>
          </a:prstGeom>
        </p:spPr>
      </p:pic>
      <p:pic>
        <p:nvPicPr>
          <p:cNvPr id="77" name="Graphic 76" descr="Checkmark with solid fill">
            <a:extLst>
              <a:ext uri="{FF2B5EF4-FFF2-40B4-BE49-F238E27FC236}">
                <a16:creationId xmlns:a16="http://schemas.microsoft.com/office/drawing/2014/main" id="{CD72B261-B12D-483F-AC5A-CDD1F4D454A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61978" y="3144080"/>
            <a:ext cx="369214" cy="369214"/>
          </a:xfrm>
          <a:prstGeom prst="rect">
            <a:avLst/>
          </a:prstGeom>
        </p:spPr>
      </p:pic>
      <p:pic>
        <p:nvPicPr>
          <p:cNvPr id="81" name="Graphic 80" descr="Lightbulb and gear with solid fill">
            <a:extLst>
              <a:ext uri="{FF2B5EF4-FFF2-40B4-BE49-F238E27FC236}">
                <a16:creationId xmlns:a16="http://schemas.microsoft.com/office/drawing/2014/main" id="{A466D1E1-9352-43B0-A608-2EA07693661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454347" y="3125000"/>
            <a:ext cx="914400" cy="914400"/>
          </a:xfrm>
          <a:prstGeom prst="rect">
            <a:avLst/>
          </a:prstGeom>
        </p:spPr>
      </p:pic>
      <p:pic>
        <p:nvPicPr>
          <p:cNvPr id="83" name="Graphic 82" descr="Transfer with solid fill">
            <a:extLst>
              <a:ext uri="{FF2B5EF4-FFF2-40B4-BE49-F238E27FC236}">
                <a16:creationId xmlns:a16="http://schemas.microsoft.com/office/drawing/2014/main" id="{AE1CC854-B9CC-43AE-984E-93F4069B665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940310" y="3602989"/>
            <a:ext cx="337871" cy="337871"/>
          </a:xfrm>
          <a:prstGeom prst="rect">
            <a:avLst/>
          </a:prstGeom>
        </p:spPr>
      </p:pic>
    </p:spTree>
    <p:extLst>
      <p:ext uri="{BB962C8B-B14F-4D97-AF65-F5344CB8AC3E}">
        <p14:creationId xmlns:p14="http://schemas.microsoft.com/office/powerpoint/2010/main" val="4047514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nodePh="1">
                                  <p:stCondLst>
                                    <p:cond delay="0"/>
                                  </p:stCondLst>
                                  <p:endCondLst>
                                    <p:cond evt="begin" delay="0">
                                      <p:tn val="25"/>
                                    </p:cond>
                                  </p:endCondLst>
                                  <p:childTnLst>
                                    <p:set>
                                      <p:cBhvr>
                                        <p:cTn id="26" dur="1" fill="hold">
                                          <p:stCondLst>
                                            <p:cond delay="0"/>
                                          </p:stCondLst>
                                        </p:cTn>
                                        <p:tgtEl>
                                          <p:spTgt spid="2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0" grpId="0" animBg="1"/>
      <p:bldP spid="21" grpId="0" animBg="1"/>
      <p:bldP spid="22" grpId="0"/>
      <p:bldP spid="23" grpId="0"/>
      <p:bldP spid="24" grpId="0" animBg="1"/>
      <p:bldP spid="25" grpId="0" animBg="1"/>
      <p:bldP spid="7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dirty="0">
                <a:solidFill>
                  <a:schemeClr val="bg1"/>
                </a:solidFill>
              </a:rPr>
              <a:t>Data </a:t>
            </a:r>
            <a:r>
              <a:rPr lang="en-US" dirty="0" err="1">
                <a:solidFill>
                  <a:schemeClr val="bg1"/>
                </a:solidFill>
              </a:rPr>
              <a:t>linEage</a:t>
            </a:r>
            <a:endParaRPr lang="en-US" dirty="0">
              <a:solidFill>
                <a:schemeClr val="bg1"/>
              </a:solidFill>
            </a:endParaRPr>
          </a:p>
        </p:txBody>
      </p:sp>
      <p:sp>
        <p:nvSpPr>
          <p:cNvPr id="4" name="Rectangle: Rounded Corners 3">
            <a:extLst>
              <a:ext uri="{FF2B5EF4-FFF2-40B4-BE49-F238E27FC236}">
                <a16:creationId xmlns:a16="http://schemas.microsoft.com/office/drawing/2014/main" id="{C21A237B-BF2E-4C15-BFF4-C87AAFD6C7F5}"/>
              </a:ext>
            </a:extLst>
          </p:cNvPr>
          <p:cNvSpPr/>
          <p:nvPr/>
        </p:nvSpPr>
        <p:spPr>
          <a:xfrm>
            <a:off x="404333" y="1334782"/>
            <a:ext cx="11379200" cy="115811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WHAT?</a:t>
            </a:r>
          </a:p>
          <a:p>
            <a:pPr algn="ctr"/>
            <a:r>
              <a:rPr lang="en-US" sz="1600" b="0" i="0">
                <a:solidFill>
                  <a:srgbClr val="202124"/>
                </a:solidFill>
                <a:effectLst/>
              </a:rPr>
              <a:t>Data lineage is </a:t>
            </a:r>
            <a:r>
              <a:rPr lang="en-US" sz="1600" b="1" i="0">
                <a:solidFill>
                  <a:srgbClr val="202124"/>
                </a:solidFill>
                <a:effectLst/>
              </a:rPr>
              <a:t>the process of understanding, recording, and visualizing data</a:t>
            </a:r>
            <a:r>
              <a:rPr lang="en-US" sz="1600" b="0" i="0">
                <a:solidFill>
                  <a:srgbClr val="202124"/>
                </a:solidFill>
                <a:effectLst/>
              </a:rPr>
              <a:t> as it flows from data sources to consumption. </a:t>
            </a:r>
            <a:endParaRPr lang="en-US" sz="1600"/>
          </a:p>
        </p:txBody>
      </p:sp>
      <p:pic>
        <p:nvPicPr>
          <p:cNvPr id="5" name="Graphic 4" descr="Database with solid fill">
            <a:extLst>
              <a:ext uri="{FF2B5EF4-FFF2-40B4-BE49-F238E27FC236}">
                <a16:creationId xmlns:a16="http://schemas.microsoft.com/office/drawing/2014/main" id="{08D4BD1F-2D62-45D7-93F2-D8A31EE397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9574" y="3018201"/>
            <a:ext cx="914400" cy="914400"/>
          </a:xfrm>
          <a:prstGeom prst="rect">
            <a:avLst/>
          </a:prstGeom>
        </p:spPr>
      </p:pic>
      <p:pic>
        <p:nvPicPr>
          <p:cNvPr id="12" name="Graphic 11" descr="Database with solid fill">
            <a:extLst>
              <a:ext uri="{FF2B5EF4-FFF2-40B4-BE49-F238E27FC236}">
                <a16:creationId xmlns:a16="http://schemas.microsoft.com/office/drawing/2014/main" id="{600A5BAD-646E-47D1-AE86-1E73EBEF4A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4590" y="2990018"/>
            <a:ext cx="914400" cy="914400"/>
          </a:xfrm>
          <a:prstGeom prst="rect">
            <a:avLst/>
          </a:prstGeom>
        </p:spPr>
      </p:pic>
      <p:pic>
        <p:nvPicPr>
          <p:cNvPr id="7" name="Graphic 6" descr="Cause And Effect with solid fill">
            <a:extLst>
              <a:ext uri="{FF2B5EF4-FFF2-40B4-BE49-F238E27FC236}">
                <a16:creationId xmlns:a16="http://schemas.microsoft.com/office/drawing/2014/main" id="{019569D1-F0A7-4C06-A34C-CE7E632D530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14942" y="3010099"/>
            <a:ext cx="914400" cy="914400"/>
          </a:xfrm>
          <a:prstGeom prst="rect">
            <a:avLst/>
          </a:prstGeom>
        </p:spPr>
      </p:pic>
      <p:cxnSp>
        <p:nvCxnSpPr>
          <p:cNvPr id="9" name="Connector: Elbow 8">
            <a:extLst>
              <a:ext uri="{FF2B5EF4-FFF2-40B4-BE49-F238E27FC236}">
                <a16:creationId xmlns:a16="http://schemas.microsoft.com/office/drawing/2014/main" id="{A085CCBE-0670-42A1-81DE-35894F9477F1}"/>
              </a:ext>
            </a:extLst>
          </p:cNvPr>
          <p:cNvCxnSpPr>
            <a:cxnSpLocks/>
            <a:endCxn id="12" idx="1"/>
          </p:cNvCxnSpPr>
          <p:nvPr/>
        </p:nvCxnSpPr>
        <p:spPr>
          <a:xfrm flipV="1">
            <a:off x="6629342" y="3447218"/>
            <a:ext cx="3575248" cy="291064"/>
          </a:xfrm>
          <a:prstGeom prst="bentConnector3">
            <a:avLst/>
          </a:prstGeom>
          <a:ln w="57150">
            <a:solidFill>
              <a:schemeClr val="bg1"/>
            </a:solidFill>
            <a:tailEnd type="triangle"/>
          </a:ln>
        </p:spPr>
        <p:style>
          <a:lnRef idx="1">
            <a:schemeClr val="dk1"/>
          </a:lnRef>
          <a:fillRef idx="0">
            <a:schemeClr val="dk1"/>
          </a:fillRef>
          <a:effectRef idx="0">
            <a:schemeClr val="dk1"/>
          </a:effectRef>
          <a:fontRef idx="minor">
            <a:schemeClr val="tx1"/>
          </a:fontRef>
        </p:style>
      </p:cxnSp>
      <p:cxnSp>
        <p:nvCxnSpPr>
          <p:cNvPr id="14" name="Connector: Elbow 13">
            <a:extLst>
              <a:ext uri="{FF2B5EF4-FFF2-40B4-BE49-F238E27FC236}">
                <a16:creationId xmlns:a16="http://schemas.microsoft.com/office/drawing/2014/main" id="{01CA7391-312F-4C70-8542-0C0590D08087}"/>
              </a:ext>
            </a:extLst>
          </p:cNvPr>
          <p:cNvCxnSpPr>
            <a:cxnSpLocks/>
          </p:cNvCxnSpPr>
          <p:nvPr/>
        </p:nvCxnSpPr>
        <p:spPr>
          <a:xfrm flipV="1">
            <a:off x="2135560" y="3284984"/>
            <a:ext cx="3577315" cy="453298"/>
          </a:xfrm>
          <a:prstGeom prst="bentConnector3">
            <a:avLst/>
          </a:prstGeom>
          <a:ln w="57150">
            <a:solidFill>
              <a:schemeClr val="bg1"/>
            </a:solidFill>
            <a:tailEnd type="triangle"/>
          </a:ln>
        </p:spPr>
        <p:style>
          <a:lnRef idx="1">
            <a:schemeClr val="dk1"/>
          </a:lnRef>
          <a:fillRef idx="0">
            <a:schemeClr val="dk1"/>
          </a:fillRef>
          <a:effectRef idx="0">
            <a:schemeClr val="dk1"/>
          </a:effectRef>
          <a:fontRef idx="minor">
            <a:schemeClr val="tx1"/>
          </a:fontRef>
        </p:style>
      </p:cxnSp>
      <p:sp>
        <p:nvSpPr>
          <p:cNvPr id="19" name="Rectangle: Rounded Corners 18">
            <a:extLst>
              <a:ext uri="{FF2B5EF4-FFF2-40B4-BE49-F238E27FC236}">
                <a16:creationId xmlns:a16="http://schemas.microsoft.com/office/drawing/2014/main" id="{17642D84-B6AF-4297-9B52-34BCD9A32D5E}"/>
              </a:ext>
            </a:extLst>
          </p:cNvPr>
          <p:cNvSpPr/>
          <p:nvPr/>
        </p:nvSpPr>
        <p:spPr>
          <a:xfrm>
            <a:off x="479376" y="4341537"/>
            <a:ext cx="11379200" cy="1706936"/>
          </a:xfrm>
          <a:prstGeom prst="roundRect">
            <a:avLst/>
          </a:prstGeom>
          <a:solidFill>
            <a:srgbClr val="CCE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WHY?</a:t>
            </a:r>
          </a:p>
          <a:p>
            <a:pPr algn="ctr"/>
            <a:r>
              <a:rPr lang="en-US" sz="1600" b="1" i="0">
                <a:solidFill>
                  <a:srgbClr val="202124"/>
                </a:solidFill>
                <a:effectLst/>
              </a:rPr>
              <a:t>Is the data coming from trusted source</a:t>
            </a:r>
            <a:r>
              <a:rPr lang="en-US" sz="1600" b="0" i="0">
                <a:solidFill>
                  <a:srgbClr val="202124"/>
                </a:solidFill>
                <a:effectLst/>
              </a:rPr>
              <a:t>?</a:t>
            </a:r>
          </a:p>
          <a:p>
            <a:pPr algn="ctr"/>
            <a:r>
              <a:rPr lang="en-US" sz="1600" b="0" i="0">
                <a:solidFill>
                  <a:srgbClr val="202124"/>
                </a:solidFill>
                <a:effectLst/>
              </a:rPr>
              <a:t>Transformed correctly and loaded to the specified location?</a:t>
            </a:r>
          </a:p>
          <a:p>
            <a:pPr algn="ctr"/>
            <a:r>
              <a:rPr lang="en-US" sz="1600">
                <a:solidFill>
                  <a:srgbClr val="202124"/>
                </a:solidFill>
              </a:rPr>
              <a:t>Important in organizations where compliance is key – such as financial institutions or government organizations</a:t>
            </a:r>
            <a:endParaRPr lang="en-US" sz="1600"/>
          </a:p>
        </p:txBody>
      </p:sp>
      <p:sp>
        <p:nvSpPr>
          <p:cNvPr id="2" name="TextBox 1">
            <a:extLst>
              <a:ext uri="{FF2B5EF4-FFF2-40B4-BE49-F238E27FC236}">
                <a16:creationId xmlns:a16="http://schemas.microsoft.com/office/drawing/2014/main" id="{A5F685C0-B115-4DCF-81C3-35F5CCA47FC8}"/>
              </a:ext>
            </a:extLst>
          </p:cNvPr>
          <p:cNvSpPr txBox="1"/>
          <p:nvPr/>
        </p:nvSpPr>
        <p:spPr>
          <a:xfrm>
            <a:off x="12549223" y="388188"/>
            <a:ext cx="5022990" cy="646331"/>
          </a:xfrm>
          <a:prstGeom prst="rect">
            <a:avLst/>
          </a:prstGeom>
          <a:solidFill>
            <a:srgbClr val="FFC000"/>
          </a:solidFill>
        </p:spPr>
        <p:txBody>
          <a:bodyPr wrap="square" rtlCol="0">
            <a:spAutoFit/>
          </a:bodyPr>
          <a:lstStyle/>
          <a:p>
            <a:r>
              <a:rPr lang="nb-NO"/>
              <a:t>Få med hvorfor </a:t>
            </a:r>
            <a:r>
              <a:rPr lang="nb-NO" err="1"/>
              <a:t>lineage</a:t>
            </a:r>
            <a:r>
              <a:rPr lang="nb-NO"/>
              <a:t> er spesielt viktig i enkelte typer organisasjoner</a:t>
            </a:r>
          </a:p>
        </p:txBody>
      </p:sp>
      <p:pic>
        <p:nvPicPr>
          <p:cNvPr id="11" name="Graphic 10" descr="Cause And Effect with solid fill">
            <a:extLst>
              <a:ext uri="{FF2B5EF4-FFF2-40B4-BE49-F238E27FC236}">
                <a16:creationId xmlns:a16="http://schemas.microsoft.com/office/drawing/2014/main" id="{3B2C3846-4CBD-4A0B-A0C4-50880C1CD7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06341" y="542694"/>
            <a:ext cx="610338" cy="610338"/>
          </a:xfrm>
          <a:prstGeom prst="rect">
            <a:avLst/>
          </a:prstGeom>
        </p:spPr>
      </p:pic>
    </p:spTree>
    <p:extLst>
      <p:ext uri="{BB962C8B-B14F-4D97-AF65-F5344CB8AC3E}">
        <p14:creationId xmlns:p14="http://schemas.microsoft.com/office/powerpoint/2010/main" val="3282405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a:xfrm>
            <a:off x="5303910" y="1362192"/>
            <a:ext cx="1584177" cy="716711"/>
          </a:xfrm>
        </p:spPr>
        <p:txBody>
          <a:bodyPr/>
          <a:lstStyle/>
          <a:p>
            <a:pPr algn="ctr"/>
            <a:r>
              <a:rPr lang="en-US" dirty="0">
                <a:solidFill>
                  <a:schemeClr val="bg1"/>
                </a:solidFill>
              </a:rPr>
              <a:t>DEMO</a:t>
            </a:r>
          </a:p>
        </p:txBody>
      </p:sp>
      <p:sp>
        <p:nvSpPr>
          <p:cNvPr id="6" name="AutoShape 4" descr="Azure Purview: Hitchhikers Guide For Power BI Professionals">
            <a:extLst>
              <a:ext uri="{FF2B5EF4-FFF2-40B4-BE49-F238E27FC236}">
                <a16:creationId xmlns:a16="http://schemas.microsoft.com/office/drawing/2014/main" id="{81D3BC13-8A08-42AD-BC62-4E7C9CC198B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pic>
        <p:nvPicPr>
          <p:cNvPr id="1032" name="Picture 8" descr="New Blog Post | March Ahead w/ Purview: Unify ALL your data using Apache  Atlas open API support - Microsoft Tech Community">
            <a:extLst>
              <a:ext uri="{FF2B5EF4-FFF2-40B4-BE49-F238E27FC236}">
                <a16:creationId xmlns:a16="http://schemas.microsoft.com/office/drawing/2014/main" id="{FB1D56D5-5885-4E61-B814-06443BB24F63}"/>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foregroundMark x1="34504" y1="25926" x2="34504" y2="25926"/>
                        <a14:foregroundMark x1="34504" y1="25926" x2="28926" y2="25617"/>
                        <a14:foregroundMark x1="27686" y1="28395" x2="38430" y2="24074"/>
                        <a14:foregroundMark x1="44835" y1="48148" x2="44835" y2="48148"/>
                        <a14:foregroundMark x1="78306" y1="41358" x2="78306" y2="41358"/>
                        <a14:foregroundMark x1="71281" y1="31790" x2="78099" y2="59877"/>
                        <a14:foregroundMark x1="78099" y1="59877" x2="73967" y2="30556"/>
                        <a14:foregroundMark x1="73967" y1="30556" x2="71901" y2="60802"/>
                        <a14:foregroundMark x1="71901" y1="60802" x2="86777" y2="53086"/>
                        <a14:foregroundMark x1="86777" y1="53086" x2="80579" y2="30247"/>
                        <a14:foregroundMark x1="80579" y1="30247" x2="66736" y2="22531"/>
                        <a14:foregroundMark x1="66736" y1="22531" x2="56612" y2="26543"/>
                        <a14:foregroundMark x1="9917" y1="47222" x2="9917" y2="47222"/>
                      </a14:backgroundRemoval>
                    </a14:imgEffect>
                  </a14:imgLayer>
                </a14:imgProps>
              </a:ext>
              <a:ext uri="{28A0092B-C50C-407E-A947-70E740481C1C}">
                <a14:useLocalDpi xmlns:a14="http://schemas.microsoft.com/office/drawing/2010/main" val="0"/>
              </a:ext>
            </a:extLst>
          </a:blip>
          <a:srcRect/>
          <a:stretch>
            <a:fillRect/>
          </a:stretch>
        </p:blipFill>
        <p:spPr bwMode="auto">
          <a:xfrm>
            <a:off x="4438443" y="2166996"/>
            <a:ext cx="3315114" cy="221920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2921084-B6D0-49DC-881E-533BCEA332EC}"/>
              </a:ext>
            </a:extLst>
          </p:cNvPr>
          <p:cNvSpPr txBox="1"/>
          <p:nvPr/>
        </p:nvSpPr>
        <p:spPr>
          <a:xfrm>
            <a:off x="5114000" y="4386204"/>
            <a:ext cx="196399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Ubuntu"/>
                <a:ea typeface="+mn-ea"/>
                <a:cs typeface="+mn-cs"/>
              </a:rPr>
              <a:t>AZURE PURVIEW</a:t>
            </a:r>
          </a:p>
        </p:txBody>
      </p:sp>
    </p:spTree>
    <p:extLst>
      <p:ext uri="{BB962C8B-B14F-4D97-AF65-F5344CB8AC3E}">
        <p14:creationId xmlns:p14="http://schemas.microsoft.com/office/powerpoint/2010/main" val="41547808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B45FA-847C-4E9D-9896-2CF6D7B4AFBB}"/>
              </a:ext>
            </a:extLst>
          </p:cNvPr>
          <p:cNvSpPr>
            <a:spLocks noGrp="1"/>
          </p:cNvSpPr>
          <p:nvPr>
            <p:ph type="body" sz="quarter" idx="10"/>
          </p:nvPr>
        </p:nvSpPr>
        <p:spPr/>
        <p:txBody>
          <a:bodyPr/>
          <a:lstStyle/>
          <a:p>
            <a:endParaRPr lang="en-US"/>
          </a:p>
          <a:p>
            <a:endParaRPr lang="en-US"/>
          </a:p>
          <a:p>
            <a:endParaRPr lang="en-US"/>
          </a:p>
        </p:txBody>
      </p:sp>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dirty="0">
                <a:solidFill>
                  <a:schemeClr val="bg1"/>
                </a:solidFill>
              </a:rPr>
              <a:t>Data LOSS PREVENTION &amp; privacy</a:t>
            </a:r>
          </a:p>
        </p:txBody>
      </p:sp>
      <p:pic>
        <p:nvPicPr>
          <p:cNvPr id="5" name="Picture 4">
            <a:extLst>
              <a:ext uri="{FF2B5EF4-FFF2-40B4-BE49-F238E27FC236}">
                <a16:creationId xmlns:a16="http://schemas.microsoft.com/office/drawing/2014/main" id="{98E1389E-B204-415B-9C0B-0DCDA2D44A3C}"/>
              </a:ext>
            </a:extLst>
          </p:cNvPr>
          <p:cNvPicPr>
            <a:picLocks noChangeAspect="1"/>
          </p:cNvPicPr>
          <p:nvPr/>
        </p:nvPicPr>
        <p:blipFill>
          <a:blip r:embed="rId3"/>
          <a:stretch>
            <a:fillRect/>
          </a:stretch>
        </p:blipFill>
        <p:spPr>
          <a:xfrm>
            <a:off x="3495001" y="7073444"/>
            <a:ext cx="11039475" cy="4381500"/>
          </a:xfrm>
          <a:prstGeom prst="rect">
            <a:avLst/>
          </a:prstGeom>
        </p:spPr>
      </p:pic>
      <p:pic>
        <p:nvPicPr>
          <p:cNvPr id="8" name="Graphic 7" descr="Police female outline">
            <a:extLst>
              <a:ext uri="{FF2B5EF4-FFF2-40B4-BE49-F238E27FC236}">
                <a16:creationId xmlns:a16="http://schemas.microsoft.com/office/drawing/2014/main" id="{FF677930-BDD4-4931-8DFB-70D796674B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87888" y="556209"/>
            <a:ext cx="548690" cy="548690"/>
          </a:xfrm>
          <a:prstGeom prst="rect">
            <a:avLst/>
          </a:prstGeom>
        </p:spPr>
      </p:pic>
      <p:sp>
        <p:nvSpPr>
          <p:cNvPr id="4" name="Rectangle 3">
            <a:extLst>
              <a:ext uri="{FF2B5EF4-FFF2-40B4-BE49-F238E27FC236}">
                <a16:creationId xmlns:a16="http://schemas.microsoft.com/office/drawing/2014/main" id="{20DBA2DC-367A-49C3-AD86-CBA64B5E9278}"/>
              </a:ext>
            </a:extLst>
          </p:cNvPr>
          <p:cNvSpPr/>
          <p:nvPr/>
        </p:nvSpPr>
        <p:spPr>
          <a:xfrm>
            <a:off x="12359216" y="240803"/>
            <a:ext cx="2353013" cy="17281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Demo”: GDPR data </a:t>
            </a:r>
            <a:r>
              <a:rPr lang="en-US" sz="1600" err="1"/>
              <a:t>markert</a:t>
            </a:r>
            <a:r>
              <a:rPr lang="en-US" sz="1600"/>
              <a:t> I purview, security </a:t>
            </a:r>
            <a:r>
              <a:rPr lang="en-US" sz="1600" err="1"/>
              <a:t>på</a:t>
            </a:r>
            <a:r>
              <a:rPr lang="en-US" sz="1600"/>
              <a:t> </a:t>
            </a:r>
            <a:r>
              <a:rPr lang="en-US" sz="1600" err="1"/>
              <a:t>toppen</a:t>
            </a:r>
            <a:r>
              <a:rPr lang="en-US" sz="1600"/>
              <a:t> mot </a:t>
            </a:r>
            <a:r>
              <a:rPr lang="en-US" sz="1600" err="1"/>
              <a:t>microsoft</a:t>
            </a:r>
            <a:endParaRPr lang="en-US" sz="1600"/>
          </a:p>
        </p:txBody>
      </p:sp>
      <p:sp>
        <p:nvSpPr>
          <p:cNvPr id="7" name="Text Placeholder 1">
            <a:extLst>
              <a:ext uri="{FF2B5EF4-FFF2-40B4-BE49-F238E27FC236}">
                <a16:creationId xmlns:a16="http://schemas.microsoft.com/office/drawing/2014/main" id="{F393DCC9-7A42-43C7-A55C-C292CD8AFF69}"/>
              </a:ext>
            </a:extLst>
          </p:cNvPr>
          <p:cNvSpPr txBox="1">
            <a:spLocks/>
          </p:cNvSpPr>
          <p:nvPr/>
        </p:nvSpPr>
        <p:spPr>
          <a:xfrm>
            <a:off x="6452865" y="1543543"/>
            <a:ext cx="5331148" cy="2581890"/>
          </a:xfrm>
          <a:prstGeom prst="roundRect">
            <a:avLst/>
          </a:prstGeom>
          <a:solidFill>
            <a:schemeClr val="accent2">
              <a:lumMod val="20000"/>
              <a:lumOff val="80000"/>
            </a:schemeClr>
          </a:solidFill>
        </p:spPr>
        <p:txBody>
          <a:bodyPr vert="horz" lIns="0" tIns="0" rIns="0" bIns="0" rtlCol="0" anchor="ct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lgn="ctr">
              <a:buFont typeface="Wingdings" panose="05000000000000000000" pitchFamily="2" charset="2"/>
              <a:buNone/>
            </a:pPr>
            <a:r>
              <a:rPr lang="en-US" sz="1600" b="1">
                <a:solidFill>
                  <a:schemeClr val="bg1"/>
                </a:solidFill>
              </a:rPr>
              <a:t>WHAT?</a:t>
            </a:r>
          </a:p>
          <a:p>
            <a:pPr lvl="1" indent="0" algn="ctr">
              <a:buFont typeface="Wingdings" panose="05000000000000000000" pitchFamily="2" charset="2"/>
              <a:buNone/>
            </a:pPr>
            <a:r>
              <a:rPr lang="en-US" sz="2400" b="1">
                <a:latin typeface="+mj-lt"/>
              </a:rPr>
              <a:t>Privacy</a:t>
            </a:r>
            <a:endParaRPr lang="en-US" sz="2000" b="1">
              <a:latin typeface="+mj-lt"/>
            </a:endParaRPr>
          </a:p>
          <a:p>
            <a:pPr lvl="1" indent="0" algn="ctr">
              <a:buFont typeface="Wingdings" panose="05000000000000000000" pitchFamily="2" charset="2"/>
              <a:buNone/>
            </a:pPr>
            <a:r>
              <a:rPr lang="en-US" sz="1600"/>
              <a:t>tools and processes to keep track of all PII data in your company </a:t>
            </a:r>
          </a:p>
        </p:txBody>
      </p:sp>
      <p:sp>
        <p:nvSpPr>
          <p:cNvPr id="10" name="Text Placeholder 1">
            <a:extLst>
              <a:ext uri="{FF2B5EF4-FFF2-40B4-BE49-F238E27FC236}">
                <a16:creationId xmlns:a16="http://schemas.microsoft.com/office/drawing/2014/main" id="{FE6AB4A9-AD56-4EA9-BA12-7F720437F893}"/>
              </a:ext>
            </a:extLst>
          </p:cNvPr>
          <p:cNvSpPr txBox="1">
            <a:spLocks/>
          </p:cNvSpPr>
          <p:nvPr/>
        </p:nvSpPr>
        <p:spPr>
          <a:xfrm>
            <a:off x="549578" y="1543543"/>
            <a:ext cx="5331148" cy="2581890"/>
          </a:xfrm>
          <a:prstGeom prst="roundRect">
            <a:avLst/>
          </a:prstGeom>
          <a:solidFill>
            <a:schemeClr val="accent2">
              <a:lumMod val="20000"/>
              <a:lumOff val="80000"/>
            </a:schemeClr>
          </a:solidFill>
        </p:spPr>
        <p:txBody>
          <a:bodyPr vert="horz" lIns="0" tIns="0" rIns="0" bIns="0" rtlCol="0" anchor="ct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lgn="ctr">
              <a:buFont typeface="Wingdings" panose="05000000000000000000" pitchFamily="2" charset="2"/>
              <a:buNone/>
            </a:pPr>
            <a:r>
              <a:rPr lang="en-US" sz="1600" b="1">
                <a:solidFill>
                  <a:schemeClr val="bg1"/>
                </a:solidFill>
              </a:rPr>
              <a:t>WHAT?</a:t>
            </a:r>
          </a:p>
          <a:p>
            <a:pPr lvl="1" indent="0" algn="ctr">
              <a:buFont typeface="Wingdings" panose="05000000000000000000" pitchFamily="2" charset="2"/>
              <a:buNone/>
            </a:pPr>
            <a:r>
              <a:rPr lang="en-US" sz="2400" b="1">
                <a:latin typeface="+mj-lt"/>
              </a:rPr>
              <a:t>DLP</a:t>
            </a:r>
            <a:endParaRPr lang="en-US" sz="1600" b="1">
              <a:latin typeface="+mj-lt"/>
            </a:endParaRPr>
          </a:p>
          <a:p>
            <a:pPr lvl="1" indent="0" algn="ctr">
              <a:buFont typeface="Wingdings" panose="05000000000000000000" pitchFamily="2" charset="2"/>
              <a:buNone/>
            </a:pPr>
            <a:r>
              <a:rPr lang="en-US" sz="1600"/>
              <a:t> tools and processes to prevent  loss, misuse and/or theft  of sensitive data</a:t>
            </a:r>
          </a:p>
        </p:txBody>
      </p:sp>
      <p:cxnSp>
        <p:nvCxnSpPr>
          <p:cNvPr id="9" name="Straight Connector 8">
            <a:extLst>
              <a:ext uri="{FF2B5EF4-FFF2-40B4-BE49-F238E27FC236}">
                <a16:creationId xmlns:a16="http://schemas.microsoft.com/office/drawing/2014/main" id="{F7DDFF57-C8E1-4BA7-8BD3-975A0AD04189}"/>
              </a:ext>
            </a:extLst>
          </p:cNvPr>
          <p:cNvCxnSpPr/>
          <p:nvPr/>
        </p:nvCxnSpPr>
        <p:spPr>
          <a:xfrm>
            <a:off x="6149165" y="1818167"/>
            <a:ext cx="0" cy="3976577"/>
          </a:xfrm>
          <a:prstGeom prst="line">
            <a:avLst/>
          </a:prstGeom>
          <a:ln w="19050">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1" name="Text Placeholder 1">
            <a:extLst>
              <a:ext uri="{FF2B5EF4-FFF2-40B4-BE49-F238E27FC236}">
                <a16:creationId xmlns:a16="http://schemas.microsoft.com/office/drawing/2014/main" id="{C2FEFAE2-E8BE-4A22-8849-06664CA85ADD}"/>
              </a:ext>
            </a:extLst>
          </p:cNvPr>
          <p:cNvSpPr txBox="1">
            <a:spLocks/>
          </p:cNvSpPr>
          <p:nvPr/>
        </p:nvSpPr>
        <p:spPr>
          <a:xfrm>
            <a:off x="535584" y="3557955"/>
            <a:ext cx="5331148" cy="1928445"/>
          </a:xfrm>
          <a:prstGeom prst="roundRect">
            <a:avLst/>
          </a:prstGeom>
          <a:solidFill>
            <a:srgbClr val="CCE9AD"/>
          </a:solidFill>
        </p:spPr>
        <p:txBody>
          <a:bodyPr vert="horz" lIns="0" tIns="0" rIns="0" bIns="0" rtlCol="0" anchor="ct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lgn="ctr">
              <a:buFont typeface="Wingdings" panose="05000000000000000000" pitchFamily="2" charset="2"/>
              <a:buNone/>
            </a:pPr>
            <a:r>
              <a:rPr lang="en-US" sz="1600" b="1">
                <a:solidFill>
                  <a:schemeClr val="bg1"/>
                </a:solidFill>
              </a:rPr>
              <a:t>WHY?</a:t>
            </a:r>
          </a:p>
          <a:p>
            <a:pPr lvl="1" indent="0" algn="ctr">
              <a:buFont typeface="Wingdings" panose="05000000000000000000" pitchFamily="2" charset="2"/>
              <a:buNone/>
            </a:pPr>
            <a:r>
              <a:rPr lang="en-US" sz="1600"/>
              <a:t>Impact of data loss</a:t>
            </a:r>
          </a:p>
          <a:p>
            <a:pPr lvl="1" indent="0" algn="ctr">
              <a:buFont typeface="Wingdings" panose="05000000000000000000" pitchFamily="2" charset="2"/>
              <a:buNone/>
            </a:pPr>
            <a:r>
              <a:rPr lang="en-US" sz="1600"/>
              <a:t>Ransomware</a:t>
            </a:r>
          </a:p>
        </p:txBody>
      </p:sp>
      <p:pic>
        <p:nvPicPr>
          <p:cNvPr id="12" name="Graphic 11" descr="Siren with solid fill">
            <a:extLst>
              <a:ext uri="{FF2B5EF4-FFF2-40B4-BE49-F238E27FC236}">
                <a16:creationId xmlns:a16="http://schemas.microsoft.com/office/drawing/2014/main" id="{7A52B3D1-DD03-4D32-9BEB-EC7E843C14A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18479" y="4884209"/>
            <a:ext cx="1205822" cy="1205822"/>
          </a:xfrm>
          <a:prstGeom prst="rect">
            <a:avLst/>
          </a:prstGeom>
        </p:spPr>
      </p:pic>
      <p:sp>
        <p:nvSpPr>
          <p:cNvPr id="13" name="Text Placeholder 1">
            <a:extLst>
              <a:ext uri="{FF2B5EF4-FFF2-40B4-BE49-F238E27FC236}">
                <a16:creationId xmlns:a16="http://schemas.microsoft.com/office/drawing/2014/main" id="{BCC7CE9F-097E-4B6E-BA99-1CBA4E72D232}"/>
              </a:ext>
            </a:extLst>
          </p:cNvPr>
          <p:cNvSpPr txBox="1">
            <a:spLocks/>
          </p:cNvSpPr>
          <p:nvPr/>
        </p:nvSpPr>
        <p:spPr>
          <a:xfrm>
            <a:off x="6449504" y="3557954"/>
            <a:ext cx="5331148" cy="1928445"/>
          </a:xfrm>
          <a:prstGeom prst="roundRect">
            <a:avLst/>
          </a:prstGeom>
          <a:solidFill>
            <a:srgbClr val="CCE9AD"/>
          </a:solidFill>
        </p:spPr>
        <p:txBody>
          <a:bodyPr vert="horz" lIns="0" tIns="0" rIns="0" bIns="0" rtlCol="0" anchor="ct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lgn="ctr">
              <a:buFont typeface="Wingdings" panose="05000000000000000000" pitchFamily="2" charset="2"/>
              <a:buNone/>
            </a:pPr>
            <a:r>
              <a:rPr lang="en-US" sz="1600" b="1">
                <a:solidFill>
                  <a:schemeClr val="bg1"/>
                </a:solidFill>
              </a:rPr>
              <a:t>WHY?</a:t>
            </a:r>
          </a:p>
          <a:p>
            <a:pPr lvl="1" indent="0" algn="ctr">
              <a:buFont typeface="Wingdings" panose="05000000000000000000" pitchFamily="2" charset="2"/>
              <a:buNone/>
            </a:pPr>
            <a:r>
              <a:rPr lang="en-US" sz="1600"/>
              <a:t>GDPR/CCPA/++ compliance</a:t>
            </a:r>
          </a:p>
          <a:p>
            <a:pPr lvl="1" indent="0" algn="ctr">
              <a:buFont typeface="Wingdings" panose="05000000000000000000" pitchFamily="2" charset="2"/>
              <a:buNone/>
            </a:pPr>
            <a:r>
              <a:rPr lang="en-US" sz="1600"/>
              <a:t>Public trust</a:t>
            </a:r>
          </a:p>
        </p:txBody>
      </p:sp>
      <p:pic>
        <p:nvPicPr>
          <p:cNvPr id="14" name="Graphic 13" descr="Lock with solid fill">
            <a:extLst>
              <a:ext uri="{FF2B5EF4-FFF2-40B4-BE49-F238E27FC236}">
                <a16:creationId xmlns:a16="http://schemas.microsoft.com/office/drawing/2014/main" id="{8A448652-454D-4E8F-A0C6-75AC54F780D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69718" y="4974492"/>
            <a:ext cx="1205822" cy="1205822"/>
          </a:xfrm>
          <a:prstGeom prst="rect">
            <a:avLst/>
          </a:prstGeom>
        </p:spPr>
      </p:pic>
    </p:spTree>
    <p:extLst>
      <p:ext uri="{BB962C8B-B14F-4D97-AF65-F5344CB8AC3E}">
        <p14:creationId xmlns:p14="http://schemas.microsoft.com/office/powerpoint/2010/main" val="1244581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1000"/>
                                        <p:tgtEl>
                                          <p:spTgt spid="11"/>
                                        </p:tgtEl>
                                      </p:cBhvr>
                                    </p:animEffect>
                                    <p:anim calcmode="lin" valueType="num">
                                      <p:cBhvr>
                                        <p:cTn id="16" dur="1000" fill="hold"/>
                                        <p:tgtEl>
                                          <p:spTgt spid="11"/>
                                        </p:tgtEl>
                                        <p:attrNameLst>
                                          <p:attrName>ppt_x</p:attrName>
                                        </p:attrNameLst>
                                      </p:cBhvr>
                                      <p:tavLst>
                                        <p:tav tm="0">
                                          <p:val>
                                            <p:strVal val="#ppt_x"/>
                                          </p:val>
                                        </p:tav>
                                        <p:tav tm="100000">
                                          <p:val>
                                            <p:strVal val="#ppt_x"/>
                                          </p:val>
                                        </p:tav>
                                      </p:tavLst>
                                    </p:anim>
                                    <p:anim calcmode="lin" valueType="num">
                                      <p:cBhvr>
                                        <p:cTn id="1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1000"/>
                                        <p:tgtEl>
                                          <p:spTgt spid="13"/>
                                        </p:tgtEl>
                                      </p:cBhvr>
                                    </p:animEffect>
                                    <p:anim calcmode="lin" valueType="num">
                                      <p:cBhvr>
                                        <p:cTn id="23" dur="1000" fill="hold"/>
                                        <p:tgtEl>
                                          <p:spTgt spid="13"/>
                                        </p:tgtEl>
                                        <p:attrNameLst>
                                          <p:attrName>ppt_x</p:attrName>
                                        </p:attrNameLst>
                                      </p:cBhvr>
                                      <p:tavLst>
                                        <p:tav tm="0">
                                          <p:val>
                                            <p:strVal val="#ppt_x"/>
                                          </p:val>
                                        </p:tav>
                                        <p:tav tm="100000">
                                          <p:val>
                                            <p:strVal val="#ppt_x"/>
                                          </p:val>
                                        </p:tav>
                                      </p:tavLst>
                                    </p:anim>
                                    <p:anim calcmode="lin" valueType="num">
                                      <p:cBhvr>
                                        <p:cTn id="2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P spid="1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a:xfrm>
            <a:off x="5303910" y="1362192"/>
            <a:ext cx="1584177" cy="716711"/>
          </a:xfrm>
        </p:spPr>
        <p:txBody>
          <a:bodyPr/>
          <a:lstStyle/>
          <a:p>
            <a:pPr algn="ctr"/>
            <a:r>
              <a:rPr lang="en-US" dirty="0">
                <a:solidFill>
                  <a:schemeClr val="bg1"/>
                </a:solidFill>
              </a:rPr>
              <a:t>DEMO</a:t>
            </a:r>
          </a:p>
        </p:txBody>
      </p:sp>
      <p:sp>
        <p:nvSpPr>
          <p:cNvPr id="6" name="AutoShape 4" descr="Azure Purview: Hitchhikers Guide For Power BI Professionals">
            <a:extLst>
              <a:ext uri="{FF2B5EF4-FFF2-40B4-BE49-F238E27FC236}">
                <a16:creationId xmlns:a16="http://schemas.microsoft.com/office/drawing/2014/main" id="{81D3BC13-8A08-42AD-BC62-4E7C9CC198B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pic>
        <p:nvPicPr>
          <p:cNvPr id="1032" name="Picture 8" descr="New Blog Post | March Ahead w/ Purview: Unify ALL your data using Apache  Atlas open API support - Microsoft Tech Community">
            <a:extLst>
              <a:ext uri="{FF2B5EF4-FFF2-40B4-BE49-F238E27FC236}">
                <a16:creationId xmlns:a16="http://schemas.microsoft.com/office/drawing/2014/main" id="{FB1D56D5-5885-4E61-B814-06443BB24F63}"/>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foregroundMark x1="34504" y1="25926" x2="34504" y2="25926"/>
                        <a14:foregroundMark x1="34504" y1="25926" x2="28926" y2="25617"/>
                        <a14:foregroundMark x1="27686" y1="28395" x2="38430" y2="24074"/>
                        <a14:foregroundMark x1="44835" y1="48148" x2="44835" y2="48148"/>
                        <a14:foregroundMark x1="78306" y1="41358" x2="78306" y2="41358"/>
                        <a14:foregroundMark x1="71281" y1="31790" x2="78099" y2="59877"/>
                        <a14:foregroundMark x1="78099" y1="59877" x2="73967" y2="30556"/>
                        <a14:foregroundMark x1="73967" y1="30556" x2="71901" y2="60802"/>
                        <a14:foregroundMark x1="71901" y1="60802" x2="86777" y2="53086"/>
                        <a14:foregroundMark x1="86777" y1="53086" x2="80579" y2="30247"/>
                        <a14:foregroundMark x1="80579" y1="30247" x2="66736" y2="22531"/>
                        <a14:foregroundMark x1="66736" y1="22531" x2="56612" y2="26543"/>
                        <a14:foregroundMark x1="9917" y1="47222" x2="9917" y2="47222"/>
                      </a14:backgroundRemoval>
                    </a14:imgEffect>
                  </a14:imgLayer>
                </a14:imgProps>
              </a:ext>
              <a:ext uri="{28A0092B-C50C-407E-A947-70E740481C1C}">
                <a14:useLocalDpi xmlns:a14="http://schemas.microsoft.com/office/drawing/2010/main" val="0"/>
              </a:ext>
            </a:extLst>
          </a:blip>
          <a:srcRect/>
          <a:stretch>
            <a:fillRect/>
          </a:stretch>
        </p:blipFill>
        <p:spPr bwMode="auto">
          <a:xfrm>
            <a:off x="4438443" y="2166996"/>
            <a:ext cx="3315114" cy="221920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2921084-B6D0-49DC-881E-533BCEA332EC}"/>
              </a:ext>
            </a:extLst>
          </p:cNvPr>
          <p:cNvSpPr txBox="1"/>
          <p:nvPr/>
        </p:nvSpPr>
        <p:spPr>
          <a:xfrm>
            <a:off x="5114000" y="4386204"/>
            <a:ext cx="196399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Ubuntu"/>
                <a:ea typeface="+mn-ea"/>
                <a:cs typeface="+mn-cs"/>
              </a:rPr>
              <a:t>AZURE PURVIEW</a:t>
            </a:r>
          </a:p>
        </p:txBody>
      </p:sp>
    </p:spTree>
    <p:extLst>
      <p:ext uri="{BB962C8B-B14F-4D97-AF65-F5344CB8AC3E}">
        <p14:creationId xmlns:p14="http://schemas.microsoft.com/office/powerpoint/2010/main" val="2163709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a:t>So, should you care?</a:t>
            </a:r>
          </a:p>
        </p:txBody>
      </p:sp>
      <p:pic>
        <p:nvPicPr>
          <p:cNvPr id="67" name="Picture 66" descr="Graphical user interface&#10;&#10;Description automatically generated">
            <a:extLst>
              <a:ext uri="{FF2B5EF4-FFF2-40B4-BE49-F238E27FC236}">
                <a16:creationId xmlns:a16="http://schemas.microsoft.com/office/drawing/2014/main" id="{5C1E5830-A465-4922-8B34-EA62BA5A0E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47595" y="1405054"/>
            <a:ext cx="8495816" cy="4912619"/>
          </a:xfrm>
          <a:prstGeom prst="rect">
            <a:avLst/>
          </a:prstGeom>
        </p:spPr>
      </p:pic>
    </p:spTree>
    <p:extLst>
      <p:ext uri="{BB962C8B-B14F-4D97-AF65-F5344CB8AC3E}">
        <p14:creationId xmlns:p14="http://schemas.microsoft.com/office/powerpoint/2010/main" val="3083372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pic>
        <p:nvPicPr>
          <p:cNvPr id="7" name="Picture Placeholder 6" descr="A picture containing snow, outdoor, person, skiing&#10;&#10;Description automatically generated">
            <a:extLst>
              <a:ext uri="{FF2B5EF4-FFF2-40B4-BE49-F238E27FC236}">
                <a16:creationId xmlns:a16="http://schemas.microsoft.com/office/drawing/2014/main" id="{729F2F1E-8CD5-4AB2-B7C5-5BB77686DEC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698" r="1698"/>
          <a:stretch>
            <a:fillRect/>
          </a:stretch>
        </p:blipFill>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a:xfrm>
            <a:off x="545697" y="706676"/>
            <a:ext cx="6486405" cy="1115442"/>
          </a:xfrm>
        </p:spPr>
        <p:txBody>
          <a:bodyPr/>
          <a:lstStyle/>
          <a:p>
            <a:r>
              <a:rPr lang="en-GB" dirty="0">
                <a:solidFill>
                  <a:schemeClr val="bg1"/>
                </a:solidFill>
              </a:rPr>
              <a:t>Marthe Moengen</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592096" y="2508369"/>
            <a:ext cx="4462845" cy="2755666"/>
          </a:xfrm>
        </p:spPr>
        <p:txBody>
          <a:bodyPr>
            <a:normAutofit/>
          </a:bodyPr>
          <a:lstStyle/>
          <a:p>
            <a:pPr marL="520700" lvl="1" indent="-342900">
              <a:buFont typeface="Arial" panose="020B0604020202020204" pitchFamily="34" charset="0"/>
              <a:buChar char="•"/>
            </a:pPr>
            <a:r>
              <a:rPr lang="en-US" sz="1600" dirty="0">
                <a:solidFill>
                  <a:schemeClr val="bg1"/>
                </a:solidFill>
              </a:rPr>
              <a:t>Master in Marine Technology</a:t>
            </a:r>
          </a:p>
          <a:p>
            <a:pPr marL="704850" lvl="2" indent="-342900"/>
            <a:r>
              <a:rPr lang="en-US" sz="1200" dirty="0">
                <a:solidFill>
                  <a:schemeClr val="bg1"/>
                </a:solidFill>
              </a:rPr>
              <a:t>Control systems</a:t>
            </a:r>
          </a:p>
          <a:p>
            <a:pPr lvl="1" indent="0">
              <a:buNone/>
            </a:pPr>
            <a:endParaRPr lang="en-US" sz="100" dirty="0">
              <a:solidFill>
                <a:schemeClr val="bg1"/>
              </a:solidFill>
            </a:endParaRPr>
          </a:p>
          <a:p>
            <a:pPr marL="520700" lvl="1" indent="-342900">
              <a:buFont typeface="Arial" panose="020B0604020202020204" pitchFamily="34" charset="0"/>
              <a:buChar char="•"/>
            </a:pPr>
            <a:r>
              <a:rPr lang="en-US" sz="1600" dirty="0">
                <a:solidFill>
                  <a:schemeClr val="bg1"/>
                </a:solidFill>
              </a:rPr>
              <a:t>Azure, Power BI, Data catalog</a:t>
            </a:r>
          </a:p>
          <a:p>
            <a:pPr marL="520700" lvl="1" indent="-342900">
              <a:buFont typeface="Arial" panose="020B0604020202020204" pitchFamily="34" charset="0"/>
              <a:buChar char="•"/>
            </a:pPr>
            <a:r>
              <a:rPr lang="en-US" sz="1600" dirty="0">
                <a:solidFill>
                  <a:schemeClr val="bg1"/>
                </a:solidFill>
              </a:rPr>
              <a:t>Data Analytics CoP lead</a:t>
            </a:r>
          </a:p>
          <a:p>
            <a:pPr lvl="1" indent="0">
              <a:buNone/>
            </a:pPr>
            <a:r>
              <a:rPr lang="en-US" sz="200" dirty="0">
                <a:solidFill>
                  <a:schemeClr val="bg1"/>
                </a:solidFill>
              </a:rPr>
              <a:t> </a:t>
            </a:r>
          </a:p>
          <a:p>
            <a:pPr marL="520700" lvl="1" indent="-342900">
              <a:buFont typeface="Arial" panose="020B0604020202020204" pitchFamily="34" charset="0"/>
              <a:buChar char="•"/>
            </a:pPr>
            <a:r>
              <a:rPr lang="en-US" sz="1600" dirty="0">
                <a:solidFill>
                  <a:schemeClr val="bg1"/>
                </a:solidFill>
              </a:rPr>
              <a:t>When not </a:t>
            </a:r>
            <a:r>
              <a:rPr lang="en-US" sz="1600" dirty="0" err="1">
                <a:solidFill>
                  <a:schemeClr val="bg1"/>
                </a:solidFill>
              </a:rPr>
              <a:t>geeking</a:t>
            </a:r>
            <a:endParaRPr lang="en-US" sz="1600" dirty="0">
              <a:solidFill>
                <a:schemeClr val="bg1"/>
              </a:solidFill>
            </a:endParaRPr>
          </a:p>
          <a:p>
            <a:pPr marL="704850" lvl="2" indent="-342900"/>
            <a:r>
              <a:rPr lang="en-US" sz="1200" dirty="0">
                <a:solidFill>
                  <a:schemeClr val="bg1"/>
                </a:solidFill>
              </a:rPr>
              <a:t>Love the outdoors</a:t>
            </a:r>
          </a:p>
          <a:p>
            <a:pPr marL="704850" lvl="2" indent="-342900"/>
            <a:r>
              <a:rPr lang="en-US" sz="1200" dirty="0">
                <a:solidFill>
                  <a:schemeClr val="bg1"/>
                </a:solidFill>
              </a:rPr>
              <a:t>Trad climbing and skiing</a:t>
            </a:r>
          </a:p>
        </p:txBody>
      </p:sp>
      <p:pic>
        <p:nvPicPr>
          <p:cNvPr id="11" name="Picture 2" descr="LinkedIn Icon - Free Download, PNG and Vector">
            <a:extLst>
              <a:ext uri="{FF2B5EF4-FFF2-40B4-BE49-F238E27FC236}">
                <a16:creationId xmlns:a16="http://schemas.microsoft.com/office/drawing/2014/main" id="{A15D614D-96E8-4DC9-9AF7-89880838DB38}"/>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599487" y="5083663"/>
            <a:ext cx="390418" cy="39041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 name="Picture 14" descr="Twitter Icons - Free Download, PNG and SVG">
            <a:extLst>
              <a:ext uri="{FF2B5EF4-FFF2-40B4-BE49-F238E27FC236}">
                <a16:creationId xmlns:a16="http://schemas.microsoft.com/office/drawing/2014/main" id="{D5371811-1F7D-45FC-8756-4DB029053CD7}"/>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15221" y="5411696"/>
            <a:ext cx="552966" cy="55296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CA7C4E25-6B8E-4BA1-ADBD-62B368E9C42F}"/>
              </a:ext>
            </a:extLst>
          </p:cNvPr>
          <p:cNvSpPr txBox="1"/>
          <p:nvPr/>
        </p:nvSpPr>
        <p:spPr>
          <a:xfrm>
            <a:off x="960542" y="5126248"/>
            <a:ext cx="1616148" cy="307777"/>
          </a:xfrm>
          <a:prstGeom prst="rect">
            <a:avLst/>
          </a:prstGeom>
          <a:noFill/>
          <a:ln>
            <a:noFill/>
          </a:ln>
        </p:spPr>
        <p:txBody>
          <a:bodyPr wrap="none" rtlCol="0">
            <a:spAutoFit/>
          </a:bodyPr>
          <a:lstStyle/>
          <a:p>
            <a:r>
              <a:rPr lang="en-GB" sz="1400" dirty="0">
                <a:solidFill>
                  <a:schemeClr val="bg1">
                    <a:lumMod val="65000"/>
                  </a:schemeClr>
                </a:solidFill>
              </a:rPr>
              <a:t>/</a:t>
            </a:r>
            <a:r>
              <a:rPr lang="en-GB" sz="1400" dirty="0" err="1">
                <a:solidFill>
                  <a:schemeClr val="bg1">
                    <a:lumMod val="65000"/>
                  </a:schemeClr>
                </a:solidFill>
              </a:rPr>
              <a:t>marthemoengen</a:t>
            </a:r>
            <a:endParaRPr lang="en-GB" sz="1400" dirty="0">
              <a:solidFill>
                <a:schemeClr val="bg1">
                  <a:lumMod val="65000"/>
                </a:schemeClr>
              </a:solidFill>
            </a:endParaRPr>
          </a:p>
        </p:txBody>
      </p:sp>
      <p:sp>
        <p:nvSpPr>
          <p:cNvPr id="15" name="TextBox 14">
            <a:extLst>
              <a:ext uri="{FF2B5EF4-FFF2-40B4-BE49-F238E27FC236}">
                <a16:creationId xmlns:a16="http://schemas.microsoft.com/office/drawing/2014/main" id="{76DC1010-68B4-41B6-85A5-D8BD78F347EB}"/>
              </a:ext>
            </a:extLst>
          </p:cNvPr>
          <p:cNvSpPr txBox="1"/>
          <p:nvPr/>
        </p:nvSpPr>
        <p:spPr>
          <a:xfrm>
            <a:off x="930492" y="5530004"/>
            <a:ext cx="1279517" cy="307777"/>
          </a:xfrm>
          <a:prstGeom prst="rect">
            <a:avLst/>
          </a:prstGeom>
          <a:noFill/>
          <a:ln>
            <a:noFill/>
          </a:ln>
        </p:spPr>
        <p:txBody>
          <a:bodyPr wrap="none" rtlCol="0">
            <a:spAutoFit/>
          </a:bodyPr>
          <a:lstStyle/>
          <a:p>
            <a:r>
              <a:rPr lang="en-GB" sz="1400" dirty="0">
                <a:solidFill>
                  <a:schemeClr val="bg1">
                    <a:lumMod val="65000"/>
                  </a:schemeClr>
                </a:solidFill>
              </a:rPr>
              <a:t>@mmoengen</a:t>
            </a:r>
          </a:p>
        </p:txBody>
      </p:sp>
      <p:pic>
        <p:nvPicPr>
          <p:cNvPr id="17" name="Image 17">
            <a:extLst>
              <a:ext uri="{FF2B5EF4-FFF2-40B4-BE49-F238E27FC236}">
                <a16:creationId xmlns:a16="http://schemas.microsoft.com/office/drawing/2014/main" id="{74DEE99F-6A67-431F-AD8F-9E24AFB2767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1329064">
            <a:off x="4942969" y="2683323"/>
            <a:ext cx="11311206" cy="7739913"/>
          </a:xfrm>
          <a:prstGeom prst="rect">
            <a:avLst/>
          </a:prstGeom>
        </p:spPr>
      </p:pic>
      <p:sp>
        <p:nvSpPr>
          <p:cNvPr id="10" name="Text Placeholder 44">
            <a:extLst>
              <a:ext uri="{FF2B5EF4-FFF2-40B4-BE49-F238E27FC236}">
                <a16:creationId xmlns:a16="http://schemas.microsoft.com/office/drawing/2014/main" id="{AC31984D-B082-4079-B8DC-063C1040FC7E}"/>
              </a:ext>
            </a:extLst>
          </p:cNvPr>
          <p:cNvSpPr txBox="1">
            <a:spLocks/>
          </p:cNvSpPr>
          <p:nvPr/>
        </p:nvSpPr>
        <p:spPr>
          <a:xfrm>
            <a:off x="549081" y="1912068"/>
            <a:ext cx="5709151" cy="540913"/>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noFill/>
        </p:spPr>
        <p:txBody>
          <a:bodyPr vert="horz" wrap="square"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2">
                    <a:lumMod val="50000"/>
                  </a:schemeClr>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Data Engineer, Capgemini</a:t>
            </a:r>
          </a:p>
        </p:txBody>
      </p:sp>
      <p:pic>
        <p:nvPicPr>
          <p:cNvPr id="13" name="Graphic 12" descr="Envelope">
            <a:extLst>
              <a:ext uri="{FF2B5EF4-FFF2-40B4-BE49-F238E27FC236}">
                <a16:creationId xmlns:a16="http://schemas.microsoft.com/office/drawing/2014/main" id="{2267C301-9916-411E-8E95-7B62BF322549}"/>
              </a:ext>
            </a:extLst>
          </p:cNvPr>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2865" y="5857757"/>
            <a:ext cx="337677" cy="337677"/>
          </a:xfrm>
          <a:prstGeom prst="rect">
            <a:avLst/>
          </a:prstGeom>
        </p:spPr>
      </p:pic>
      <p:sp>
        <p:nvSpPr>
          <p:cNvPr id="16" name="TextBox 15">
            <a:extLst>
              <a:ext uri="{FF2B5EF4-FFF2-40B4-BE49-F238E27FC236}">
                <a16:creationId xmlns:a16="http://schemas.microsoft.com/office/drawing/2014/main" id="{D4E1E35F-E1BC-42F3-9897-E1E2244C5F0F}"/>
              </a:ext>
            </a:extLst>
          </p:cNvPr>
          <p:cNvSpPr txBox="1"/>
          <p:nvPr/>
        </p:nvSpPr>
        <p:spPr>
          <a:xfrm>
            <a:off x="990401" y="5906752"/>
            <a:ext cx="2983509" cy="307777"/>
          </a:xfrm>
          <a:prstGeom prst="rect">
            <a:avLst/>
          </a:prstGeom>
          <a:noFill/>
          <a:ln>
            <a:noFill/>
          </a:ln>
        </p:spPr>
        <p:txBody>
          <a:bodyPr wrap="none" rtlCol="0">
            <a:spAutoFit/>
          </a:bodyPr>
          <a:lstStyle/>
          <a:p>
            <a:r>
              <a:rPr lang="en-GB" sz="1400" dirty="0">
                <a:solidFill>
                  <a:schemeClr val="bg1">
                    <a:lumMod val="65000"/>
                  </a:schemeClr>
                </a:solidFill>
              </a:rPr>
              <a:t>marthe.moengen@capgemini.com</a:t>
            </a:r>
          </a:p>
        </p:txBody>
      </p:sp>
    </p:spTree>
    <p:extLst>
      <p:ext uri="{BB962C8B-B14F-4D97-AF65-F5344CB8AC3E}">
        <p14:creationId xmlns:p14="http://schemas.microsoft.com/office/powerpoint/2010/main" val="618036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a:t>So, should you care?</a:t>
            </a:r>
          </a:p>
        </p:txBody>
      </p:sp>
      <p:pic>
        <p:nvPicPr>
          <p:cNvPr id="135" name="Picture 134" descr="Graphical user interface&#10;&#10;Description automatically generated">
            <a:extLst>
              <a:ext uri="{FF2B5EF4-FFF2-40B4-BE49-F238E27FC236}">
                <a16:creationId xmlns:a16="http://schemas.microsoft.com/office/drawing/2014/main" id="{4DCE95F0-5916-4179-BB66-10DA3EA2A0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8755" y="1430262"/>
            <a:ext cx="5198433" cy="3005941"/>
          </a:xfrm>
          <a:prstGeom prst="rect">
            <a:avLst/>
          </a:prstGeom>
        </p:spPr>
      </p:pic>
      <p:sp>
        <p:nvSpPr>
          <p:cNvPr id="8" name="Rectangle: Rounded Corners 7">
            <a:extLst>
              <a:ext uri="{FF2B5EF4-FFF2-40B4-BE49-F238E27FC236}">
                <a16:creationId xmlns:a16="http://schemas.microsoft.com/office/drawing/2014/main" id="{0FB5ECFC-5852-4331-897C-D3F7FEEC270C}"/>
              </a:ext>
            </a:extLst>
          </p:cNvPr>
          <p:cNvSpPr/>
          <p:nvPr/>
        </p:nvSpPr>
        <p:spPr>
          <a:xfrm>
            <a:off x="404812" y="1636456"/>
            <a:ext cx="5288416" cy="716710"/>
          </a:xfrm>
          <a:prstGeom prst="roundRect">
            <a:avLst/>
          </a:prstGeom>
          <a:solidFill>
            <a:srgbClr val="CCE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DATA MANAGEMENT</a:t>
            </a:r>
          </a:p>
          <a:p>
            <a:pPr algn="ctr"/>
            <a:r>
              <a:rPr lang="en-US" sz="1600">
                <a:solidFill>
                  <a:schemeClr val="tx1"/>
                </a:solidFill>
              </a:rPr>
              <a:t>Deliver, control, protect, enhance value of data assets</a:t>
            </a:r>
          </a:p>
        </p:txBody>
      </p:sp>
      <p:sp>
        <p:nvSpPr>
          <p:cNvPr id="9" name="Rectangle: Rounded Corners 8">
            <a:extLst>
              <a:ext uri="{FF2B5EF4-FFF2-40B4-BE49-F238E27FC236}">
                <a16:creationId xmlns:a16="http://schemas.microsoft.com/office/drawing/2014/main" id="{C1711E68-5696-4319-80E8-23CDC049696F}"/>
              </a:ext>
            </a:extLst>
          </p:cNvPr>
          <p:cNvSpPr/>
          <p:nvPr/>
        </p:nvSpPr>
        <p:spPr>
          <a:xfrm>
            <a:off x="404812" y="2660664"/>
            <a:ext cx="5288416" cy="1101689"/>
          </a:xfrm>
          <a:prstGeom prst="roundRect">
            <a:avLst/>
          </a:prstGeom>
          <a:solidFill>
            <a:srgbClr val="CCE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DATA CATALOG</a:t>
            </a:r>
          </a:p>
          <a:p>
            <a:pPr algn="ctr"/>
            <a:r>
              <a:rPr lang="en-US" sz="1600">
                <a:solidFill>
                  <a:schemeClr val="tx1"/>
                </a:solidFill>
              </a:rPr>
              <a:t>Control your data</a:t>
            </a:r>
          </a:p>
          <a:p>
            <a:pPr algn="ctr"/>
            <a:r>
              <a:rPr lang="en-US" sz="1600">
                <a:solidFill>
                  <a:schemeClr val="tx1"/>
                </a:solidFill>
              </a:rPr>
              <a:t>Identifying and inventorying data</a:t>
            </a:r>
          </a:p>
          <a:p>
            <a:pPr algn="ctr"/>
            <a:r>
              <a:rPr lang="en-US" sz="1600">
                <a:solidFill>
                  <a:schemeClr val="tx1"/>
                </a:solidFill>
              </a:rPr>
              <a:t>Enable users to take advantage of the data </a:t>
            </a:r>
          </a:p>
        </p:txBody>
      </p:sp>
      <p:sp>
        <p:nvSpPr>
          <p:cNvPr id="10" name="Text Placeholder 1">
            <a:extLst>
              <a:ext uri="{FF2B5EF4-FFF2-40B4-BE49-F238E27FC236}">
                <a16:creationId xmlns:a16="http://schemas.microsoft.com/office/drawing/2014/main" id="{722CDB03-72D4-43AB-8BEA-1140611FB860}"/>
              </a:ext>
            </a:extLst>
          </p:cNvPr>
          <p:cNvSpPr>
            <a:spLocks noGrp="1"/>
          </p:cNvSpPr>
          <p:nvPr>
            <p:ph type="body" sz="quarter" idx="10"/>
          </p:nvPr>
        </p:nvSpPr>
        <p:spPr>
          <a:xfrm>
            <a:off x="404812" y="4005469"/>
            <a:ext cx="5288416" cy="1398457"/>
          </a:xfrm>
          <a:prstGeom prst="roundRect">
            <a:avLst/>
          </a:prstGeom>
          <a:solidFill>
            <a:srgbClr val="CCE9AD"/>
          </a:solidFill>
        </p:spPr>
        <p:txBody>
          <a:bodyPr anchor="ctr">
            <a:normAutofit/>
          </a:bodyPr>
          <a:lstStyle/>
          <a:p>
            <a:pPr lvl="1" indent="0" algn="ctr">
              <a:buNone/>
            </a:pPr>
            <a:r>
              <a:rPr lang="en-US" sz="1600" b="1"/>
              <a:t>BUSINESS GLOSSARY</a:t>
            </a:r>
          </a:p>
          <a:p>
            <a:pPr lvl="1" indent="0" algn="ctr">
              <a:buNone/>
            </a:pPr>
            <a:r>
              <a:rPr lang="en-US" sz="1600"/>
              <a:t>Common understanding</a:t>
            </a:r>
            <a:br>
              <a:rPr lang="en-US" sz="1600"/>
            </a:br>
            <a:r>
              <a:rPr lang="en-US" sz="1600"/>
              <a:t>Improve alignment between technology and Optimize identification</a:t>
            </a:r>
          </a:p>
        </p:txBody>
      </p:sp>
      <p:sp>
        <p:nvSpPr>
          <p:cNvPr id="11" name="Rectangle: Rounded Corners 10">
            <a:extLst>
              <a:ext uri="{FF2B5EF4-FFF2-40B4-BE49-F238E27FC236}">
                <a16:creationId xmlns:a16="http://schemas.microsoft.com/office/drawing/2014/main" id="{1BFD13AC-9F0C-4D39-94A4-EE7A1E7E539D}"/>
              </a:ext>
            </a:extLst>
          </p:cNvPr>
          <p:cNvSpPr/>
          <p:nvPr/>
        </p:nvSpPr>
        <p:spPr>
          <a:xfrm>
            <a:off x="404812" y="5647042"/>
            <a:ext cx="5288416" cy="794185"/>
          </a:xfrm>
          <a:prstGeom prst="roundRect">
            <a:avLst/>
          </a:prstGeom>
          <a:solidFill>
            <a:srgbClr val="CCE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DATA QUALITY</a:t>
            </a:r>
          </a:p>
          <a:p>
            <a:pPr algn="ctr"/>
            <a:r>
              <a:rPr lang="en-US" sz="1600">
                <a:solidFill>
                  <a:schemeClr val="tx1"/>
                </a:solidFill>
              </a:rPr>
              <a:t>Accurate, informed decisions, Decrease risk, Increase trust, Reduce operational costs </a:t>
            </a:r>
          </a:p>
        </p:txBody>
      </p:sp>
      <p:sp>
        <p:nvSpPr>
          <p:cNvPr id="12" name="Rectangle: Rounded Corners 11">
            <a:extLst>
              <a:ext uri="{FF2B5EF4-FFF2-40B4-BE49-F238E27FC236}">
                <a16:creationId xmlns:a16="http://schemas.microsoft.com/office/drawing/2014/main" id="{A357F416-3070-4B11-BFF2-FFDAEF3079DF}"/>
              </a:ext>
            </a:extLst>
          </p:cNvPr>
          <p:cNvSpPr/>
          <p:nvPr/>
        </p:nvSpPr>
        <p:spPr>
          <a:xfrm>
            <a:off x="5878700" y="4436204"/>
            <a:ext cx="5932300" cy="967723"/>
          </a:xfrm>
          <a:prstGeom prst="roundRect">
            <a:avLst/>
          </a:prstGeom>
          <a:solidFill>
            <a:srgbClr val="CCE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DATA LINAGE</a:t>
            </a:r>
          </a:p>
          <a:p>
            <a:pPr algn="ctr"/>
            <a:r>
              <a:rPr lang="en-US" sz="1600">
                <a:solidFill>
                  <a:srgbClr val="202124"/>
                </a:solidFill>
              </a:rPr>
              <a:t>Is the data coming from a trusted source?</a:t>
            </a:r>
          </a:p>
          <a:p>
            <a:pPr algn="ctr"/>
            <a:r>
              <a:rPr lang="en-US" sz="1600">
                <a:solidFill>
                  <a:srgbClr val="202124"/>
                </a:solidFill>
              </a:rPr>
              <a:t>Transformed correctly and loaded to the specified location?</a:t>
            </a:r>
          </a:p>
        </p:txBody>
      </p:sp>
      <p:sp>
        <p:nvSpPr>
          <p:cNvPr id="13" name="Text Placeholder 1">
            <a:extLst>
              <a:ext uri="{FF2B5EF4-FFF2-40B4-BE49-F238E27FC236}">
                <a16:creationId xmlns:a16="http://schemas.microsoft.com/office/drawing/2014/main" id="{3BFC7E00-C43A-4C11-98F2-A792D71EE8A4}"/>
              </a:ext>
            </a:extLst>
          </p:cNvPr>
          <p:cNvSpPr txBox="1">
            <a:spLocks/>
          </p:cNvSpPr>
          <p:nvPr/>
        </p:nvSpPr>
        <p:spPr>
          <a:xfrm>
            <a:off x="5878699" y="5647042"/>
            <a:ext cx="5932301" cy="800519"/>
          </a:xfrm>
          <a:prstGeom prst="roundRect">
            <a:avLst/>
          </a:prstGeom>
          <a:solidFill>
            <a:srgbClr val="CCE9AD"/>
          </a:solidFill>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lgn="ctr">
              <a:buFont typeface="Wingdings" panose="05000000000000000000" pitchFamily="2" charset="2"/>
              <a:buNone/>
            </a:pPr>
            <a:r>
              <a:rPr lang="en-US" sz="1600" b="1"/>
              <a:t>DATA LOSS PREVENTION AND PRIVACY</a:t>
            </a:r>
          </a:p>
          <a:p>
            <a:pPr lvl="1" indent="0" algn="ctr">
              <a:buNone/>
            </a:pPr>
            <a:r>
              <a:rPr lang="en-US" sz="1600"/>
              <a:t>Impact of data loss, Ransomware, GDPR/CCPA/++ compliance, Public trust</a:t>
            </a:r>
          </a:p>
        </p:txBody>
      </p:sp>
    </p:spTree>
    <p:extLst>
      <p:ext uri="{BB962C8B-B14F-4D97-AF65-F5344CB8AC3E}">
        <p14:creationId xmlns:p14="http://schemas.microsoft.com/office/powerpoint/2010/main" val="991666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bg/>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build="p" animBg="1"/>
      <p:bldP spid="11" grpId="0" animBg="1"/>
      <p:bldP spid="12" grpId="0"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a:t>So, should you care?</a:t>
            </a:r>
          </a:p>
        </p:txBody>
      </p:sp>
      <p:pic>
        <p:nvPicPr>
          <p:cNvPr id="135" name="Picture 134" descr="Graphical user interface&#10;&#10;Description automatically generated">
            <a:extLst>
              <a:ext uri="{FF2B5EF4-FFF2-40B4-BE49-F238E27FC236}">
                <a16:creationId xmlns:a16="http://schemas.microsoft.com/office/drawing/2014/main" id="{4DCE95F0-5916-4179-BB66-10DA3EA2A0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8699" y="1430264"/>
            <a:ext cx="5198433" cy="3005941"/>
          </a:xfrm>
          <a:prstGeom prst="rect">
            <a:avLst/>
          </a:prstGeom>
        </p:spPr>
      </p:pic>
      <p:sp>
        <p:nvSpPr>
          <p:cNvPr id="140" name="Rectangle: Rounded Corners 139">
            <a:extLst>
              <a:ext uri="{FF2B5EF4-FFF2-40B4-BE49-F238E27FC236}">
                <a16:creationId xmlns:a16="http://schemas.microsoft.com/office/drawing/2014/main" id="{61A33B24-111E-4459-BCA8-92A932C6D7E8}"/>
              </a:ext>
            </a:extLst>
          </p:cNvPr>
          <p:cNvSpPr/>
          <p:nvPr/>
        </p:nvSpPr>
        <p:spPr>
          <a:xfrm>
            <a:off x="724829" y="1405054"/>
            <a:ext cx="4148254" cy="4560848"/>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anage data = </a:t>
            </a:r>
            <a:r>
              <a:rPr lang="en-US" sz="1600" b="1" dirty="0">
                <a:solidFill>
                  <a:schemeClr val="accent3">
                    <a:lumMod val="25000"/>
                    <a:lumOff val="75000"/>
                  </a:schemeClr>
                </a:solidFill>
              </a:rPr>
              <a:t>manage capital</a:t>
            </a:r>
          </a:p>
          <a:p>
            <a:pPr algn="ctr"/>
            <a:endParaRPr lang="en-US" sz="1600" dirty="0">
              <a:solidFill>
                <a:schemeClr val="accent3">
                  <a:lumMod val="25000"/>
                  <a:lumOff val="75000"/>
                </a:schemeClr>
              </a:solidFill>
            </a:endParaRPr>
          </a:p>
          <a:p>
            <a:pPr algn="ctr"/>
            <a:r>
              <a:rPr lang="en-US" sz="1600" dirty="0"/>
              <a:t>Data as an </a:t>
            </a:r>
            <a:r>
              <a:rPr lang="en-US" sz="1600" b="1" dirty="0">
                <a:solidFill>
                  <a:schemeClr val="accent3">
                    <a:lumMod val="25000"/>
                    <a:lumOff val="75000"/>
                  </a:schemeClr>
                </a:solidFill>
              </a:rPr>
              <a:t>asset</a:t>
            </a:r>
          </a:p>
          <a:p>
            <a:pPr algn="ctr"/>
            <a:endParaRPr lang="en-US" sz="1600" dirty="0"/>
          </a:p>
          <a:p>
            <a:pPr algn="ctr"/>
            <a:r>
              <a:rPr lang="en-US" sz="1600" dirty="0"/>
              <a:t>Information and knowledge -&gt; </a:t>
            </a:r>
            <a:r>
              <a:rPr lang="en-US" sz="1600" b="1" dirty="0">
                <a:solidFill>
                  <a:schemeClr val="accent3">
                    <a:lumMod val="25000"/>
                    <a:lumOff val="75000"/>
                  </a:schemeClr>
                </a:solidFill>
              </a:rPr>
              <a:t>key to competitive advantage</a:t>
            </a:r>
          </a:p>
          <a:p>
            <a:pPr algn="ctr"/>
            <a:endParaRPr lang="en-US" sz="1600" dirty="0"/>
          </a:p>
          <a:p>
            <a:pPr algn="ctr"/>
            <a:r>
              <a:rPr lang="en-US" sz="1600" dirty="0"/>
              <a:t>Reliable, high-quality data can make </a:t>
            </a:r>
            <a:r>
              <a:rPr lang="en-US" sz="1600" b="1" dirty="0">
                <a:solidFill>
                  <a:schemeClr val="accent3">
                    <a:lumMod val="25000"/>
                    <a:lumOff val="75000"/>
                  </a:schemeClr>
                </a:solidFill>
              </a:rPr>
              <a:t>better decisions</a:t>
            </a:r>
          </a:p>
          <a:p>
            <a:pPr algn="ctr"/>
            <a:endParaRPr lang="en-US" sz="1600" b="1" dirty="0">
              <a:solidFill>
                <a:schemeClr val="accent3">
                  <a:lumMod val="25000"/>
                  <a:lumOff val="75000"/>
                </a:schemeClr>
              </a:solidFill>
            </a:endParaRPr>
          </a:p>
          <a:p>
            <a:pPr algn="ctr"/>
            <a:r>
              <a:rPr lang="en-US" sz="1600" dirty="0">
                <a:solidFill>
                  <a:schemeClr val="bg1"/>
                </a:solidFill>
              </a:rPr>
              <a:t>The cost of failure can be</a:t>
            </a:r>
          </a:p>
          <a:p>
            <a:pPr algn="ctr"/>
            <a:r>
              <a:rPr lang="en-US" sz="1600" b="1" dirty="0">
                <a:solidFill>
                  <a:schemeClr val="accent3">
                    <a:lumMod val="25000"/>
                    <a:lumOff val="75000"/>
                  </a:schemeClr>
                </a:solidFill>
              </a:rPr>
              <a:t> high!</a:t>
            </a:r>
          </a:p>
        </p:txBody>
      </p:sp>
      <p:sp>
        <p:nvSpPr>
          <p:cNvPr id="141" name="Rectangle: Rounded Corners 140">
            <a:extLst>
              <a:ext uri="{FF2B5EF4-FFF2-40B4-BE49-F238E27FC236}">
                <a16:creationId xmlns:a16="http://schemas.microsoft.com/office/drawing/2014/main" id="{C8EB071E-A5CE-4FB4-9C60-E7F28B4D1D09}"/>
              </a:ext>
            </a:extLst>
          </p:cNvPr>
          <p:cNvSpPr/>
          <p:nvPr/>
        </p:nvSpPr>
        <p:spPr>
          <a:xfrm>
            <a:off x="5378952" y="4761570"/>
            <a:ext cx="5564458" cy="120433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lumMod val="75000"/>
                  </a:schemeClr>
                </a:solidFill>
              </a:rPr>
              <a:t>So why doesn’t everyone do it?</a:t>
            </a:r>
          </a:p>
        </p:txBody>
      </p:sp>
      <p:pic>
        <p:nvPicPr>
          <p:cNvPr id="4" name="Graphic 3" descr="Pin with solid fill">
            <a:extLst>
              <a:ext uri="{FF2B5EF4-FFF2-40B4-BE49-F238E27FC236}">
                <a16:creationId xmlns:a16="http://schemas.microsoft.com/office/drawing/2014/main" id="{4905AE6C-6535-45E8-BA26-87324EF979F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0264" y="1586345"/>
            <a:ext cx="651164" cy="651164"/>
          </a:xfrm>
          <a:prstGeom prst="rect">
            <a:avLst/>
          </a:prstGeom>
        </p:spPr>
      </p:pic>
    </p:spTree>
    <p:extLst>
      <p:ext uri="{BB962C8B-B14F-4D97-AF65-F5344CB8AC3E}">
        <p14:creationId xmlns:p14="http://schemas.microsoft.com/office/powerpoint/2010/main" val="33399689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0">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0">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0">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0">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0">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dirty="0"/>
              <a:t>So, should you care?</a:t>
            </a:r>
          </a:p>
        </p:txBody>
      </p:sp>
      <p:pic>
        <p:nvPicPr>
          <p:cNvPr id="135" name="Picture 134" descr="Graphical user interface&#10;&#10;Description automatically generated">
            <a:extLst>
              <a:ext uri="{FF2B5EF4-FFF2-40B4-BE49-F238E27FC236}">
                <a16:creationId xmlns:a16="http://schemas.microsoft.com/office/drawing/2014/main" id="{4DCE95F0-5916-4179-BB66-10DA3EA2A0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4977" y="1405054"/>
            <a:ext cx="5198433" cy="3005941"/>
          </a:xfrm>
          <a:prstGeom prst="rect">
            <a:avLst/>
          </a:prstGeom>
        </p:spPr>
      </p:pic>
      <p:sp>
        <p:nvSpPr>
          <p:cNvPr id="8" name="Rectangle: Rounded Corners 7">
            <a:extLst>
              <a:ext uri="{FF2B5EF4-FFF2-40B4-BE49-F238E27FC236}">
                <a16:creationId xmlns:a16="http://schemas.microsoft.com/office/drawing/2014/main" id="{4394DDAE-6B5F-4138-9A05-F20C757692A4}"/>
              </a:ext>
            </a:extLst>
          </p:cNvPr>
          <p:cNvSpPr/>
          <p:nvPr/>
        </p:nvSpPr>
        <p:spPr>
          <a:xfrm>
            <a:off x="5378952" y="4761570"/>
            <a:ext cx="5564458" cy="120433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lumMod val="75000"/>
                  </a:schemeClr>
                </a:solidFill>
              </a:rPr>
              <a:t>So why doesn’t everyone do it?</a:t>
            </a:r>
          </a:p>
        </p:txBody>
      </p:sp>
      <p:pic>
        <p:nvPicPr>
          <p:cNvPr id="7" name="Graphic 6" descr="Dance with solid fill">
            <a:extLst>
              <a:ext uri="{FF2B5EF4-FFF2-40B4-BE49-F238E27FC236}">
                <a16:creationId xmlns:a16="http://schemas.microsoft.com/office/drawing/2014/main" id="{5D670BD0-54E9-4727-8FF0-A08D179421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33588" y="4162494"/>
            <a:ext cx="914400" cy="914400"/>
          </a:xfrm>
          <a:prstGeom prst="rect">
            <a:avLst/>
          </a:prstGeom>
        </p:spPr>
      </p:pic>
      <p:pic>
        <p:nvPicPr>
          <p:cNvPr id="6" name="Graphic 5" descr="Cycle with people with solid fill">
            <a:extLst>
              <a:ext uri="{FF2B5EF4-FFF2-40B4-BE49-F238E27FC236}">
                <a16:creationId xmlns:a16="http://schemas.microsoft.com/office/drawing/2014/main" id="{D6900C6E-D6EE-4994-82D4-B2C5362B26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23974" y="2210266"/>
            <a:ext cx="914400" cy="914400"/>
          </a:xfrm>
          <a:prstGeom prst="rect">
            <a:avLst/>
          </a:prstGeom>
        </p:spPr>
      </p:pic>
      <p:pic>
        <p:nvPicPr>
          <p:cNvPr id="10" name="Graphic 9" descr="Management with solid fill">
            <a:extLst>
              <a:ext uri="{FF2B5EF4-FFF2-40B4-BE49-F238E27FC236}">
                <a16:creationId xmlns:a16="http://schemas.microsoft.com/office/drawing/2014/main" id="{38369AD6-691D-4B81-A607-FC344D9F4D6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17696" y="4108006"/>
            <a:ext cx="914400" cy="914400"/>
          </a:xfrm>
          <a:prstGeom prst="rect">
            <a:avLst/>
          </a:prstGeom>
        </p:spPr>
      </p:pic>
      <p:pic>
        <p:nvPicPr>
          <p:cNvPr id="12" name="Graphic 11" descr="Group of people with solid fill">
            <a:extLst>
              <a:ext uri="{FF2B5EF4-FFF2-40B4-BE49-F238E27FC236}">
                <a16:creationId xmlns:a16="http://schemas.microsoft.com/office/drawing/2014/main" id="{6D80ED39-D592-4A9C-98B4-C29964692F7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74896" y="2066210"/>
            <a:ext cx="914400" cy="914400"/>
          </a:xfrm>
          <a:prstGeom prst="rect">
            <a:avLst/>
          </a:prstGeom>
        </p:spPr>
      </p:pic>
      <p:sp>
        <p:nvSpPr>
          <p:cNvPr id="13" name="Oval 12">
            <a:extLst>
              <a:ext uri="{FF2B5EF4-FFF2-40B4-BE49-F238E27FC236}">
                <a16:creationId xmlns:a16="http://schemas.microsoft.com/office/drawing/2014/main" id="{D356A9CA-C540-4F3A-BD86-17C337E22D7D}"/>
              </a:ext>
            </a:extLst>
          </p:cNvPr>
          <p:cNvSpPr/>
          <p:nvPr/>
        </p:nvSpPr>
        <p:spPr>
          <a:xfrm>
            <a:off x="851127" y="1540388"/>
            <a:ext cx="4468523" cy="4229100"/>
          </a:xfrm>
          <a:prstGeom prst="ellipse">
            <a:avLst/>
          </a:prstGeom>
          <a:noFill/>
          <a:ln w="1905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15" name="Graphic 14" descr="Circles with arrows with solid fill">
            <a:extLst>
              <a:ext uri="{FF2B5EF4-FFF2-40B4-BE49-F238E27FC236}">
                <a16:creationId xmlns:a16="http://schemas.microsoft.com/office/drawing/2014/main" id="{8E0DF31D-CE02-49FB-95F9-2B0E02E54FA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648821" y="3616336"/>
            <a:ext cx="747082" cy="747082"/>
          </a:xfrm>
          <a:prstGeom prst="rect">
            <a:avLst/>
          </a:prstGeom>
        </p:spPr>
      </p:pic>
      <p:pic>
        <p:nvPicPr>
          <p:cNvPr id="17" name="Graphic 16" descr="Continuous Improvement with solid fill">
            <a:extLst>
              <a:ext uri="{FF2B5EF4-FFF2-40B4-BE49-F238E27FC236}">
                <a16:creationId xmlns:a16="http://schemas.microsoft.com/office/drawing/2014/main" id="{0D8D7939-BF41-4B07-B564-450020E59A6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321363" y="3242795"/>
            <a:ext cx="747082" cy="747082"/>
          </a:xfrm>
          <a:prstGeom prst="rect">
            <a:avLst/>
          </a:prstGeom>
        </p:spPr>
      </p:pic>
    </p:spTree>
    <p:extLst>
      <p:ext uri="{BB962C8B-B14F-4D97-AF65-F5344CB8AC3E}">
        <p14:creationId xmlns:p14="http://schemas.microsoft.com/office/powerpoint/2010/main" val="41814602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A19C536-96E3-411B-B706-6F495047FC42}"/>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E67B664A-D547-4C94-8FA6-8C6B0F6D6D60}"/>
              </a:ext>
            </a:extLst>
          </p:cNvPr>
          <p:cNvSpPr>
            <a:spLocks noGrp="1"/>
          </p:cNvSpPr>
          <p:nvPr>
            <p:ph type="ctrTitle"/>
          </p:nvPr>
        </p:nvSpPr>
        <p:spPr>
          <a:xfrm>
            <a:off x="404813" y="3003625"/>
            <a:ext cx="11329987" cy="738664"/>
          </a:xfrm>
        </p:spPr>
        <p:txBody>
          <a:bodyPr/>
          <a:lstStyle/>
          <a:p>
            <a:r>
              <a:rPr lang="en-US" dirty="0"/>
              <a:t>THANK YOU!</a:t>
            </a:r>
          </a:p>
        </p:txBody>
      </p:sp>
      <p:sp>
        <p:nvSpPr>
          <p:cNvPr id="4" name="Text Placeholder 3">
            <a:extLst>
              <a:ext uri="{FF2B5EF4-FFF2-40B4-BE49-F238E27FC236}">
                <a16:creationId xmlns:a16="http://schemas.microsoft.com/office/drawing/2014/main" id="{3ED57455-F1CD-498C-A040-7310914E39D3}"/>
              </a:ext>
            </a:extLst>
          </p:cNvPr>
          <p:cNvSpPr>
            <a:spLocks noGrp="1"/>
          </p:cNvSpPr>
          <p:nvPr>
            <p:ph type="body" sz="quarter" idx="10"/>
          </p:nvPr>
        </p:nvSpPr>
        <p:spPr/>
        <p:txBody>
          <a:bodyPr/>
          <a:lstStyle/>
          <a:p>
            <a:r>
              <a:rPr lang="en-US" dirty="0"/>
              <a:t>WE LOVE </a:t>
            </a:r>
            <a:r>
              <a:rPr lang="en-US" b="1" dirty="0"/>
              <a:t>FEEDBACK</a:t>
            </a:r>
            <a:r>
              <a:rPr lang="en-US" dirty="0"/>
              <a:t>: </a:t>
            </a:r>
          </a:p>
        </p:txBody>
      </p:sp>
      <p:sp>
        <p:nvSpPr>
          <p:cNvPr id="5" name="Text Placeholder 156">
            <a:extLst>
              <a:ext uri="{FF2B5EF4-FFF2-40B4-BE49-F238E27FC236}">
                <a16:creationId xmlns:a16="http://schemas.microsoft.com/office/drawing/2014/main" id="{804211C3-9042-471B-BCE1-5CDECB3EB411}"/>
              </a:ext>
            </a:extLst>
          </p:cNvPr>
          <p:cNvSpPr txBox="1">
            <a:spLocks/>
          </p:cNvSpPr>
          <p:nvPr/>
        </p:nvSpPr>
        <p:spPr>
          <a:xfrm>
            <a:off x="1176049" y="4920397"/>
            <a:ext cx="1876542" cy="349250"/>
          </a:xfrm>
          <a:prstGeom prst="rect">
            <a:avLst/>
          </a:prstGeom>
          <a:ln>
            <a:noFill/>
          </a:ln>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bg1"/>
                </a:solidFill>
              </a:rPr>
              <a:t>/</a:t>
            </a:r>
            <a:r>
              <a:rPr lang="en-US" sz="1400" dirty="0" err="1">
                <a:solidFill>
                  <a:schemeClr val="bg1"/>
                </a:solidFill>
              </a:rPr>
              <a:t>johanludvig</a:t>
            </a:r>
            <a:endParaRPr lang="en-US" sz="1400" dirty="0">
              <a:solidFill>
                <a:schemeClr val="bg1"/>
              </a:solidFill>
            </a:endParaRPr>
          </a:p>
        </p:txBody>
      </p:sp>
      <p:sp>
        <p:nvSpPr>
          <p:cNvPr id="6" name="Text Placeholder 157">
            <a:extLst>
              <a:ext uri="{FF2B5EF4-FFF2-40B4-BE49-F238E27FC236}">
                <a16:creationId xmlns:a16="http://schemas.microsoft.com/office/drawing/2014/main" id="{152DDD91-DE9B-44F4-B23C-2EFF5E46DB2E}"/>
              </a:ext>
            </a:extLst>
          </p:cNvPr>
          <p:cNvSpPr txBox="1">
            <a:spLocks/>
          </p:cNvSpPr>
          <p:nvPr/>
        </p:nvSpPr>
        <p:spPr>
          <a:xfrm>
            <a:off x="1179337" y="5433235"/>
            <a:ext cx="2073018" cy="349250"/>
          </a:xfrm>
          <a:prstGeom prst="rect">
            <a:avLst/>
          </a:prstGeom>
          <a:ln>
            <a:noFill/>
          </a:ln>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bg1"/>
                </a:solidFill>
              </a:rPr>
              <a:t>@intoleranse</a:t>
            </a:r>
          </a:p>
        </p:txBody>
      </p:sp>
      <p:grpSp>
        <p:nvGrpSpPr>
          <p:cNvPr id="7" name="Group 6">
            <a:extLst>
              <a:ext uri="{FF2B5EF4-FFF2-40B4-BE49-F238E27FC236}">
                <a16:creationId xmlns:a16="http://schemas.microsoft.com/office/drawing/2014/main" id="{D2AF4EA2-F158-4E05-BC13-4DDA3A760EBD}"/>
              </a:ext>
            </a:extLst>
          </p:cNvPr>
          <p:cNvGrpSpPr/>
          <p:nvPr/>
        </p:nvGrpSpPr>
        <p:grpSpPr>
          <a:xfrm>
            <a:off x="795939" y="5454793"/>
            <a:ext cx="306133" cy="306133"/>
            <a:chOff x="5748554" y="5146675"/>
            <a:chExt cx="353832" cy="353832"/>
          </a:xfrm>
        </p:grpSpPr>
        <p:sp>
          <p:nvSpPr>
            <p:cNvPr id="8" name="Freeform 383">
              <a:extLst>
                <a:ext uri="{FF2B5EF4-FFF2-40B4-BE49-F238E27FC236}">
                  <a16:creationId xmlns:a16="http://schemas.microsoft.com/office/drawing/2014/main" id="{29E854F1-38C2-4748-B5C6-B85BBF250748}"/>
                </a:ext>
              </a:extLst>
            </p:cNvPr>
            <p:cNvSpPr>
              <a:spLocks/>
            </p:cNvSpPr>
            <p:nvPr/>
          </p:nvSpPr>
          <p:spPr bwMode="auto">
            <a:xfrm>
              <a:off x="5852152" y="5257801"/>
              <a:ext cx="159335" cy="137931"/>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lumMod val="50000"/>
              </a:schemeClr>
            </a:solidFill>
            <a:ln>
              <a:solidFill>
                <a:schemeClr val="bg1"/>
              </a:solidFill>
            </a:ln>
          </p:spPr>
          <p:txBody>
            <a:bodyPr/>
            <a:lstStyle/>
            <a:p>
              <a:pPr defTabSz="806867"/>
              <a:endParaRPr lang="en-US" sz="2400">
                <a:solidFill>
                  <a:schemeClr val="bg1"/>
                </a:solidFill>
                <a:latin typeface="Verdana"/>
              </a:endParaRPr>
            </a:p>
          </p:txBody>
        </p:sp>
        <p:sp>
          <p:nvSpPr>
            <p:cNvPr id="9" name="Rounded Rectangle 92">
              <a:extLst>
                <a:ext uri="{FF2B5EF4-FFF2-40B4-BE49-F238E27FC236}">
                  <a16:creationId xmlns:a16="http://schemas.microsoft.com/office/drawing/2014/main" id="{069A36E9-83AC-415A-A6F6-12B7FFBA3CC2}"/>
                </a:ext>
              </a:extLst>
            </p:cNvPr>
            <p:cNvSpPr/>
            <p:nvPr/>
          </p:nvSpPr>
          <p:spPr>
            <a:xfrm>
              <a:off x="5748554" y="5146675"/>
              <a:ext cx="353832" cy="353832"/>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867"/>
              <a:endParaRPr lang="en-US" sz="2400">
                <a:solidFill>
                  <a:schemeClr val="bg1"/>
                </a:solidFill>
                <a:latin typeface="Verdana"/>
              </a:endParaRPr>
            </a:p>
          </p:txBody>
        </p:sp>
      </p:grpSp>
      <p:sp>
        <p:nvSpPr>
          <p:cNvPr id="16" name="Text Placeholder 157">
            <a:extLst>
              <a:ext uri="{FF2B5EF4-FFF2-40B4-BE49-F238E27FC236}">
                <a16:creationId xmlns:a16="http://schemas.microsoft.com/office/drawing/2014/main" id="{7449869B-2BC1-4BC3-AD6F-5B13D6AD6DC7}"/>
              </a:ext>
            </a:extLst>
          </p:cNvPr>
          <p:cNvSpPr txBox="1">
            <a:spLocks/>
          </p:cNvSpPr>
          <p:nvPr/>
        </p:nvSpPr>
        <p:spPr>
          <a:xfrm>
            <a:off x="1179336" y="5859462"/>
            <a:ext cx="4140379" cy="349250"/>
          </a:xfrm>
          <a:ln>
            <a:solidFill>
              <a:schemeClr val="bg1"/>
            </a:solidFill>
          </a:ln>
        </p:spPr>
        <p:txBody>
          <a:bodyPr/>
          <a:lstStyle>
            <a:lvl1pPr marL="0" indent="0" algn="l" defTabSz="1381750" rtl="0" eaLnBrk="1" latinLnBrk="0" hangingPunct="1">
              <a:lnSpc>
                <a:spcPct val="90000"/>
              </a:lnSpc>
              <a:spcBef>
                <a:spcPts val="1133"/>
              </a:spcBef>
              <a:buFont typeface="Arial" panose="020B0604020202020204" pitchFamily="34" charset="0"/>
              <a:buNone/>
              <a:defRPr lang="en-US" sz="1662" kern="1200" dirty="0">
                <a:solidFill>
                  <a:schemeClr val="accent1"/>
                </a:solidFill>
                <a:latin typeface="+mn-lt"/>
                <a:ea typeface="+mn-ea"/>
                <a:cs typeface="+mn-cs"/>
              </a:defRPr>
            </a:lvl1pPr>
            <a:lvl2pPr marL="611699" indent="-203300" algn="l" defTabSz="1036290" rtl="0" eaLnBrk="1" latinLnBrk="0" hangingPunct="1">
              <a:lnSpc>
                <a:spcPct val="90000"/>
              </a:lnSpc>
              <a:spcBef>
                <a:spcPts val="567"/>
              </a:spcBef>
              <a:buClr>
                <a:schemeClr val="accent1"/>
              </a:buClr>
              <a:buFont typeface="Arial" panose="020B0604020202020204" pitchFamily="34" charset="0"/>
              <a:buChar char="•"/>
              <a:defRPr sz="2040" kern="1200">
                <a:solidFill>
                  <a:schemeClr val="tx1"/>
                </a:solidFill>
                <a:latin typeface="+mj-lt"/>
                <a:ea typeface="+mn-ea"/>
                <a:cs typeface="+mn-cs"/>
              </a:defRPr>
            </a:lvl2pPr>
            <a:lvl3pPr marL="1020098" indent="-203300" algn="l" defTabSz="1036290" rtl="0" eaLnBrk="1" latinLnBrk="0" hangingPunct="1">
              <a:lnSpc>
                <a:spcPct val="90000"/>
              </a:lnSpc>
              <a:spcBef>
                <a:spcPts val="567"/>
              </a:spcBef>
              <a:buClr>
                <a:schemeClr val="accent2"/>
              </a:buClr>
              <a:buFont typeface="Arial" panose="020B0604020202020204" pitchFamily="34" charset="0"/>
              <a:buChar char="•"/>
              <a:defRPr sz="1813" kern="1200">
                <a:solidFill>
                  <a:schemeClr val="tx1"/>
                </a:solidFill>
                <a:latin typeface="+mj-lt"/>
                <a:ea typeface="+mn-ea"/>
                <a:cs typeface="+mn-cs"/>
              </a:defRPr>
            </a:lvl3pPr>
            <a:lvl4pPr marL="1428496" indent="-203300" algn="l" defTabSz="1036290" rtl="0" eaLnBrk="1" latinLnBrk="0" hangingPunct="1">
              <a:lnSpc>
                <a:spcPct val="90000"/>
              </a:lnSpc>
              <a:spcBef>
                <a:spcPts val="567"/>
              </a:spcBef>
              <a:buClr>
                <a:schemeClr val="accent3"/>
              </a:buClr>
              <a:buFont typeface="Arial" panose="020B0604020202020204" pitchFamily="34" charset="0"/>
              <a:buChar char="•"/>
              <a:defRPr sz="1587" kern="1200">
                <a:solidFill>
                  <a:schemeClr val="tx1"/>
                </a:solidFill>
                <a:latin typeface="+mj-lt"/>
                <a:ea typeface="+mn-ea"/>
                <a:cs typeface="+mn-cs"/>
              </a:defRPr>
            </a:lvl4pPr>
            <a:lvl5pPr marL="1836896" indent="-203300" algn="l" defTabSz="1036290" rtl="0" eaLnBrk="1" latinLnBrk="0" hangingPunct="1">
              <a:lnSpc>
                <a:spcPct val="90000"/>
              </a:lnSpc>
              <a:spcBef>
                <a:spcPts val="567"/>
              </a:spcBef>
              <a:buClr>
                <a:schemeClr val="accent5"/>
              </a:buClr>
              <a:buFont typeface="Arial" panose="020B0604020202020204" pitchFamily="34" charset="0"/>
              <a:buChar char="•"/>
              <a:defRPr sz="1587" kern="1200">
                <a:solidFill>
                  <a:schemeClr val="tx1"/>
                </a:solidFill>
                <a:latin typeface="+mj-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defTabSz="1219256">
              <a:spcBef>
                <a:spcPts val="1000"/>
              </a:spcBef>
            </a:pPr>
            <a:r>
              <a:rPr lang="nb-NO" sz="1467" dirty="0">
                <a:solidFill>
                  <a:schemeClr val="bg1"/>
                </a:solidFill>
                <a:latin typeface="Verdana"/>
              </a:rPr>
              <a:t>johan-ludvig.brattas@capgemini.com</a:t>
            </a:r>
          </a:p>
        </p:txBody>
      </p:sp>
      <p:pic>
        <p:nvPicPr>
          <p:cNvPr id="17" name="Graphic 16" descr="Envelope">
            <a:extLst>
              <a:ext uri="{FF2B5EF4-FFF2-40B4-BE49-F238E27FC236}">
                <a16:creationId xmlns:a16="http://schemas.microsoft.com/office/drawing/2014/main" id="{D3DC0227-A16F-48F8-AB80-77BACD1DB51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153" y="5865248"/>
            <a:ext cx="337677" cy="337677"/>
          </a:xfrm>
          <a:prstGeom prst="rect">
            <a:avLst/>
          </a:prstGeom>
        </p:spPr>
      </p:pic>
      <p:pic>
        <p:nvPicPr>
          <p:cNvPr id="18" name="Picture 2" descr="LinkedIn Icon - Free Download, PNG and Vector">
            <a:extLst>
              <a:ext uri="{FF2B5EF4-FFF2-40B4-BE49-F238E27FC236}">
                <a16:creationId xmlns:a16="http://schemas.microsoft.com/office/drawing/2014/main" id="{A31E0120-B278-42B4-A1E2-E5F9ABAC03D4}"/>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7844919" y="4885985"/>
            <a:ext cx="434284" cy="43428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25251412-6140-47F1-8653-61D9F01B28AB}"/>
              </a:ext>
            </a:extLst>
          </p:cNvPr>
          <p:cNvSpPr txBox="1"/>
          <p:nvPr/>
        </p:nvSpPr>
        <p:spPr>
          <a:xfrm>
            <a:off x="8291705" y="4913965"/>
            <a:ext cx="1616148" cy="307777"/>
          </a:xfrm>
          <a:prstGeom prst="rect">
            <a:avLst/>
          </a:prstGeom>
          <a:noFill/>
          <a:ln>
            <a:noFill/>
          </a:ln>
        </p:spPr>
        <p:txBody>
          <a:bodyPr wrap="none" rtlCol="0">
            <a:spAutoFit/>
          </a:bodyPr>
          <a:lstStyle/>
          <a:p>
            <a:r>
              <a:rPr lang="en-GB" sz="1400">
                <a:solidFill>
                  <a:schemeClr val="bg1"/>
                </a:solidFill>
              </a:rPr>
              <a:t>/</a:t>
            </a:r>
            <a:r>
              <a:rPr lang="en-GB" sz="1400" err="1">
                <a:solidFill>
                  <a:schemeClr val="bg1"/>
                </a:solidFill>
              </a:rPr>
              <a:t>marthemoengen</a:t>
            </a:r>
            <a:endParaRPr lang="en-GB" sz="1400">
              <a:solidFill>
                <a:schemeClr val="bg1"/>
              </a:solidFill>
            </a:endParaRPr>
          </a:p>
        </p:txBody>
      </p:sp>
      <p:sp>
        <p:nvSpPr>
          <p:cNvPr id="21" name="TextBox 20">
            <a:extLst>
              <a:ext uri="{FF2B5EF4-FFF2-40B4-BE49-F238E27FC236}">
                <a16:creationId xmlns:a16="http://schemas.microsoft.com/office/drawing/2014/main" id="{0AE87175-982D-4E6C-B6DF-A7C11C0C8257}"/>
              </a:ext>
            </a:extLst>
          </p:cNvPr>
          <p:cNvSpPr txBox="1"/>
          <p:nvPr/>
        </p:nvSpPr>
        <p:spPr>
          <a:xfrm>
            <a:off x="8304759" y="5433235"/>
            <a:ext cx="1279517" cy="307777"/>
          </a:xfrm>
          <a:prstGeom prst="rect">
            <a:avLst/>
          </a:prstGeom>
          <a:noFill/>
          <a:ln>
            <a:noFill/>
          </a:ln>
        </p:spPr>
        <p:txBody>
          <a:bodyPr wrap="none" rtlCol="0">
            <a:spAutoFit/>
          </a:bodyPr>
          <a:lstStyle/>
          <a:p>
            <a:r>
              <a:rPr lang="en-GB" sz="1400" dirty="0">
                <a:solidFill>
                  <a:schemeClr val="bg1"/>
                </a:solidFill>
              </a:rPr>
              <a:t>@mmoengen</a:t>
            </a:r>
          </a:p>
        </p:txBody>
      </p:sp>
      <p:pic>
        <p:nvPicPr>
          <p:cNvPr id="22" name="Graphic 21" descr="Envelope">
            <a:extLst>
              <a:ext uri="{FF2B5EF4-FFF2-40B4-BE49-F238E27FC236}">
                <a16:creationId xmlns:a16="http://schemas.microsoft.com/office/drawing/2014/main" id="{6C695CB5-F6AC-4992-B190-7142914C1CB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99962" y="5865248"/>
            <a:ext cx="337677" cy="337677"/>
          </a:xfrm>
          <a:prstGeom prst="rect">
            <a:avLst/>
          </a:prstGeom>
        </p:spPr>
      </p:pic>
      <p:grpSp>
        <p:nvGrpSpPr>
          <p:cNvPr id="23" name="Group 22">
            <a:extLst>
              <a:ext uri="{FF2B5EF4-FFF2-40B4-BE49-F238E27FC236}">
                <a16:creationId xmlns:a16="http://schemas.microsoft.com/office/drawing/2014/main" id="{4EE8030E-F70E-42B1-A222-21BEC5373A44}"/>
              </a:ext>
            </a:extLst>
          </p:cNvPr>
          <p:cNvGrpSpPr/>
          <p:nvPr/>
        </p:nvGrpSpPr>
        <p:grpSpPr>
          <a:xfrm>
            <a:off x="7909010" y="5454793"/>
            <a:ext cx="306134" cy="306133"/>
            <a:chOff x="5748554" y="5146675"/>
            <a:chExt cx="353832" cy="353832"/>
          </a:xfrm>
        </p:grpSpPr>
        <p:sp>
          <p:nvSpPr>
            <p:cNvPr id="24" name="Freeform 383">
              <a:extLst>
                <a:ext uri="{FF2B5EF4-FFF2-40B4-BE49-F238E27FC236}">
                  <a16:creationId xmlns:a16="http://schemas.microsoft.com/office/drawing/2014/main" id="{F7844C18-B699-49A3-868C-B28DBBD8CF94}"/>
                </a:ext>
              </a:extLst>
            </p:cNvPr>
            <p:cNvSpPr>
              <a:spLocks/>
            </p:cNvSpPr>
            <p:nvPr/>
          </p:nvSpPr>
          <p:spPr bwMode="auto">
            <a:xfrm>
              <a:off x="5852152" y="5257801"/>
              <a:ext cx="159335" cy="137931"/>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lumMod val="50000"/>
              </a:schemeClr>
            </a:solidFill>
            <a:ln>
              <a:solidFill>
                <a:schemeClr val="bg1"/>
              </a:solidFill>
            </a:ln>
          </p:spPr>
          <p:txBody>
            <a:bodyPr/>
            <a:lstStyle/>
            <a:p>
              <a:pPr defTabSz="806867"/>
              <a:endParaRPr lang="en-US" sz="2400">
                <a:solidFill>
                  <a:schemeClr val="bg1"/>
                </a:solidFill>
                <a:latin typeface="Verdana"/>
              </a:endParaRPr>
            </a:p>
          </p:txBody>
        </p:sp>
        <p:sp>
          <p:nvSpPr>
            <p:cNvPr id="25" name="Rounded Rectangle 92">
              <a:extLst>
                <a:ext uri="{FF2B5EF4-FFF2-40B4-BE49-F238E27FC236}">
                  <a16:creationId xmlns:a16="http://schemas.microsoft.com/office/drawing/2014/main" id="{4027700D-74C8-4217-AC24-4A789168298C}"/>
                </a:ext>
              </a:extLst>
            </p:cNvPr>
            <p:cNvSpPr/>
            <p:nvPr/>
          </p:nvSpPr>
          <p:spPr>
            <a:xfrm>
              <a:off x="5748554" y="5146675"/>
              <a:ext cx="353832" cy="353832"/>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867"/>
              <a:endParaRPr lang="en-US" sz="2400">
                <a:solidFill>
                  <a:schemeClr val="bg1"/>
                </a:solidFill>
                <a:latin typeface="Verdana"/>
              </a:endParaRPr>
            </a:p>
          </p:txBody>
        </p:sp>
      </p:grpSp>
      <p:sp>
        <p:nvSpPr>
          <p:cNvPr id="26" name="Text Placeholder 157">
            <a:extLst>
              <a:ext uri="{FF2B5EF4-FFF2-40B4-BE49-F238E27FC236}">
                <a16:creationId xmlns:a16="http://schemas.microsoft.com/office/drawing/2014/main" id="{B84EB45E-30F9-4830-8EC4-E0E96FFEA521}"/>
              </a:ext>
            </a:extLst>
          </p:cNvPr>
          <p:cNvSpPr txBox="1">
            <a:spLocks/>
          </p:cNvSpPr>
          <p:nvPr/>
        </p:nvSpPr>
        <p:spPr>
          <a:xfrm>
            <a:off x="8291705" y="5859462"/>
            <a:ext cx="4140379" cy="349250"/>
          </a:xfrm>
          <a:ln>
            <a:solidFill>
              <a:schemeClr val="bg1"/>
            </a:solidFill>
          </a:ln>
        </p:spPr>
        <p:txBody>
          <a:bodyPr/>
          <a:lstStyle>
            <a:lvl1pPr marL="0" indent="0" algn="l" defTabSz="1381750" rtl="0" eaLnBrk="1" latinLnBrk="0" hangingPunct="1">
              <a:lnSpc>
                <a:spcPct val="90000"/>
              </a:lnSpc>
              <a:spcBef>
                <a:spcPts val="1133"/>
              </a:spcBef>
              <a:buFont typeface="Arial" panose="020B0604020202020204" pitchFamily="34" charset="0"/>
              <a:buNone/>
              <a:defRPr lang="en-US" sz="1662" kern="1200" dirty="0">
                <a:solidFill>
                  <a:schemeClr val="accent1"/>
                </a:solidFill>
                <a:latin typeface="+mn-lt"/>
                <a:ea typeface="+mn-ea"/>
                <a:cs typeface="+mn-cs"/>
              </a:defRPr>
            </a:lvl1pPr>
            <a:lvl2pPr marL="611699" indent="-203300" algn="l" defTabSz="1036290" rtl="0" eaLnBrk="1" latinLnBrk="0" hangingPunct="1">
              <a:lnSpc>
                <a:spcPct val="90000"/>
              </a:lnSpc>
              <a:spcBef>
                <a:spcPts val="567"/>
              </a:spcBef>
              <a:buClr>
                <a:schemeClr val="accent1"/>
              </a:buClr>
              <a:buFont typeface="Arial" panose="020B0604020202020204" pitchFamily="34" charset="0"/>
              <a:buChar char="•"/>
              <a:defRPr sz="2040" kern="1200">
                <a:solidFill>
                  <a:schemeClr val="tx1"/>
                </a:solidFill>
                <a:latin typeface="+mj-lt"/>
                <a:ea typeface="+mn-ea"/>
                <a:cs typeface="+mn-cs"/>
              </a:defRPr>
            </a:lvl2pPr>
            <a:lvl3pPr marL="1020098" indent="-203300" algn="l" defTabSz="1036290" rtl="0" eaLnBrk="1" latinLnBrk="0" hangingPunct="1">
              <a:lnSpc>
                <a:spcPct val="90000"/>
              </a:lnSpc>
              <a:spcBef>
                <a:spcPts val="567"/>
              </a:spcBef>
              <a:buClr>
                <a:schemeClr val="accent2"/>
              </a:buClr>
              <a:buFont typeface="Arial" panose="020B0604020202020204" pitchFamily="34" charset="0"/>
              <a:buChar char="•"/>
              <a:defRPr sz="1813" kern="1200">
                <a:solidFill>
                  <a:schemeClr val="tx1"/>
                </a:solidFill>
                <a:latin typeface="+mj-lt"/>
                <a:ea typeface="+mn-ea"/>
                <a:cs typeface="+mn-cs"/>
              </a:defRPr>
            </a:lvl3pPr>
            <a:lvl4pPr marL="1428496" indent="-203300" algn="l" defTabSz="1036290" rtl="0" eaLnBrk="1" latinLnBrk="0" hangingPunct="1">
              <a:lnSpc>
                <a:spcPct val="90000"/>
              </a:lnSpc>
              <a:spcBef>
                <a:spcPts val="567"/>
              </a:spcBef>
              <a:buClr>
                <a:schemeClr val="accent3"/>
              </a:buClr>
              <a:buFont typeface="Arial" panose="020B0604020202020204" pitchFamily="34" charset="0"/>
              <a:buChar char="•"/>
              <a:defRPr sz="1587" kern="1200">
                <a:solidFill>
                  <a:schemeClr val="tx1"/>
                </a:solidFill>
                <a:latin typeface="+mj-lt"/>
                <a:ea typeface="+mn-ea"/>
                <a:cs typeface="+mn-cs"/>
              </a:defRPr>
            </a:lvl4pPr>
            <a:lvl5pPr marL="1836896" indent="-203300" algn="l" defTabSz="1036290" rtl="0" eaLnBrk="1" latinLnBrk="0" hangingPunct="1">
              <a:lnSpc>
                <a:spcPct val="90000"/>
              </a:lnSpc>
              <a:spcBef>
                <a:spcPts val="567"/>
              </a:spcBef>
              <a:buClr>
                <a:schemeClr val="accent5"/>
              </a:buClr>
              <a:buFont typeface="Arial" panose="020B0604020202020204" pitchFamily="34" charset="0"/>
              <a:buChar char="•"/>
              <a:defRPr sz="1587" kern="1200">
                <a:solidFill>
                  <a:schemeClr val="tx1"/>
                </a:solidFill>
                <a:latin typeface="+mj-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defTabSz="1219256">
              <a:spcBef>
                <a:spcPts val="1000"/>
              </a:spcBef>
            </a:pPr>
            <a:r>
              <a:rPr lang="nb-NO" sz="1467" dirty="0">
                <a:solidFill>
                  <a:schemeClr val="bg1"/>
                </a:solidFill>
                <a:latin typeface="Verdana"/>
              </a:rPr>
              <a:t>marthe.moengen@capgemini.com</a:t>
            </a:r>
          </a:p>
        </p:txBody>
      </p:sp>
      <p:pic>
        <p:nvPicPr>
          <p:cNvPr id="27" name="Picture 2" descr="LinkedIn Icon - Free Download, PNG and Vector">
            <a:extLst>
              <a:ext uri="{FF2B5EF4-FFF2-40B4-BE49-F238E27FC236}">
                <a16:creationId xmlns:a16="http://schemas.microsoft.com/office/drawing/2014/main" id="{A37B5A00-521B-4D38-83E0-F4ED15889A84}"/>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742142" y="4885985"/>
            <a:ext cx="434284" cy="43428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636E9C71-73B9-4596-BFF3-580DD0794931}"/>
              </a:ext>
            </a:extLst>
          </p:cNvPr>
          <p:cNvSpPr txBox="1"/>
          <p:nvPr/>
        </p:nvSpPr>
        <p:spPr>
          <a:xfrm>
            <a:off x="2577258" y="1793860"/>
            <a:ext cx="5267661" cy="400110"/>
          </a:xfrm>
          <a:prstGeom prst="rect">
            <a:avLst/>
          </a:prstGeom>
          <a:noFill/>
        </p:spPr>
        <p:txBody>
          <a:bodyPr wrap="square">
            <a:spAutoFit/>
          </a:bodyPr>
          <a:lstStyle/>
          <a:p>
            <a:pPr algn="ctr"/>
            <a:r>
              <a:rPr lang="nb-NO" sz="2000" dirty="0">
                <a:solidFill>
                  <a:schemeClr val="accent2">
                    <a:lumMod val="40000"/>
                    <a:lumOff val="60000"/>
                  </a:schemeClr>
                </a:solidFill>
              </a:rPr>
              <a:t>https://evals.datagrillen.com/evals.aspx</a:t>
            </a:r>
            <a:endParaRPr lang="en-US" sz="2000" dirty="0">
              <a:solidFill>
                <a:schemeClr val="accent2">
                  <a:lumMod val="20000"/>
                  <a:lumOff val="80000"/>
                </a:schemeClr>
              </a:solidFill>
            </a:endParaRPr>
          </a:p>
        </p:txBody>
      </p:sp>
    </p:spTree>
    <p:extLst>
      <p:ext uri="{BB962C8B-B14F-4D97-AF65-F5344CB8AC3E}">
        <p14:creationId xmlns:p14="http://schemas.microsoft.com/office/powerpoint/2010/main" val="41386794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6ECBB4D-B69A-4638-AC66-2F9D8D37815F}"/>
              </a:ext>
            </a:extLst>
          </p:cNvPr>
          <p:cNvSpPr txBox="1"/>
          <p:nvPr/>
        </p:nvSpPr>
        <p:spPr>
          <a:xfrm>
            <a:off x="2384612" y="3136612"/>
            <a:ext cx="7422776" cy="584775"/>
          </a:xfrm>
          <a:prstGeom prst="rect">
            <a:avLst/>
          </a:prstGeom>
          <a:noFill/>
        </p:spPr>
        <p:txBody>
          <a:bodyPr wrap="square">
            <a:spAutoFit/>
          </a:bodyPr>
          <a:lstStyle/>
          <a:p>
            <a:pPr algn="ctr"/>
            <a:r>
              <a:rPr lang="nb-NO" sz="3200" dirty="0" err="1">
                <a:solidFill>
                  <a:schemeClr val="accent2">
                    <a:lumMod val="40000"/>
                    <a:lumOff val="60000"/>
                  </a:schemeClr>
                </a:solidFill>
                <a:hlinkClick r:id="rId2">
                  <a:extLst>
                    <a:ext uri="{A12FA001-AC4F-418D-AE19-62706E023703}">
                      <ahyp:hlinkClr xmlns:ahyp="http://schemas.microsoft.com/office/drawing/2018/hyperlinkcolor" val="tx"/>
                    </a:ext>
                  </a:extLst>
                </a:hlinkClick>
              </a:rPr>
              <a:t>Session</a:t>
            </a:r>
            <a:r>
              <a:rPr lang="nb-NO" sz="3200" dirty="0">
                <a:solidFill>
                  <a:schemeClr val="accent2">
                    <a:lumMod val="40000"/>
                    <a:lumOff val="60000"/>
                  </a:schemeClr>
                </a:solidFill>
                <a:hlinkClick r:id="rId2">
                  <a:extLst>
                    <a:ext uri="{A12FA001-AC4F-418D-AE19-62706E023703}">
                      <ahyp:hlinkClr xmlns:ahyp="http://schemas.microsoft.com/office/drawing/2018/hyperlinkcolor" val="tx"/>
                    </a:ext>
                  </a:extLst>
                </a:hlinkClick>
              </a:rPr>
              <a:t> Evaluation (datagrillen.com</a:t>
            </a:r>
            <a:r>
              <a:rPr lang="nb-NO" sz="3200" dirty="0">
                <a:solidFill>
                  <a:schemeClr val="accent2">
                    <a:lumMod val="20000"/>
                    <a:lumOff val="80000"/>
                  </a:schemeClr>
                </a:solidFill>
                <a:hlinkClick r:id="rId2">
                  <a:extLst>
                    <a:ext uri="{A12FA001-AC4F-418D-AE19-62706E023703}">
                      <ahyp:hlinkClr xmlns:ahyp="http://schemas.microsoft.com/office/drawing/2018/hyperlinkcolor" val="tx"/>
                    </a:ext>
                  </a:extLst>
                </a:hlinkClick>
              </a:rPr>
              <a:t>)</a:t>
            </a:r>
            <a:endParaRPr lang="en-US" sz="3200" dirty="0">
              <a:solidFill>
                <a:schemeClr val="accent2">
                  <a:lumMod val="20000"/>
                  <a:lumOff val="80000"/>
                </a:schemeClr>
              </a:solidFill>
            </a:endParaRPr>
          </a:p>
        </p:txBody>
      </p:sp>
    </p:spTree>
    <p:extLst>
      <p:ext uri="{BB962C8B-B14F-4D97-AF65-F5344CB8AC3E}">
        <p14:creationId xmlns:p14="http://schemas.microsoft.com/office/powerpoint/2010/main" val="22584232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B45FA-847C-4E9D-9896-2CF6D7B4AFBB}"/>
              </a:ext>
            </a:extLst>
          </p:cNvPr>
          <p:cNvSpPr>
            <a:spLocks noGrp="1"/>
          </p:cNvSpPr>
          <p:nvPr>
            <p:ph type="body" sz="quarter" idx="10"/>
          </p:nvPr>
        </p:nvSpPr>
        <p:spPr/>
        <p:txBody>
          <a:bodyPr/>
          <a:lstStyle/>
          <a:p>
            <a:r>
              <a:rPr lang="en-US" dirty="0"/>
              <a:t>People and processes – </a:t>
            </a:r>
            <a:r>
              <a:rPr lang="en-US" dirty="0" err="1"/>
              <a:t>viktigst</a:t>
            </a:r>
            <a:endParaRPr lang="en-US" dirty="0"/>
          </a:p>
          <a:p>
            <a:endParaRPr lang="en-US" dirty="0"/>
          </a:p>
          <a:p>
            <a:r>
              <a:rPr lang="en-US" dirty="0"/>
              <a:t>Information and knowledge -&gt; key to competitive advantage</a:t>
            </a:r>
          </a:p>
          <a:p>
            <a:endParaRPr lang="en-US" dirty="0"/>
          </a:p>
          <a:p>
            <a:r>
              <a:rPr lang="en-US" dirty="0"/>
              <a:t>Reliable, high-quality data can make better decisions</a:t>
            </a:r>
          </a:p>
          <a:p>
            <a:endParaRPr lang="en-US" dirty="0"/>
          </a:p>
          <a:p>
            <a:r>
              <a:rPr lang="en-US" dirty="0" err="1"/>
              <a:t>Managa</a:t>
            </a:r>
            <a:r>
              <a:rPr lang="en-US" dirty="0"/>
              <a:t> data = manage capital</a:t>
            </a:r>
          </a:p>
          <a:p>
            <a:r>
              <a:rPr lang="en-US" dirty="0"/>
              <a:t>Data is an asset</a:t>
            </a:r>
          </a:p>
          <a:p>
            <a:endParaRPr lang="en-US" dirty="0"/>
          </a:p>
        </p:txBody>
      </p:sp>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dirty="0"/>
              <a:t>So, should you care?</a:t>
            </a:r>
          </a:p>
        </p:txBody>
      </p:sp>
    </p:spTree>
    <p:extLst>
      <p:ext uri="{BB962C8B-B14F-4D97-AF65-F5344CB8AC3E}">
        <p14:creationId xmlns:p14="http://schemas.microsoft.com/office/powerpoint/2010/main" val="35738552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dirty="0"/>
              <a:t>So, should you care?</a:t>
            </a:r>
          </a:p>
        </p:txBody>
      </p:sp>
      <p:sp>
        <p:nvSpPr>
          <p:cNvPr id="4" name="Freeform 5">
            <a:extLst>
              <a:ext uri="{FF2B5EF4-FFF2-40B4-BE49-F238E27FC236}">
                <a16:creationId xmlns:a16="http://schemas.microsoft.com/office/drawing/2014/main" id="{CA73A4EE-7D2A-4076-8577-09CADE6B4288}"/>
              </a:ext>
            </a:extLst>
          </p:cNvPr>
          <p:cNvSpPr>
            <a:spLocks/>
          </p:cNvSpPr>
          <p:nvPr/>
        </p:nvSpPr>
        <p:spPr bwMode="auto">
          <a:xfrm>
            <a:off x="4099068" y="4093797"/>
            <a:ext cx="1234346" cy="901208"/>
          </a:xfrm>
          <a:custGeom>
            <a:avLst/>
            <a:gdLst>
              <a:gd name="T0" fmla="*/ 290 w 297"/>
              <a:gd name="T1" fmla="*/ 226 h 226"/>
              <a:gd name="T2" fmla="*/ 287 w 297"/>
              <a:gd name="T3" fmla="*/ 225 h 226"/>
              <a:gd name="T4" fmla="*/ 138 w 297"/>
              <a:gd name="T5" fmla="*/ 14 h 226"/>
              <a:gd name="T6" fmla="*/ 8 w 297"/>
              <a:gd name="T7" fmla="*/ 44 h 226"/>
              <a:gd name="T8" fmla="*/ 1 w 297"/>
              <a:gd name="T9" fmla="*/ 39 h 226"/>
              <a:gd name="T10" fmla="*/ 6 w 297"/>
              <a:gd name="T11" fmla="*/ 32 h 226"/>
              <a:gd name="T12" fmla="*/ 141 w 297"/>
              <a:gd name="T13" fmla="*/ 1 h 226"/>
              <a:gd name="T14" fmla="*/ 149 w 297"/>
              <a:gd name="T15" fmla="*/ 6 h 226"/>
              <a:gd name="T16" fmla="*/ 294 w 297"/>
              <a:gd name="T17" fmla="*/ 215 h 226"/>
              <a:gd name="T18" fmla="*/ 295 w 297"/>
              <a:gd name="T19" fmla="*/ 223 h 226"/>
              <a:gd name="T20" fmla="*/ 290 w 297"/>
              <a:gd name="T2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7" h="226">
                <a:moveTo>
                  <a:pt x="290" y="226"/>
                </a:moveTo>
                <a:cubicBezTo>
                  <a:pt x="289" y="226"/>
                  <a:pt x="288" y="226"/>
                  <a:pt x="287" y="225"/>
                </a:cubicBezTo>
                <a:cubicBezTo>
                  <a:pt x="212" y="176"/>
                  <a:pt x="160" y="101"/>
                  <a:pt x="138" y="14"/>
                </a:cubicBezTo>
                <a:cubicBezTo>
                  <a:pt x="8" y="44"/>
                  <a:pt x="8" y="44"/>
                  <a:pt x="8" y="44"/>
                </a:cubicBezTo>
                <a:cubicBezTo>
                  <a:pt x="5" y="44"/>
                  <a:pt x="2" y="42"/>
                  <a:pt x="1" y="39"/>
                </a:cubicBezTo>
                <a:cubicBezTo>
                  <a:pt x="0" y="36"/>
                  <a:pt x="2" y="33"/>
                  <a:pt x="6" y="32"/>
                </a:cubicBezTo>
                <a:cubicBezTo>
                  <a:pt x="141" y="1"/>
                  <a:pt x="141" y="1"/>
                  <a:pt x="141" y="1"/>
                </a:cubicBezTo>
                <a:cubicBezTo>
                  <a:pt x="145" y="0"/>
                  <a:pt x="148" y="2"/>
                  <a:pt x="149" y="6"/>
                </a:cubicBezTo>
                <a:cubicBezTo>
                  <a:pt x="168" y="92"/>
                  <a:pt x="220" y="166"/>
                  <a:pt x="294" y="215"/>
                </a:cubicBezTo>
                <a:cubicBezTo>
                  <a:pt x="296" y="217"/>
                  <a:pt x="297" y="221"/>
                  <a:pt x="295" y="223"/>
                </a:cubicBezTo>
                <a:cubicBezTo>
                  <a:pt x="294" y="225"/>
                  <a:pt x="292" y="226"/>
                  <a:pt x="290" y="226"/>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 name="Group 4">
            <a:extLst>
              <a:ext uri="{FF2B5EF4-FFF2-40B4-BE49-F238E27FC236}">
                <a16:creationId xmlns:a16="http://schemas.microsoft.com/office/drawing/2014/main" id="{30424A69-CC3E-4ADF-B2C5-ADB11A46C9F2}"/>
              </a:ext>
            </a:extLst>
          </p:cNvPr>
          <p:cNvGrpSpPr/>
          <p:nvPr/>
        </p:nvGrpSpPr>
        <p:grpSpPr>
          <a:xfrm>
            <a:off x="5197623" y="5034447"/>
            <a:ext cx="1382466" cy="554134"/>
            <a:chOff x="4025750" y="3693811"/>
            <a:chExt cx="836700" cy="349869"/>
          </a:xfrm>
          <a:solidFill>
            <a:schemeClr val="accent2">
              <a:lumMod val="50000"/>
            </a:schemeClr>
          </a:solidFill>
        </p:grpSpPr>
        <p:sp>
          <p:nvSpPr>
            <p:cNvPr id="6" name="Freeform 6">
              <a:extLst>
                <a:ext uri="{FF2B5EF4-FFF2-40B4-BE49-F238E27FC236}">
                  <a16:creationId xmlns:a16="http://schemas.microsoft.com/office/drawing/2014/main" id="{ACBD3D34-AC39-4E33-B51B-689AD3CB905A}"/>
                </a:ext>
              </a:extLst>
            </p:cNvPr>
            <p:cNvSpPr>
              <a:spLocks/>
            </p:cNvSpPr>
            <p:nvPr/>
          </p:nvSpPr>
          <p:spPr bwMode="auto">
            <a:xfrm>
              <a:off x="4025750" y="3693811"/>
              <a:ext cx="185518" cy="349869"/>
            </a:xfrm>
            <a:custGeom>
              <a:avLst/>
              <a:gdLst>
                <a:gd name="T0" fmla="*/ 7 w 74"/>
                <a:gd name="T1" fmla="*/ 139 h 139"/>
                <a:gd name="T2" fmla="*/ 4 w 74"/>
                <a:gd name="T3" fmla="*/ 138 h 139"/>
                <a:gd name="T4" fmla="*/ 1 w 74"/>
                <a:gd name="T5" fmla="*/ 130 h 139"/>
                <a:gd name="T6" fmla="*/ 62 w 74"/>
                <a:gd name="T7" fmla="*/ 5 h 139"/>
                <a:gd name="T8" fmla="*/ 70 w 74"/>
                <a:gd name="T9" fmla="*/ 2 h 139"/>
                <a:gd name="T10" fmla="*/ 73 w 74"/>
                <a:gd name="T11" fmla="*/ 10 h 139"/>
                <a:gd name="T12" fmla="*/ 12 w 74"/>
                <a:gd name="T13" fmla="*/ 135 h 139"/>
                <a:gd name="T14" fmla="*/ 7 w 74"/>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39">
                  <a:moveTo>
                    <a:pt x="7" y="139"/>
                  </a:moveTo>
                  <a:cubicBezTo>
                    <a:pt x="6" y="139"/>
                    <a:pt x="5" y="138"/>
                    <a:pt x="4" y="138"/>
                  </a:cubicBezTo>
                  <a:cubicBezTo>
                    <a:pt x="1" y="137"/>
                    <a:pt x="0" y="133"/>
                    <a:pt x="1" y="130"/>
                  </a:cubicBezTo>
                  <a:cubicBezTo>
                    <a:pt x="62" y="5"/>
                    <a:pt x="62" y="5"/>
                    <a:pt x="62" y="5"/>
                  </a:cubicBezTo>
                  <a:cubicBezTo>
                    <a:pt x="63" y="2"/>
                    <a:pt x="67" y="0"/>
                    <a:pt x="70" y="2"/>
                  </a:cubicBezTo>
                  <a:cubicBezTo>
                    <a:pt x="73" y="3"/>
                    <a:pt x="74" y="7"/>
                    <a:pt x="73" y="10"/>
                  </a:cubicBezTo>
                  <a:cubicBezTo>
                    <a:pt x="12" y="135"/>
                    <a:pt x="12" y="135"/>
                    <a:pt x="12" y="135"/>
                  </a:cubicBezTo>
                  <a:cubicBezTo>
                    <a:pt x="11" y="137"/>
                    <a:pt x="9" y="139"/>
                    <a:pt x="7" y="1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C61413D6-0C8F-489A-A3E5-DA8FA4679AD9}"/>
                </a:ext>
              </a:extLst>
            </p:cNvPr>
            <p:cNvSpPr>
              <a:spLocks/>
            </p:cNvSpPr>
            <p:nvPr/>
          </p:nvSpPr>
          <p:spPr bwMode="auto">
            <a:xfrm>
              <a:off x="4176406" y="3693811"/>
              <a:ext cx="686044" cy="120773"/>
            </a:xfrm>
            <a:custGeom>
              <a:avLst/>
              <a:gdLst>
                <a:gd name="T0" fmla="*/ 158 w 273"/>
                <a:gd name="T1" fmla="*/ 48 h 48"/>
                <a:gd name="T2" fmla="*/ 5 w 273"/>
                <a:gd name="T3" fmla="*/ 13 h 48"/>
                <a:gd name="T4" fmla="*/ 2 w 273"/>
                <a:gd name="T5" fmla="*/ 5 h 48"/>
                <a:gd name="T6" fmla="*/ 10 w 273"/>
                <a:gd name="T7" fmla="*/ 2 h 48"/>
                <a:gd name="T8" fmla="*/ 264 w 273"/>
                <a:gd name="T9" fmla="*/ 19 h 48"/>
                <a:gd name="T10" fmla="*/ 272 w 273"/>
                <a:gd name="T11" fmla="*/ 23 h 48"/>
                <a:gd name="T12" fmla="*/ 268 w 273"/>
                <a:gd name="T13" fmla="*/ 30 h 48"/>
                <a:gd name="T14" fmla="*/ 158 w 273"/>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3" h="48">
                  <a:moveTo>
                    <a:pt x="158" y="48"/>
                  </a:moveTo>
                  <a:cubicBezTo>
                    <a:pt x="106" y="48"/>
                    <a:pt x="53" y="36"/>
                    <a:pt x="5" y="13"/>
                  </a:cubicBezTo>
                  <a:cubicBezTo>
                    <a:pt x="2" y="11"/>
                    <a:pt x="0" y="8"/>
                    <a:pt x="2" y="5"/>
                  </a:cubicBezTo>
                  <a:cubicBezTo>
                    <a:pt x="3" y="2"/>
                    <a:pt x="7" y="0"/>
                    <a:pt x="10" y="2"/>
                  </a:cubicBezTo>
                  <a:cubicBezTo>
                    <a:pt x="90" y="40"/>
                    <a:pt x="180" y="46"/>
                    <a:pt x="264" y="19"/>
                  </a:cubicBezTo>
                  <a:cubicBezTo>
                    <a:pt x="267" y="18"/>
                    <a:pt x="271" y="20"/>
                    <a:pt x="272" y="23"/>
                  </a:cubicBezTo>
                  <a:cubicBezTo>
                    <a:pt x="273" y="26"/>
                    <a:pt x="271" y="29"/>
                    <a:pt x="268" y="30"/>
                  </a:cubicBezTo>
                  <a:cubicBezTo>
                    <a:pt x="232" y="42"/>
                    <a:pt x="195" y="48"/>
                    <a:pt x="15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Freeform 8">
            <a:extLst>
              <a:ext uri="{FF2B5EF4-FFF2-40B4-BE49-F238E27FC236}">
                <a16:creationId xmlns:a16="http://schemas.microsoft.com/office/drawing/2014/main" id="{D6FAFC2F-9B83-47FE-95F3-33200C3F2B70}"/>
              </a:ext>
            </a:extLst>
          </p:cNvPr>
          <p:cNvSpPr>
            <a:spLocks/>
          </p:cNvSpPr>
          <p:nvPr/>
        </p:nvSpPr>
        <p:spPr bwMode="auto">
          <a:xfrm>
            <a:off x="6705595" y="4273251"/>
            <a:ext cx="781751" cy="1315329"/>
          </a:xfrm>
          <a:custGeom>
            <a:avLst/>
            <a:gdLst>
              <a:gd name="T0" fmla="*/ 67 w 188"/>
              <a:gd name="T1" fmla="*/ 330 h 330"/>
              <a:gd name="T2" fmla="*/ 62 w 188"/>
              <a:gd name="T3" fmla="*/ 326 h 330"/>
              <a:gd name="T4" fmla="*/ 1 w 188"/>
              <a:gd name="T5" fmla="*/ 201 h 330"/>
              <a:gd name="T6" fmla="*/ 4 w 188"/>
              <a:gd name="T7" fmla="*/ 193 h 330"/>
              <a:gd name="T8" fmla="*/ 176 w 188"/>
              <a:gd name="T9" fmla="*/ 5 h 330"/>
              <a:gd name="T10" fmla="*/ 184 w 188"/>
              <a:gd name="T11" fmla="*/ 1 h 330"/>
              <a:gd name="T12" fmla="*/ 187 w 188"/>
              <a:gd name="T13" fmla="*/ 9 h 330"/>
              <a:gd name="T14" fmla="*/ 15 w 188"/>
              <a:gd name="T15" fmla="*/ 201 h 330"/>
              <a:gd name="T16" fmla="*/ 72 w 188"/>
              <a:gd name="T17" fmla="*/ 321 h 330"/>
              <a:gd name="T18" fmla="*/ 70 w 188"/>
              <a:gd name="T19" fmla="*/ 329 h 330"/>
              <a:gd name="T20" fmla="*/ 67 w 188"/>
              <a:gd name="T21"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330">
                <a:moveTo>
                  <a:pt x="67" y="330"/>
                </a:moveTo>
                <a:cubicBezTo>
                  <a:pt x="65" y="330"/>
                  <a:pt x="63" y="328"/>
                  <a:pt x="62" y="326"/>
                </a:cubicBezTo>
                <a:cubicBezTo>
                  <a:pt x="1" y="201"/>
                  <a:pt x="1" y="201"/>
                  <a:pt x="1" y="201"/>
                </a:cubicBezTo>
                <a:cubicBezTo>
                  <a:pt x="0" y="198"/>
                  <a:pt x="1" y="194"/>
                  <a:pt x="4" y="193"/>
                </a:cubicBezTo>
                <a:cubicBezTo>
                  <a:pt x="84" y="154"/>
                  <a:pt x="145" y="88"/>
                  <a:pt x="176" y="5"/>
                </a:cubicBezTo>
                <a:cubicBezTo>
                  <a:pt x="177" y="2"/>
                  <a:pt x="181" y="0"/>
                  <a:pt x="184" y="1"/>
                </a:cubicBezTo>
                <a:cubicBezTo>
                  <a:pt x="187" y="2"/>
                  <a:pt x="188" y="6"/>
                  <a:pt x="187" y="9"/>
                </a:cubicBezTo>
                <a:cubicBezTo>
                  <a:pt x="156" y="93"/>
                  <a:pt x="94" y="161"/>
                  <a:pt x="15" y="201"/>
                </a:cubicBezTo>
                <a:cubicBezTo>
                  <a:pt x="72" y="321"/>
                  <a:pt x="72" y="321"/>
                  <a:pt x="72" y="321"/>
                </a:cubicBezTo>
                <a:cubicBezTo>
                  <a:pt x="74" y="324"/>
                  <a:pt x="73" y="328"/>
                  <a:pt x="70" y="329"/>
                </a:cubicBezTo>
                <a:cubicBezTo>
                  <a:pt x="69" y="329"/>
                  <a:pt x="68" y="330"/>
                  <a:pt x="67" y="3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3BC40C0B-FBBC-4C2C-BF59-10055E700E48}"/>
              </a:ext>
            </a:extLst>
          </p:cNvPr>
          <p:cNvSpPr>
            <a:spLocks/>
          </p:cNvSpPr>
          <p:nvPr/>
        </p:nvSpPr>
        <p:spPr bwMode="auto">
          <a:xfrm>
            <a:off x="7320709" y="3072296"/>
            <a:ext cx="785867" cy="1197009"/>
          </a:xfrm>
          <a:custGeom>
            <a:avLst/>
            <a:gdLst>
              <a:gd name="T0" fmla="*/ 183 w 189"/>
              <a:gd name="T1" fmla="*/ 300 h 300"/>
              <a:gd name="T2" fmla="*/ 181 w 189"/>
              <a:gd name="T3" fmla="*/ 300 h 300"/>
              <a:gd name="T4" fmla="*/ 46 w 189"/>
              <a:gd name="T5" fmla="*/ 269 h 300"/>
              <a:gd name="T6" fmla="*/ 42 w 189"/>
              <a:gd name="T7" fmla="*/ 266 h 300"/>
              <a:gd name="T8" fmla="*/ 41 w 189"/>
              <a:gd name="T9" fmla="*/ 261 h 300"/>
              <a:gd name="T10" fmla="*/ 1 w 189"/>
              <a:gd name="T11" fmla="*/ 10 h 300"/>
              <a:gd name="T12" fmla="*/ 3 w 189"/>
              <a:gd name="T13" fmla="*/ 2 h 300"/>
              <a:gd name="T14" fmla="*/ 12 w 189"/>
              <a:gd name="T15" fmla="*/ 4 h 300"/>
              <a:gd name="T16" fmla="*/ 54 w 189"/>
              <a:gd name="T17" fmla="*/ 258 h 300"/>
              <a:gd name="T18" fmla="*/ 184 w 189"/>
              <a:gd name="T19" fmla="*/ 288 h 300"/>
              <a:gd name="T20" fmla="*/ 189 w 189"/>
              <a:gd name="T21" fmla="*/ 295 h 300"/>
              <a:gd name="T22" fmla="*/ 183 w 189"/>
              <a:gd name="T23"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300">
                <a:moveTo>
                  <a:pt x="183" y="300"/>
                </a:moveTo>
                <a:cubicBezTo>
                  <a:pt x="182" y="300"/>
                  <a:pt x="182" y="300"/>
                  <a:pt x="181" y="300"/>
                </a:cubicBezTo>
                <a:cubicBezTo>
                  <a:pt x="46" y="269"/>
                  <a:pt x="46" y="269"/>
                  <a:pt x="46" y="269"/>
                </a:cubicBezTo>
                <a:cubicBezTo>
                  <a:pt x="44" y="268"/>
                  <a:pt x="43" y="267"/>
                  <a:pt x="42" y="266"/>
                </a:cubicBezTo>
                <a:cubicBezTo>
                  <a:pt x="41" y="265"/>
                  <a:pt x="41" y="263"/>
                  <a:pt x="41" y="261"/>
                </a:cubicBezTo>
                <a:cubicBezTo>
                  <a:pt x="61" y="175"/>
                  <a:pt x="47" y="86"/>
                  <a:pt x="1" y="10"/>
                </a:cubicBezTo>
                <a:cubicBezTo>
                  <a:pt x="0" y="7"/>
                  <a:pt x="1" y="3"/>
                  <a:pt x="3" y="2"/>
                </a:cubicBezTo>
                <a:cubicBezTo>
                  <a:pt x="6" y="0"/>
                  <a:pt x="10" y="1"/>
                  <a:pt x="12" y="4"/>
                </a:cubicBezTo>
                <a:cubicBezTo>
                  <a:pt x="58" y="81"/>
                  <a:pt x="73" y="171"/>
                  <a:pt x="54" y="258"/>
                </a:cubicBezTo>
                <a:cubicBezTo>
                  <a:pt x="184" y="288"/>
                  <a:pt x="184" y="288"/>
                  <a:pt x="184" y="288"/>
                </a:cubicBezTo>
                <a:cubicBezTo>
                  <a:pt x="187" y="289"/>
                  <a:pt x="189" y="292"/>
                  <a:pt x="189" y="295"/>
                </a:cubicBezTo>
                <a:cubicBezTo>
                  <a:pt x="188" y="298"/>
                  <a:pt x="186" y="300"/>
                  <a:pt x="183" y="30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FC293762-F2B2-498F-B5C9-8D268CB21C43}"/>
              </a:ext>
            </a:extLst>
          </p:cNvPr>
          <p:cNvSpPr>
            <a:spLocks/>
          </p:cNvSpPr>
          <p:nvPr/>
        </p:nvSpPr>
        <p:spPr bwMode="auto">
          <a:xfrm>
            <a:off x="6273573" y="2409701"/>
            <a:ext cx="1442128" cy="558079"/>
          </a:xfrm>
          <a:custGeom>
            <a:avLst/>
            <a:gdLst>
              <a:gd name="T0" fmla="*/ 232 w 347"/>
              <a:gd name="T1" fmla="*/ 140 h 140"/>
              <a:gd name="T2" fmla="*/ 231 w 347"/>
              <a:gd name="T3" fmla="*/ 140 h 140"/>
              <a:gd name="T4" fmla="*/ 227 w 347"/>
              <a:gd name="T5" fmla="*/ 138 h 140"/>
              <a:gd name="T6" fmla="*/ 5 w 347"/>
              <a:gd name="T7" fmla="*/ 12 h 140"/>
              <a:gd name="T8" fmla="*/ 0 w 347"/>
              <a:gd name="T9" fmla="*/ 5 h 140"/>
              <a:gd name="T10" fmla="*/ 7 w 347"/>
              <a:gd name="T11" fmla="*/ 0 h 140"/>
              <a:gd name="T12" fmla="*/ 233 w 347"/>
              <a:gd name="T13" fmla="*/ 126 h 140"/>
              <a:gd name="T14" fmla="*/ 337 w 347"/>
              <a:gd name="T15" fmla="*/ 43 h 140"/>
              <a:gd name="T16" fmla="*/ 345 w 347"/>
              <a:gd name="T17" fmla="*/ 43 h 140"/>
              <a:gd name="T18" fmla="*/ 344 w 347"/>
              <a:gd name="T19" fmla="*/ 52 h 140"/>
              <a:gd name="T20" fmla="*/ 235 w 347"/>
              <a:gd name="T21" fmla="*/ 139 h 140"/>
              <a:gd name="T22" fmla="*/ 232 w 347"/>
              <a:gd name="T2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7" h="140">
                <a:moveTo>
                  <a:pt x="232" y="140"/>
                </a:moveTo>
                <a:cubicBezTo>
                  <a:pt x="231" y="140"/>
                  <a:pt x="231" y="140"/>
                  <a:pt x="231" y="140"/>
                </a:cubicBezTo>
                <a:cubicBezTo>
                  <a:pt x="229" y="140"/>
                  <a:pt x="228" y="139"/>
                  <a:pt x="227" y="138"/>
                </a:cubicBezTo>
                <a:cubicBezTo>
                  <a:pt x="172" y="69"/>
                  <a:pt x="93" y="24"/>
                  <a:pt x="5" y="12"/>
                </a:cubicBezTo>
                <a:cubicBezTo>
                  <a:pt x="2" y="12"/>
                  <a:pt x="0" y="9"/>
                  <a:pt x="0" y="5"/>
                </a:cubicBezTo>
                <a:cubicBezTo>
                  <a:pt x="1" y="2"/>
                  <a:pt x="4" y="0"/>
                  <a:pt x="7" y="0"/>
                </a:cubicBezTo>
                <a:cubicBezTo>
                  <a:pt x="96" y="12"/>
                  <a:pt x="176" y="57"/>
                  <a:pt x="233" y="126"/>
                </a:cubicBezTo>
                <a:cubicBezTo>
                  <a:pt x="337" y="43"/>
                  <a:pt x="337" y="43"/>
                  <a:pt x="337" y="43"/>
                </a:cubicBezTo>
                <a:cubicBezTo>
                  <a:pt x="339" y="40"/>
                  <a:pt x="343" y="41"/>
                  <a:pt x="345" y="43"/>
                </a:cubicBezTo>
                <a:cubicBezTo>
                  <a:pt x="347" y="46"/>
                  <a:pt x="347" y="50"/>
                  <a:pt x="344" y="52"/>
                </a:cubicBezTo>
                <a:cubicBezTo>
                  <a:pt x="235" y="139"/>
                  <a:pt x="235" y="139"/>
                  <a:pt x="235" y="139"/>
                </a:cubicBezTo>
                <a:cubicBezTo>
                  <a:pt x="234" y="140"/>
                  <a:pt x="233" y="140"/>
                  <a:pt x="232" y="140"/>
                </a:cubicBezTo>
                <a:close/>
              </a:path>
            </a:pathLst>
          </a:custGeom>
          <a:solidFill>
            <a:schemeClr val="accent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B4FA0052-B885-4B2F-881E-2929C311FFF5}"/>
              </a:ext>
            </a:extLst>
          </p:cNvPr>
          <p:cNvSpPr>
            <a:spLocks/>
          </p:cNvSpPr>
          <p:nvPr/>
        </p:nvSpPr>
        <p:spPr bwMode="auto">
          <a:xfrm>
            <a:off x="5076258" y="1843734"/>
            <a:ext cx="1051251" cy="989949"/>
          </a:xfrm>
          <a:custGeom>
            <a:avLst/>
            <a:gdLst>
              <a:gd name="T0" fmla="*/ 7 w 253"/>
              <a:gd name="T1" fmla="*/ 248 h 248"/>
              <a:gd name="T2" fmla="*/ 2 w 253"/>
              <a:gd name="T3" fmla="*/ 246 h 248"/>
              <a:gd name="T4" fmla="*/ 3 w 253"/>
              <a:gd name="T5" fmla="*/ 237 h 248"/>
              <a:gd name="T6" fmla="*/ 241 w 253"/>
              <a:gd name="T7" fmla="*/ 139 h 248"/>
              <a:gd name="T8" fmla="*/ 241 w 253"/>
              <a:gd name="T9" fmla="*/ 6 h 248"/>
              <a:gd name="T10" fmla="*/ 247 w 253"/>
              <a:gd name="T11" fmla="*/ 0 h 248"/>
              <a:gd name="T12" fmla="*/ 253 w 253"/>
              <a:gd name="T13" fmla="*/ 6 h 248"/>
              <a:gd name="T14" fmla="*/ 253 w 253"/>
              <a:gd name="T15" fmla="*/ 145 h 248"/>
              <a:gd name="T16" fmla="*/ 252 w 253"/>
              <a:gd name="T17" fmla="*/ 149 h 248"/>
              <a:gd name="T18" fmla="*/ 247 w 253"/>
              <a:gd name="T19" fmla="*/ 151 h 248"/>
              <a:gd name="T20" fmla="*/ 11 w 253"/>
              <a:gd name="T21" fmla="*/ 246 h 248"/>
              <a:gd name="T22" fmla="*/ 7 w 253"/>
              <a:gd name="T23"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3" h="248">
                <a:moveTo>
                  <a:pt x="7" y="248"/>
                </a:moveTo>
                <a:cubicBezTo>
                  <a:pt x="5" y="248"/>
                  <a:pt x="4" y="247"/>
                  <a:pt x="2" y="246"/>
                </a:cubicBezTo>
                <a:cubicBezTo>
                  <a:pt x="0" y="243"/>
                  <a:pt x="0" y="239"/>
                  <a:pt x="3" y="237"/>
                </a:cubicBezTo>
                <a:cubicBezTo>
                  <a:pt x="67" y="175"/>
                  <a:pt x="152" y="141"/>
                  <a:pt x="241" y="139"/>
                </a:cubicBezTo>
                <a:cubicBezTo>
                  <a:pt x="241" y="6"/>
                  <a:pt x="241" y="6"/>
                  <a:pt x="241" y="6"/>
                </a:cubicBezTo>
                <a:cubicBezTo>
                  <a:pt x="241" y="2"/>
                  <a:pt x="244" y="0"/>
                  <a:pt x="247" y="0"/>
                </a:cubicBezTo>
                <a:cubicBezTo>
                  <a:pt x="251" y="0"/>
                  <a:pt x="253" y="2"/>
                  <a:pt x="253" y="6"/>
                </a:cubicBezTo>
                <a:cubicBezTo>
                  <a:pt x="253" y="145"/>
                  <a:pt x="253" y="145"/>
                  <a:pt x="253" y="145"/>
                </a:cubicBezTo>
                <a:cubicBezTo>
                  <a:pt x="253" y="147"/>
                  <a:pt x="253" y="148"/>
                  <a:pt x="252" y="149"/>
                </a:cubicBezTo>
                <a:cubicBezTo>
                  <a:pt x="250" y="150"/>
                  <a:pt x="249" y="151"/>
                  <a:pt x="247" y="151"/>
                </a:cubicBezTo>
                <a:cubicBezTo>
                  <a:pt x="159" y="151"/>
                  <a:pt x="75" y="185"/>
                  <a:pt x="11" y="246"/>
                </a:cubicBezTo>
                <a:cubicBezTo>
                  <a:pt x="10" y="247"/>
                  <a:pt x="8" y="248"/>
                  <a:pt x="7" y="2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ED6F2E82-81E7-439B-8896-98E567983452}"/>
              </a:ext>
            </a:extLst>
          </p:cNvPr>
          <p:cNvSpPr>
            <a:spLocks/>
          </p:cNvSpPr>
          <p:nvPr/>
        </p:nvSpPr>
        <p:spPr bwMode="auto">
          <a:xfrm>
            <a:off x="4489944" y="2573379"/>
            <a:ext cx="508140" cy="1388296"/>
          </a:xfrm>
          <a:custGeom>
            <a:avLst/>
            <a:gdLst>
              <a:gd name="T0" fmla="*/ 41 w 122"/>
              <a:gd name="T1" fmla="*/ 348 h 348"/>
              <a:gd name="T2" fmla="*/ 35 w 122"/>
              <a:gd name="T3" fmla="*/ 342 h 348"/>
              <a:gd name="T4" fmla="*/ 108 w 122"/>
              <a:gd name="T5" fmla="*/ 94 h 348"/>
              <a:gd name="T6" fmla="*/ 3 w 122"/>
              <a:gd name="T7" fmla="*/ 11 h 348"/>
              <a:gd name="T8" fmla="*/ 2 w 122"/>
              <a:gd name="T9" fmla="*/ 3 h 348"/>
              <a:gd name="T10" fmla="*/ 11 w 122"/>
              <a:gd name="T11" fmla="*/ 2 h 348"/>
              <a:gd name="T12" fmla="*/ 120 w 122"/>
              <a:gd name="T13" fmla="*/ 88 h 348"/>
              <a:gd name="T14" fmla="*/ 122 w 122"/>
              <a:gd name="T15" fmla="*/ 93 h 348"/>
              <a:gd name="T16" fmla="*/ 121 w 122"/>
              <a:gd name="T17" fmla="*/ 97 h 348"/>
              <a:gd name="T18" fmla="*/ 47 w 122"/>
              <a:gd name="T19" fmla="*/ 341 h 348"/>
              <a:gd name="T20" fmla="*/ 42 w 122"/>
              <a:gd name="T21" fmla="*/ 347 h 348"/>
              <a:gd name="T22" fmla="*/ 41 w 122"/>
              <a:gd name="T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348">
                <a:moveTo>
                  <a:pt x="41" y="348"/>
                </a:moveTo>
                <a:cubicBezTo>
                  <a:pt x="38" y="348"/>
                  <a:pt x="36" y="345"/>
                  <a:pt x="35" y="342"/>
                </a:cubicBezTo>
                <a:cubicBezTo>
                  <a:pt x="27" y="253"/>
                  <a:pt x="53" y="165"/>
                  <a:pt x="108" y="94"/>
                </a:cubicBezTo>
                <a:cubicBezTo>
                  <a:pt x="3" y="11"/>
                  <a:pt x="3" y="11"/>
                  <a:pt x="3" y="11"/>
                </a:cubicBezTo>
                <a:cubicBezTo>
                  <a:pt x="1" y="9"/>
                  <a:pt x="0" y="5"/>
                  <a:pt x="2" y="3"/>
                </a:cubicBezTo>
                <a:cubicBezTo>
                  <a:pt x="4" y="0"/>
                  <a:pt x="8" y="0"/>
                  <a:pt x="11" y="2"/>
                </a:cubicBezTo>
                <a:cubicBezTo>
                  <a:pt x="120" y="88"/>
                  <a:pt x="120" y="88"/>
                  <a:pt x="120" y="88"/>
                </a:cubicBezTo>
                <a:cubicBezTo>
                  <a:pt x="121" y="89"/>
                  <a:pt x="122" y="91"/>
                  <a:pt x="122" y="93"/>
                </a:cubicBezTo>
                <a:cubicBezTo>
                  <a:pt x="122" y="94"/>
                  <a:pt x="122" y="96"/>
                  <a:pt x="121" y="97"/>
                </a:cubicBezTo>
                <a:cubicBezTo>
                  <a:pt x="65" y="166"/>
                  <a:pt x="39" y="253"/>
                  <a:pt x="47" y="341"/>
                </a:cubicBezTo>
                <a:cubicBezTo>
                  <a:pt x="48" y="344"/>
                  <a:pt x="45" y="347"/>
                  <a:pt x="42" y="347"/>
                </a:cubicBezTo>
                <a:cubicBezTo>
                  <a:pt x="42" y="348"/>
                  <a:pt x="42" y="348"/>
                  <a:pt x="41" y="3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3">
            <a:extLst>
              <a:ext uri="{FF2B5EF4-FFF2-40B4-BE49-F238E27FC236}">
                <a16:creationId xmlns:a16="http://schemas.microsoft.com/office/drawing/2014/main" id="{F620BED7-11E7-4F97-9C91-1E7E9967426E}"/>
              </a:ext>
            </a:extLst>
          </p:cNvPr>
          <p:cNvSpPr>
            <a:spLocks/>
          </p:cNvSpPr>
          <p:nvPr/>
        </p:nvSpPr>
        <p:spPr bwMode="auto">
          <a:xfrm>
            <a:off x="4103181" y="4113517"/>
            <a:ext cx="224240" cy="191284"/>
          </a:xfrm>
          <a:custGeom>
            <a:avLst/>
            <a:gdLst>
              <a:gd name="T0" fmla="*/ 47 w 54"/>
              <a:gd name="T1" fmla="*/ 48 h 48"/>
              <a:gd name="T2" fmla="*/ 46 w 54"/>
              <a:gd name="T3" fmla="*/ 48 h 48"/>
              <a:gd name="T4" fmla="*/ 5 w 54"/>
              <a:gd name="T5" fmla="*/ 39 h 48"/>
              <a:gd name="T6" fmla="*/ 0 w 54"/>
              <a:gd name="T7" fmla="*/ 34 h 48"/>
              <a:gd name="T8" fmla="*/ 2 w 54"/>
              <a:gd name="T9" fmla="*/ 28 h 48"/>
              <a:gd name="T10" fmla="*/ 36 w 54"/>
              <a:gd name="T11" fmla="*/ 2 h 48"/>
              <a:gd name="T12" fmla="*/ 44 w 54"/>
              <a:gd name="T13" fmla="*/ 3 h 48"/>
              <a:gd name="T14" fmla="*/ 43 w 54"/>
              <a:gd name="T15" fmla="*/ 11 h 48"/>
              <a:gd name="T16" fmla="*/ 20 w 54"/>
              <a:gd name="T17" fmla="*/ 30 h 48"/>
              <a:gd name="T18" fmla="*/ 49 w 54"/>
              <a:gd name="T19" fmla="*/ 36 h 48"/>
              <a:gd name="T20" fmla="*/ 53 w 54"/>
              <a:gd name="T21" fmla="*/ 43 h 48"/>
              <a:gd name="T22" fmla="*/ 47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47" y="48"/>
                </a:moveTo>
                <a:cubicBezTo>
                  <a:pt x="47" y="48"/>
                  <a:pt x="47" y="48"/>
                  <a:pt x="46" y="48"/>
                </a:cubicBezTo>
                <a:cubicBezTo>
                  <a:pt x="5" y="39"/>
                  <a:pt x="5" y="39"/>
                  <a:pt x="5" y="39"/>
                </a:cubicBezTo>
                <a:cubicBezTo>
                  <a:pt x="2" y="38"/>
                  <a:pt x="1" y="36"/>
                  <a:pt x="0" y="34"/>
                </a:cubicBezTo>
                <a:cubicBezTo>
                  <a:pt x="0" y="32"/>
                  <a:pt x="0" y="30"/>
                  <a:pt x="2" y="28"/>
                </a:cubicBezTo>
                <a:cubicBezTo>
                  <a:pt x="36" y="2"/>
                  <a:pt x="36" y="2"/>
                  <a:pt x="36" y="2"/>
                </a:cubicBezTo>
                <a:cubicBezTo>
                  <a:pt x="38" y="0"/>
                  <a:pt x="42" y="0"/>
                  <a:pt x="44" y="3"/>
                </a:cubicBezTo>
                <a:cubicBezTo>
                  <a:pt x="46" y="6"/>
                  <a:pt x="46" y="9"/>
                  <a:pt x="43" y="11"/>
                </a:cubicBezTo>
                <a:cubicBezTo>
                  <a:pt x="20" y="30"/>
                  <a:pt x="20" y="30"/>
                  <a:pt x="20" y="30"/>
                </a:cubicBezTo>
                <a:cubicBezTo>
                  <a:pt x="49" y="36"/>
                  <a:pt x="49" y="36"/>
                  <a:pt x="49" y="36"/>
                </a:cubicBezTo>
                <a:cubicBezTo>
                  <a:pt x="52" y="37"/>
                  <a:pt x="54" y="40"/>
                  <a:pt x="53" y="43"/>
                </a:cubicBezTo>
                <a:cubicBezTo>
                  <a:pt x="53" y="46"/>
                  <a:pt x="50" y="48"/>
                  <a:pt x="47"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4">
            <a:extLst>
              <a:ext uri="{FF2B5EF4-FFF2-40B4-BE49-F238E27FC236}">
                <a16:creationId xmlns:a16="http://schemas.microsoft.com/office/drawing/2014/main" id="{C4EBBB32-8242-44D4-A67E-F58D5BD461A1}"/>
              </a:ext>
            </a:extLst>
          </p:cNvPr>
          <p:cNvSpPr>
            <a:spLocks/>
          </p:cNvSpPr>
          <p:nvPr/>
        </p:nvSpPr>
        <p:spPr bwMode="auto">
          <a:xfrm>
            <a:off x="5201749" y="5369689"/>
            <a:ext cx="189266" cy="218892"/>
          </a:xfrm>
          <a:custGeom>
            <a:avLst/>
            <a:gdLst>
              <a:gd name="T0" fmla="*/ 6 w 46"/>
              <a:gd name="T1" fmla="*/ 55 h 55"/>
              <a:gd name="T2" fmla="*/ 3 w 46"/>
              <a:gd name="T3" fmla="*/ 54 h 55"/>
              <a:gd name="T4" fmla="*/ 0 w 46"/>
              <a:gd name="T5" fmla="*/ 49 h 55"/>
              <a:gd name="T6" fmla="*/ 0 w 46"/>
              <a:gd name="T7" fmla="*/ 6 h 55"/>
              <a:gd name="T8" fmla="*/ 6 w 46"/>
              <a:gd name="T9" fmla="*/ 0 h 55"/>
              <a:gd name="T10" fmla="*/ 6 w 46"/>
              <a:gd name="T11" fmla="*/ 0 h 55"/>
              <a:gd name="T12" fmla="*/ 12 w 46"/>
              <a:gd name="T13" fmla="*/ 6 h 55"/>
              <a:gd name="T14" fmla="*/ 12 w 46"/>
              <a:gd name="T15" fmla="*/ 36 h 55"/>
              <a:gd name="T16" fmla="*/ 35 w 46"/>
              <a:gd name="T17" fmla="*/ 17 h 55"/>
              <a:gd name="T18" fmla="*/ 43 w 46"/>
              <a:gd name="T19" fmla="*/ 18 h 55"/>
              <a:gd name="T20" fmla="*/ 43 w 46"/>
              <a:gd name="T21" fmla="*/ 27 h 55"/>
              <a:gd name="T22" fmla="*/ 10 w 46"/>
              <a:gd name="T23" fmla="*/ 53 h 55"/>
              <a:gd name="T24" fmla="*/ 6 w 46"/>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5">
                <a:moveTo>
                  <a:pt x="6" y="55"/>
                </a:moveTo>
                <a:cubicBezTo>
                  <a:pt x="5" y="55"/>
                  <a:pt x="4" y="54"/>
                  <a:pt x="3" y="54"/>
                </a:cubicBezTo>
                <a:cubicBezTo>
                  <a:pt x="1" y="53"/>
                  <a:pt x="0" y="51"/>
                  <a:pt x="0" y="49"/>
                </a:cubicBezTo>
                <a:cubicBezTo>
                  <a:pt x="0" y="6"/>
                  <a:pt x="0" y="6"/>
                  <a:pt x="0" y="6"/>
                </a:cubicBezTo>
                <a:cubicBezTo>
                  <a:pt x="0" y="3"/>
                  <a:pt x="3" y="0"/>
                  <a:pt x="6" y="0"/>
                </a:cubicBezTo>
                <a:cubicBezTo>
                  <a:pt x="6" y="0"/>
                  <a:pt x="6" y="0"/>
                  <a:pt x="6" y="0"/>
                </a:cubicBezTo>
                <a:cubicBezTo>
                  <a:pt x="9" y="0"/>
                  <a:pt x="12" y="3"/>
                  <a:pt x="12" y="6"/>
                </a:cubicBezTo>
                <a:cubicBezTo>
                  <a:pt x="12" y="36"/>
                  <a:pt x="12" y="36"/>
                  <a:pt x="12" y="36"/>
                </a:cubicBezTo>
                <a:cubicBezTo>
                  <a:pt x="35" y="17"/>
                  <a:pt x="35" y="17"/>
                  <a:pt x="35" y="17"/>
                </a:cubicBezTo>
                <a:cubicBezTo>
                  <a:pt x="38" y="15"/>
                  <a:pt x="41" y="16"/>
                  <a:pt x="43" y="18"/>
                </a:cubicBezTo>
                <a:cubicBezTo>
                  <a:pt x="46" y="21"/>
                  <a:pt x="45" y="25"/>
                  <a:pt x="43" y="27"/>
                </a:cubicBezTo>
                <a:cubicBezTo>
                  <a:pt x="10" y="53"/>
                  <a:pt x="10" y="53"/>
                  <a:pt x="10" y="53"/>
                </a:cubicBezTo>
                <a:cubicBezTo>
                  <a:pt x="9" y="54"/>
                  <a:pt x="7" y="55"/>
                  <a:pt x="6" y="5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6">
            <a:extLst>
              <a:ext uri="{FF2B5EF4-FFF2-40B4-BE49-F238E27FC236}">
                <a16:creationId xmlns:a16="http://schemas.microsoft.com/office/drawing/2014/main" id="{3E8FA073-2366-416C-8545-D7EFFF072615}"/>
              </a:ext>
            </a:extLst>
          </p:cNvPr>
          <p:cNvSpPr>
            <a:spLocks/>
          </p:cNvSpPr>
          <p:nvPr/>
        </p:nvSpPr>
        <p:spPr bwMode="auto">
          <a:xfrm>
            <a:off x="7882337" y="4113517"/>
            <a:ext cx="224240" cy="191284"/>
          </a:xfrm>
          <a:custGeom>
            <a:avLst/>
            <a:gdLst>
              <a:gd name="T0" fmla="*/ 6 w 54"/>
              <a:gd name="T1" fmla="*/ 48 h 48"/>
              <a:gd name="T2" fmla="*/ 1 w 54"/>
              <a:gd name="T3" fmla="*/ 43 h 48"/>
              <a:gd name="T4" fmla="*/ 5 w 54"/>
              <a:gd name="T5" fmla="*/ 36 h 48"/>
              <a:gd name="T6" fmla="*/ 34 w 54"/>
              <a:gd name="T7" fmla="*/ 30 h 48"/>
              <a:gd name="T8" fmla="*/ 11 w 54"/>
              <a:gd name="T9" fmla="*/ 11 h 48"/>
              <a:gd name="T10" fmla="*/ 10 w 54"/>
              <a:gd name="T11" fmla="*/ 3 h 48"/>
              <a:gd name="T12" fmla="*/ 18 w 54"/>
              <a:gd name="T13" fmla="*/ 2 h 48"/>
              <a:gd name="T14" fmla="*/ 52 w 54"/>
              <a:gd name="T15" fmla="*/ 28 h 48"/>
              <a:gd name="T16" fmla="*/ 54 w 54"/>
              <a:gd name="T17" fmla="*/ 34 h 48"/>
              <a:gd name="T18" fmla="*/ 49 w 54"/>
              <a:gd name="T19" fmla="*/ 39 h 48"/>
              <a:gd name="T20" fmla="*/ 8 w 54"/>
              <a:gd name="T21" fmla="*/ 48 h 48"/>
              <a:gd name="T22" fmla="*/ 6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6" y="48"/>
                </a:moveTo>
                <a:cubicBezTo>
                  <a:pt x="4" y="48"/>
                  <a:pt x="1" y="46"/>
                  <a:pt x="1" y="43"/>
                </a:cubicBezTo>
                <a:cubicBezTo>
                  <a:pt x="0" y="40"/>
                  <a:pt x="2" y="37"/>
                  <a:pt x="5" y="36"/>
                </a:cubicBezTo>
                <a:cubicBezTo>
                  <a:pt x="34" y="30"/>
                  <a:pt x="34" y="30"/>
                  <a:pt x="34" y="30"/>
                </a:cubicBezTo>
                <a:cubicBezTo>
                  <a:pt x="11" y="11"/>
                  <a:pt x="11" y="11"/>
                  <a:pt x="11" y="11"/>
                </a:cubicBezTo>
                <a:cubicBezTo>
                  <a:pt x="8" y="9"/>
                  <a:pt x="8" y="5"/>
                  <a:pt x="10" y="3"/>
                </a:cubicBezTo>
                <a:cubicBezTo>
                  <a:pt x="12" y="0"/>
                  <a:pt x="16" y="0"/>
                  <a:pt x="18" y="2"/>
                </a:cubicBezTo>
                <a:cubicBezTo>
                  <a:pt x="52" y="28"/>
                  <a:pt x="52" y="28"/>
                  <a:pt x="52" y="28"/>
                </a:cubicBezTo>
                <a:cubicBezTo>
                  <a:pt x="53" y="29"/>
                  <a:pt x="54" y="32"/>
                  <a:pt x="54" y="34"/>
                </a:cubicBezTo>
                <a:cubicBezTo>
                  <a:pt x="53" y="36"/>
                  <a:pt x="51" y="38"/>
                  <a:pt x="49" y="39"/>
                </a:cubicBezTo>
                <a:cubicBezTo>
                  <a:pt x="8" y="48"/>
                  <a:pt x="8" y="48"/>
                  <a:pt x="8" y="48"/>
                </a:cubicBezTo>
                <a:cubicBezTo>
                  <a:pt x="7" y="48"/>
                  <a:pt x="7" y="48"/>
                  <a:pt x="6"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7">
            <a:extLst>
              <a:ext uri="{FF2B5EF4-FFF2-40B4-BE49-F238E27FC236}">
                <a16:creationId xmlns:a16="http://schemas.microsoft.com/office/drawing/2014/main" id="{1C9F35F8-EC60-4181-ACFF-73B640E7E346}"/>
              </a:ext>
            </a:extLst>
          </p:cNvPr>
          <p:cNvSpPr>
            <a:spLocks/>
          </p:cNvSpPr>
          <p:nvPr/>
        </p:nvSpPr>
        <p:spPr bwMode="auto">
          <a:xfrm>
            <a:off x="7491460" y="2573379"/>
            <a:ext cx="224240" cy="199173"/>
          </a:xfrm>
          <a:custGeom>
            <a:avLst/>
            <a:gdLst>
              <a:gd name="T0" fmla="*/ 29 w 54"/>
              <a:gd name="T1" fmla="*/ 50 h 50"/>
              <a:gd name="T2" fmla="*/ 26 w 54"/>
              <a:gd name="T3" fmla="*/ 50 h 50"/>
              <a:gd name="T4" fmla="*/ 24 w 54"/>
              <a:gd name="T5" fmla="*/ 42 h 50"/>
              <a:gd name="T6" fmla="*/ 37 w 54"/>
              <a:gd name="T7" fmla="*/ 15 h 50"/>
              <a:gd name="T8" fmla="*/ 8 w 54"/>
              <a:gd name="T9" fmla="*/ 22 h 50"/>
              <a:gd name="T10" fmla="*/ 0 w 54"/>
              <a:gd name="T11" fmla="*/ 17 h 50"/>
              <a:gd name="T12" fmla="*/ 5 w 54"/>
              <a:gd name="T13" fmla="*/ 10 h 50"/>
              <a:gd name="T14" fmla="*/ 46 w 54"/>
              <a:gd name="T15" fmla="*/ 0 h 50"/>
              <a:gd name="T16" fmla="*/ 52 w 54"/>
              <a:gd name="T17" fmla="*/ 2 h 50"/>
              <a:gd name="T18" fmla="*/ 53 w 54"/>
              <a:gd name="T19" fmla="*/ 9 h 50"/>
              <a:gd name="T20" fmla="*/ 34 w 54"/>
              <a:gd name="T21" fmla="*/ 47 h 50"/>
              <a:gd name="T22" fmla="*/ 29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9" y="50"/>
                </a:moveTo>
                <a:cubicBezTo>
                  <a:pt x="28" y="50"/>
                  <a:pt x="27" y="50"/>
                  <a:pt x="26" y="50"/>
                </a:cubicBezTo>
                <a:cubicBezTo>
                  <a:pt x="23" y="48"/>
                  <a:pt x="22" y="45"/>
                  <a:pt x="24" y="42"/>
                </a:cubicBezTo>
                <a:cubicBezTo>
                  <a:pt x="37" y="15"/>
                  <a:pt x="37" y="15"/>
                  <a:pt x="37" y="15"/>
                </a:cubicBezTo>
                <a:cubicBezTo>
                  <a:pt x="8" y="22"/>
                  <a:pt x="8" y="22"/>
                  <a:pt x="8" y="22"/>
                </a:cubicBezTo>
                <a:cubicBezTo>
                  <a:pt x="4" y="23"/>
                  <a:pt x="1" y="21"/>
                  <a:pt x="0" y="17"/>
                </a:cubicBezTo>
                <a:cubicBezTo>
                  <a:pt x="0" y="14"/>
                  <a:pt x="2" y="11"/>
                  <a:pt x="5" y="10"/>
                </a:cubicBezTo>
                <a:cubicBezTo>
                  <a:pt x="46" y="0"/>
                  <a:pt x="46" y="0"/>
                  <a:pt x="46" y="0"/>
                </a:cubicBezTo>
                <a:cubicBezTo>
                  <a:pt x="48" y="0"/>
                  <a:pt x="51" y="1"/>
                  <a:pt x="52" y="2"/>
                </a:cubicBezTo>
                <a:cubicBezTo>
                  <a:pt x="54" y="4"/>
                  <a:pt x="54" y="7"/>
                  <a:pt x="53" y="9"/>
                </a:cubicBezTo>
                <a:cubicBezTo>
                  <a:pt x="34" y="47"/>
                  <a:pt x="34" y="47"/>
                  <a:pt x="34" y="47"/>
                </a:cubicBezTo>
                <a:cubicBezTo>
                  <a:pt x="33" y="49"/>
                  <a:pt x="31" y="50"/>
                  <a:pt x="29" y="5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8">
            <a:extLst>
              <a:ext uri="{FF2B5EF4-FFF2-40B4-BE49-F238E27FC236}">
                <a16:creationId xmlns:a16="http://schemas.microsoft.com/office/drawing/2014/main" id="{EACB7337-AFC0-49EC-9C9C-CFE700673CB3}"/>
              </a:ext>
            </a:extLst>
          </p:cNvPr>
          <p:cNvSpPr>
            <a:spLocks/>
          </p:cNvSpPr>
          <p:nvPr/>
        </p:nvSpPr>
        <p:spPr bwMode="auto">
          <a:xfrm>
            <a:off x="5997904" y="1843734"/>
            <a:ext cx="209838" cy="203117"/>
          </a:xfrm>
          <a:custGeom>
            <a:avLst/>
            <a:gdLst>
              <a:gd name="T0" fmla="*/ 7 w 50"/>
              <a:gd name="T1" fmla="*/ 50 h 51"/>
              <a:gd name="T2" fmla="*/ 5 w 50"/>
              <a:gd name="T3" fmla="*/ 49 h 51"/>
              <a:gd name="T4" fmla="*/ 2 w 50"/>
              <a:gd name="T5" fmla="*/ 41 h 51"/>
              <a:gd name="T6" fmla="*/ 20 w 50"/>
              <a:gd name="T7" fmla="*/ 3 h 51"/>
              <a:gd name="T8" fmla="*/ 25 w 50"/>
              <a:gd name="T9" fmla="*/ 0 h 51"/>
              <a:gd name="T10" fmla="*/ 31 w 50"/>
              <a:gd name="T11" fmla="*/ 3 h 51"/>
              <a:gd name="T12" fmla="*/ 49 w 50"/>
              <a:gd name="T13" fmla="*/ 41 h 51"/>
              <a:gd name="T14" fmla="*/ 46 w 50"/>
              <a:gd name="T15" fmla="*/ 49 h 51"/>
              <a:gd name="T16" fmla="*/ 38 w 50"/>
              <a:gd name="T17" fmla="*/ 47 h 51"/>
              <a:gd name="T18" fmla="*/ 25 w 50"/>
              <a:gd name="T19" fmla="*/ 20 h 51"/>
              <a:gd name="T20" fmla="*/ 13 w 50"/>
              <a:gd name="T21" fmla="*/ 47 h 51"/>
              <a:gd name="T22" fmla="*/ 7 w 50"/>
              <a:gd name="T23"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1">
                <a:moveTo>
                  <a:pt x="7" y="50"/>
                </a:moveTo>
                <a:cubicBezTo>
                  <a:pt x="6" y="50"/>
                  <a:pt x="5" y="50"/>
                  <a:pt x="5" y="49"/>
                </a:cubicBezTo>
                <a:cubicBezTo>
                  <a:pt x="2" y="48"/>
                  <a:pt x="0" y="44"/>
                  <a:pt x="2" y="41"/>
                </a:cubicBezTo>
                <a:cubicBezTo>
                  <a:pt x="20" y="3"/>
                  <a:pt x="20" y="3"/>
                  <a:pt x="20" y="3"/>
                </a:cubicBezTo>
                <a:cubicBezTo>
                  <a:pt x="21" y="1"/>
                  <a:pt x="23" y="0"/>
                  <a:pt x="25" y="0"/>
                </a:cubicBezTo>
                <a:cubicBezTo>
                  <a:pt x="28" y="0"/>
                  <a:pt x="30" y="1"/>
                  <a:pt x="31" y="3"/>
                </a:cubicBezTo>
                <a:cubicBezTo>
                  <a:pt x="49" y="41"/>
                  <a:pt x="49" y="41"/>
                  <a:pt x="49" y="41"/>
                </a:cubicBezTo>
                <a:cubicBezTo>
                  <a:pt x="50" y="44"/>
                  <a:pt x="49" y="48"/>
                  <a:pt x="46" y="49"/>
                </a:cubicBezTo>
                <a:cubicBezTo>
                  <a:pt x="43" y="51"/>
                  <a:pt x="39" y="50"/>
                  <a:pt x="38" y="47"/>
                </a:cubicBezTo>
                <a:cubicBezTo>
                  <a:pt x="25" y="20"/>
                  <a:pt x="25" y="20"/>
                  <a:pt x="25" y="20"/>
                </a:cubicBezTo>
                <a:cubicBezTo>
                  <a:pt x="13" y="47"/>
                  <a:pt x="13" y="47"/>
                  <a:pt x="13" y="47"/>
                </a:cubicBezTo>
                <a:cubicBezTo>
                  <a:pt x="12" y="49"/>
                  <a:pt x="9" y="50"/>
                  <a:pt x="7" y="5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9">
            <a:extLst>
              <a:ext uri="{FF2B5EF4-FFF2-40B4-BE49-F238E27FC236}">
                <a16:creationId xmlns:a16="http://schemas.microsoft.com/office/drawing/2014/main" id="{2843DAF0-E23D-4D39-8F50-400EBD9DF433}"/>
              </a:ext>
            </a:extLst>
          </p:cNvPr>
          <p:cNvSpPr>
            <a:spLocks/>
          </p:cNvSpPr>
          <p:nvPr/>
        </p:nvSpPr>
        <p:spPr bwMode="auto">
          <a:xfrm>
            <a:off x="4494058" y="2573379"/>
            <a:ext cx="224240" cy="199173"/>
          </a:xfrm>
          <a:custGeom>
            <a:avLst/>
            <a:gdLst>
              <a:gd name="T0" fmla="*/ 25 w 54"/>
              <a:gd name="T1" fmla="*/ 50 h 50"/>
              <a:gd name="T2" fmla="*/ 19 w 54"/>
              <a:gd name="T3" fmla="*/ 47 h 50"/>
              <a:gd name="T4" fmla="*/ 1 w 54"/>
              <a:gd name="T5" fmla="*/ 9 h 50"/>
              <a:gd name="T6" fmla="*/ 1 w 54"/>
              <a:gd name="T7" fmla="*/ 3 h 50"/>
              <a:gd name="T8" fmla="*/ 7 w 54"/>
              <a:gd name="T9" fmla="*/ 1 h 50"/>
              <a:gd name="T10" fmla="*/ 49 w 54"/>
              <a:gd name="T11" fmla="*/ 10 h 50"/>
              <a:gd name="T12" fmla="*/ 53 w 54"/>
              <a:gd name="T13" fmla="*/ 17 h 50"/>
              <a:gd name="T14" fmla="*/ 46 w 54"/>
              <a:gd name="T15" fmla="*/ 22 h 50"/>
              <a:gd name="T16" fmla="*/ 17 w 54"/>
              <a:gd name="T17" fmla="*/ 15 h 50"/>
              <a:gd name="T18" fmla="*/ 30 w 54"/>
              <a:gd name="T19" fmla="*/ 42 h 50"/>
              <a:gd name="T20" fmla="*/ 27 w 54"/>
              <a:gd name="T21" fmla="*/ 50 h 50"/>
              <a:gd name="T22" fmla="*/ 25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5" y="50"/>
                </a:moveTo>
                <a:cubicBezTo>
                  <a:pt x="23" y="50"/>
                  <a:pt x="20" y="49"/>
                  <a:pt x="19" y="47"/>
                </a:cubicBezTo>
                <a:cubicBezTo>
                  <a:pt x="1" y="9"/>
                  <a:pt x="1" y="9"/>
                  <a:pt x="1" y="9"/>
                </a:cubicBezTo>
                <a:cubicBezTo>
                  <a:pt x="0" y="7"/>
                  <a:pt x="0" y="4"/>
                  <a:pt x="1" y="3"/>
                </a:cubicBezTo>
                <a:cubicBezTo>
                  <a:pt x="3" y="1"/>
                  <a:pt x="5" y="0"/>
                  <a:pt x="7" y="1"/>
                </a:cubicBezTo>
                <a:cubicBezTo>
                  <a:pt x="49" y="10"/>
                  <a:pt x="49" y="10"/>
                  <a:pt x="49" y="10"/>
                </a:cubicBezTo>
                <a:cubicBezTo>
                  <a:pt x="52" y="11"/>
                  <a:pt x="54" y="14"/>
                  <a:pt x="53" y="17"/>
                </a:cubicBezTo>
                <a:cubicBezTo>
                  <a:pt x="52" y="21"/>
                  <a:pt x="49" y="23"/>
                  <a:pt x="46" y="22"/>
                </a:cubicBezTo>
                <a:cubicBezTo>
                  <a:pt x="17" y="15"/>
                  <a:pt x="17" y="15"/>
                  <a:pt x="17" y="15"/>
                </a:cubicBezTo>
                <a:cubicBezTo>
                  <a:pt x="30" y="42"/>
                  <a:pt x="30" y="42"/>
                  <a:pt x="30" y="42"/>
                </a:cubicBezTo>
                <a:cubicBezTo>
                  <a:pt x="32" y="45"/>
                  <a:pt x="30" y="48"/>
                  <a:pt x="27" y="50"/>
                </a:cubicBezTo>
                <a:cubicBezTo>
                  <a:pt x="27" y="50"/>
                  <a:pt x="26" y="50"/>
                  <a:pt x="25"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2">
            <a:extLst>
              <a:ext uri="{FF2B5EF4-FFF2-40B4-BE49-F238E27FC236}">
                <a16:creationId xmlns:a16="http://schemas.microsoft.com/office/drawing/2014/main" id="{2AC6E5C1-99F3-4BEF-B735-1E11077D965F}"/>
              </a:ext>
            </a:extLst>
          </p:cNvPr>
          <p:cNvSpPr>
            <a:spLocks/>
          </p:cNvSpPr>
          <p:nvPr/>
        </p:nvSpPr>
        <p:spPr bwMode="auto">
          <a:xfrm>
            <a:off x="4818690" y="2573589"/>
            <a:ext cx="2596814" cy="2491527"/>
          </a:xfrm>
          <a:custGeom>
            <a:avLst/>
            <a:gdLst>
              <a:gd name="T0" fmla="*/ 909 w 3233"/>
              <a:gd name="T1" fmla="*/ 391 h 3233"/>
              <a:gd name="T2" fmla="*/ 2843 w 3233"/>
              <a:gd name="T3" fmla="*/ 909 h 3233"/>
              <a:gd name="T4" fmla="*/ 2325 w 3233"/>
              <a:gd name="T5" fmla="*/ 2842 h 3233"/>
              <a:gd name="T6" fmla="*/ 391 w 3233"/>
              <a:gd name="T7" fmla="*/ 2324 h 3233"/>
              <a:gd name="T8" fmla="*/ 909 w 3233"/>
              <a:gd name="T9" fmla="*/ 391 h 3233"/>
            </a:gdLst>
            <a:ahLst/>
            <a:cxnLst>
              <a:cxn ang="0">
                <a:pos x="T0" y="T1"/>
              </a:cxn>
              <a:cxn ang="0">
                <a:pos x="T2" y="T3"/>
              </a:cxn>
              <a:cxn ang="0">
                <a:pos x="T4" y="T5"/>
              </a:cxn>
              <a:cxn ang="0">
                <a:pos x="T6" y="T7"/>
              </a:cxn>
              <a:cxn ang="0">
                <a:pos x="T8" y="T9"/>
              </a:cxn>
            </a:cxnLst>
            <a:rect l="0" t="0" r="r" b="b"/>
            <a:pathLst>
              <a:path w="3233" h="3233">
                <a:moveTo>
                  <a:pt x="909" y="391"/>
                </a:moveTo>
                <a:cubicBezTo>
                  <a:pt x="1586" y="0"/>
                  <a:pt x="2452" y="232"/>
                  <a:pt x="2843" y="909"/>
                </a:cubicBezTo>
                <a:cubicBezTo>
                  <a:pt x="3233" y="1586"/>
                  <a:pt x="3001" y="2452"/>
                  <a:pt x="2325" y="2842"/>
                </a:cubicBezTo>
                <a:cubicBezTo>
                  <a:pt x="1648" y="3233"/>
                  <a:pt x="782" y="3001"/>
                  <a:pt x="391" y="2324"/>
                </a:cubicBezTo>
                <a:cubicBezTo>
                  <a:pt x="0" y="1648"/>
                  <a:pt x="232" y="782"/>
                  <a:pt x="909" y="391"/>
                </a:cubicBezTo>
                <a:close/>
              </a:path>
            </a:pathLst>
          </a:custGeom>
          <a:solidFill>
            <a:schemeClr val="bg1"/>
          </a:solidFill>
          <a:ln>
            <a:noFill/>
          </a:ln>
          <a:effectLst/>
        </p:spPr>
        <p:txBody>
          <a:bodyPr vert="horz" wrap="square" lIns="91440" tIns="45720" rIns="91440" bIns="45720" numCol="1" anchor="ctr" anchorCtr="0" compatLnSpc="1">
            <a:prstTxWarp prst="textNoShape">
              <a:avLst/>
            </a:prstTxWarp>
          </a:bodyPr>
          <a:lstStyle/>
          <a:p>
            <a:pPr algn="ctr"/>
            <a:endParaRPr lang="en-US" b="1">
              <a:solidFill>
                <a:schemeClr val="accent1"/>
              </a:solidFill>
            </a:endParaRPr>
          </a:p>
        </p:txBody>
      </p:sp>
      <p:sp>
        <p:nvSpPr>
          <p:cNvPr id="20" name="Oval 19">
            <a:extLst>
              <a:ext uri="{FF2B5EF4-FFF2-40B4-BE49-F238E27FC236}">
                <a16:creationId xmlns:a16="http://schemas.microsoft.com/office/drawing/2014/main" id="{5A8DEF3E-82ED-42AD-AA2E-E10800473AC9}"/>
              </a:ext>
            </a:extLst>
          </p:cNvPr>
          <p:cNvSpPr/>
          <p:nvPr/>
        </p:nvSpPr>
        <p:spPr bwMode="auto">
          <a:xfrm>
            <a:off x="5672122" y="1412776"/>
            <a:ext cx="788999" cy="756311"/>
          </a:xfrm>
          <a:prstGeom prst="ellipse">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1" name="Oval 20">
            <a:extLst>
              <a:ext uri="{FF2B5EF4-FFF2-40B4-BE49-F238E27FC236}">
                <a16:creationId xmlns:a16="http://schemas.microsoft.com/office/drawing/2014/main" id="{5253FC82-4CA4-459C-86CE-2F7537D4A268}"/>
              </a:ext>
            </a:extLst>
          </p:cNvPr>
          <p:cNvSpPr/>
          <p:nvPr/>
        </p:nvSpPr>
        <p:spPr bwMode="auto">
          <a:xfrm>
            <a:off x="7409600" y="2177134"/>
            <a:ext cx="788999" cy="756311"/>
          </a:xfrm>
          <a:prstGeom prst="ellipse">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2" name="Oval 21">
            <a:extLst>
              <a:ext uri="{FF2B5EF4-FFF2-40B4-BE49-F238E27FC236}">
                <a16:creationId xmlns:a16="http://schemas.microsoft.com/office/drawing/2014/main" id="{99A598B5-0976-4D62-8060-CF88E1BEF2B6}"/>
              </a:ext>
            </a:extLst>
          </p:cNvPr>
          <p:cNvSpPr/>
          <p:nvPr/>
        </p:nvSpPr>
        <p:spPr bwMode="auto">
          <a:xfrm>
            <a:off x="7795707" y="3882857"/>
            <a:ext cx="788999" cy="756311"/>
          </a:xfrm>
          <a:prstGeom prst="ellipse">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3" name="Oval 22">
            <a:extLst>
              <a:ext uri="{FF2B5EF4-FFF2-40B4-BE49-F238E27FC236}">
                <a16:creationId xmlns:a16="http://schemas.microsoft.com/office/drawing/2014/main" id="{4695BA21-3050-4AFE-99FE-06DF94FEEB13}"/>
              </a:ext>
            </a:extLst>
          </p:cNvPr>
          <p:cNvSpPr/>
          <p:nvPr/>
        </p:nvSpPr>
        <p:spPr bwMode="auto">
          <a:xfrm>
            <a:off x="6628995" y="5290884"/>
            <a:ext cx="788999" cy="756311"/>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4" name="Oval 23">
            <a:extLst>
              <a:ext uri="{FF2B5EF4-FFF2-40B4-BE49-F238E27FC236}">
                <a16:creationId xmlns:a16="http://schemas.microsoft.com/office/drawing/2014/main" id="{052B7BE4-5942-44BE-9885-F500F8465C0D}"/>
              </a:ext>
            </a:extLst>
          </p:cNvPr>
          <p:cNvSpPr/>
          <p:nvPr/>
        </p:nvSpPr>
        <p:spPr bwMode="auto">
          <a:xfrm>
            <a:off x="4790793" y="5274792"/>
            <a:ext cx="788999" cy="756311"/>
          </a:xfrm>
          <a:prstGeom prst="ellipse">
            <a:avLst/>
          </a:prstGeom>
          <a:solidFill>
            <a:schemeClr val="accent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5" name="Oval 24">
            <a:extLst>
              <a:ext uri="{FF2B5EF4-FFF2-40B4-BE49-F238E27FC236}">
                <a16:creationId xmlns:a16="http://schemas.microsoft.com/office/drawing/2014/main" id="{8387B3FF-5DBA-499B-8735-2D6546C2DC8C}"/>
              </a:ext>
            </a:extLst>
          </p:cNvPr>
          <p:cNvSpPr/>
          <p:nvPr/>
        </p:nvSpPr>
        <p:spPr bwMode="auto">
          <a:xfrm>
            <a:off x="3607293" y="3898949"/>
            <a:ext cx="788999" cy="756311"/>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6" name="Oval 25">
            <a:extLst>
              <a:ext uri="{FF2B5EF4-FFF2-40B4-BE49-F238E27FC236}">
                <a16:creationId xmlns:a16="http://schemas.microsoft.com/office/drawing/2014/main" id="{F726D5F4-2EE9-40BE-92D9-9DF17A4860E0}"/>
              </a:ext>
            </a:extLst>
          </p:cNvPr>
          <p:cNvSpPr/>
          <p:nvPr/>
        </p:nvSpPr>
        <p:spPr bwMode="auto">
          <a:xfrm>
            <a:off x="4001792" y="2161042"/>
            <a:ext cx="788999" cy="756311"/>
          </a:xfrm>
          <a:prstGeom prst="ellipse">
            <a:avLst/>
          </a:prstGeom>
          <a:solidFill>
            <a:schemeClr val="tx2">
              <a:lumMod val="90000"/>
              <a:lumOff val="1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grpSp>
        <p:nvGrpSpPr>
          <p:cNvPr id="27" name="Groupe 299">
            <a:extLst>
              <a:ext uri="{FF2B5EF4-FFF2-40B4-BE49-F238E27FC236}">
                <a16:creationId xmlns:a16="http://schemas.microsoft.com/office/drawing/2014/main" id="{44176BEE-76B5-48AB-A306-BE792327C0CC}"/>
              </a:ext>
            </a:extLst>
          </p:cNvPr>
          <p:cNvGrpSpPr/>
          <p:nvPr/>
        </p:nvGrpSpPr>
        <p:grpSpPr>
          <a:xfrm>
            <a:off x="4158739" y="2394984"/>
            <a:ext cx="490466" cy="282474"/>
            <a:chOff x="4572000" y="4300538"/>
            <a:chExt cx="385763" cy="231775"/>
          </a:xfrm>
        </p:grpSpPr>
        <p:sp>
          <p:nvSpPr>
            <p:cNvPr id="28" name="Freeform 828">
              <a:extLst>
                <a:ext uri="{FF2B5EF4-FFF2-40B4-BE49-F238E27FC236}">
                  <a16:creationId xmlns:a16="http://schemas.microsoft.com/office/drawing/2014/main" id="{94994BA7-FAE7-4FE8-B509-12581A797ED1}"/>
                </a:ext>
              </a:extLst>
            </p:cNvPr>
            <p:cNvSpPr>
              <a:spLocks/>
            </p:cNvSpPr>
            <p:nvPr/>
          </p:nvSpPr>
          <p:spPr bwMode="auto">
            <a:xfrm>
              <a:off x="4572000" y="4306888"/>
              <a:ext cx="385763" cy="225425"/>
            </a:xfrm>
            <a:custGeom>
              <a:avLst/>
              <a:gdLst/>
              <a:ahLst/>
              <a:cxnLst>
                <a:cxn ang="0">
                  <a:pos x="0" y="0"/>
                </a:cxn>
                <a:cxn ang="0">
                  <a:pos x="0" y="142"/>
                </a:cxn>
                <a:cxn ang="0">
                  <a:pos x="243" y="142"/>
                </a:cxn>
              </a:cxnLst>
              <a:rect l="0" t="0" r="r" b="b"/>
              <a:pathLst>
                <a:path w="243" h="142">
                  <a:moveTo>
                    <a:pt x="0" y="0"/>
                  </a:moveTo>
                  <a:lnTo>
                    <a:pt x="0" y="142"/>
                  </a:lnTo>
                  <a:lnTo>
                    <a:pt x="243" y="142"/>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29" name="Freeform 829">
              <a:extLst>
                <a:ext uri="{FF2B5EF4-FFF2-40B4-BE49-F238E27FC236}">
                  <a16:creationId xmlns:a16="http://schemas.microsoft.com/office/drawing/2014/main" id="{9A1FF761-6569-46B0-84AC-E4F6B9AAF799}"/>
                </a:ext>
              </a:extLst>
            </p:cNvPr>
            <p:cNvSpPr>
              <a:spLocks/>
            </p:cNvSpPr>
            <p:nvPr/>
          </p:nvSpPr>
          <p:spPr bwMode="auto">
            <a:xfrm>
              <a:off x="4611688" y="4337051"/>
              <a:ext cx="260350" cy="168275"/>
            </a:xfrm>
            <a:custGeom>
              <a:avLst/>
              <a:gdLst/>
              <a:ahLst/>
              <a:cxnLst>
                <a:cxn ang="0">
                  <a:pos x="0" y="106"/>
                </a:cxn>
                <a:cxn ang="0">
                  <a:pos x="48" y="57"/>
                </a:cxn>
                <a:cxn ang="0">
                  <a:pos x="77" y="86"/>
                </a:cxn>
                <a:cxn ang="0">
                  <a:pos x="164" y="0"/>
                </a:cxn>
              </a:cxnLst>
              <a:rect l="0" t="0" r="r" b="b"/>
              <a:pathLst>
                <a:path w="164" h="106">
                  <a:moveTo>
                    <a:pt x="0" y="106"/>
                  </a:moveTo>
                  <a:lnTo>
                    <a:pt x="48" y="57"/>
                  </a:lnTo>
                  <a:lnTo>
                    <a:pt x="77" y="86"/>
                  </a:lnTo>
                  <a:lnTo>
                    <a:pt x="164" y="0"/>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30" name="Freeform 831">
              <a:extLst>
                <a:ext uri="{FF2B5EF4-FFF2-40B4-BE49-F238E27FC236}">
                  <a16:creationId xmlns:a16="http://schemas.microsoft.com/office/drawing/2014/main" id="{101A7A86-4377-478B-866E-8F000E9CD005}"/>
                </a:ext>
              </a:extLst>
            </p:cNvPr>
            <p:cNvSpPr>
              <a:spLocks/>
            </p:cNvSpPr>
            <p:nvPr/>
          </p:nvSpPr>
          <p:spPr bwMode="auto">
            <a:xfrm>
              <a:off x="4829175" y="4300538"/>
              <a:ext cx="74613" cy="77788"/>
            </a:xfrm>
            <a:custGeom>
              <a:avLst/>
              <a:gdLst/>
              <a:ahLst/>
              <a:cxnLst>
                <a:cxn ang="0">
                  <a:pos x="0" y="0"/>
                </a:cxn>
                <a:cxn ang="0">
                  <a:pos x="47" y="0"/>
                </a:cxn>
                <a:cxn ang="0">
                  <a:pos x="47" y="49"/>
                </a:cxn>
              </a:cxnLst>
              <a:rect l="0" t="0" r="r" b="b"/>
              <a:pathLst>
                <a:path w="47" h="49">
                  <a:moveTo>
                    <a:pt x="0" y="0"/>
                  </a:moveTo>
                  <a:lnTo>
                    <a:pt x="47" y="0"/>
                  </a:lnTo>
                  <a:lnTo>
                    <a:pt x="47" y="49"/>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sp>
        <p:nvSpPr>
          <p:cNvPr id="31" name="Text Placeholder 2">
            <a:extLst>
              <a:ext uri="{FF2B5EF4-FFF2-40B4-BE49-F238E27FC236}">
                <a16:creationId xmlns:a16="http://schemas.microsoft.com/office/drawing/2014/main" id="{3D28F7A7-5C65-4E75-BAF7-D75B93AF4A9B}"/>
              </a:ext>
            </a:extLst>
          </p:cNvPr>
          <p:cNvSpPr>
            <a:spLocks noGrp="1"/>
          </p:cNvSpPr>
          <p:nvPr>
            <p:ph type="body" sz="quarter" idx="10"/>
          </p:nvPr>
        </p:nvSpPr>
        <p:spPr>
          <a:xfrm>
            <a:off x="5177352" y="1090089"/>
            <a:ext cx="4464496" cy="379884"/>
          </a:xfrm>
        </p:spPr>
        <p:txBody>
          <a:bodyPr>
            <a:normAutofit/>
          </a:bodyPr>
          <a:lstStyle/>
          <a:p>
            <a:r>
              <a:rPr lang="nb-NO" sz="1800"/>
              <a:t>Data Management</a:t>
            </a:r>
          </a:p>
          <a:p>
            <a:endParaRPr lang="nb-NO" sz="1800"/>
          </a:p>
        </p:txBody>
      </p:sp>
      <p:sp>
        <p:nvSpPr>
          <p:cNvPr id="32" name="TextBox 31">
            <a:extLst>
              <a:ext uri="{FF2B5EF4-FFF2-40B4-BE49-F238E27FC236}">
                <a16:creationId xmlns:a16="http://schemas.microsoft.com/office/drawing/2014/main" id="{DE156414-F4A5-4C2E-A9A6-634EFD1ED2C8}"/>
              </a:ext>
            </a:extLst>
          </p:cNvPr>
          <p:cNvSpPr txBox="1"/>
          <p:nvPr/>
        </p:nvSpPr>
        <p:spPr>
          <a:xfrm>
            <a:off x="2511173" y="2267691"/>
            <a:ext cx="2592288" cy="369332"/>
          </a:xfrm>
          <a:prstGeom prst="rect">
            <a:avLst/>
          </a:prstGeom>
          <a:noFill/>
        </p:spPr>
        <p:txBody>
          <a:bodyPr wrap="square" rtlCol="0">
            <a:spAutoFit/>
          </a:bodyPr>
          <a:lstStyle/>
          <a:p>
            <a:r>
              <a:rPr lang="nb-NO"/>
              <a:t>Data Quality</a:t>
            </a:r>
          </a:p>
        </p:txBody>
      </p:sp>
      <p:sp>
        <p:nvSpPr>
          <p:cNvPr id="33" name="TextBox 32">
            <a:extLst>
              <a:ext uri="{FF2B5EF4-FFF2-40B4-BE49-F238E27FC236}">
                <a16:creationId xmlns:a16="http://schemas.microsoft.com/office/drawing/2014/main" id="{9DEFB4ED-24C1-42A6-9EDE-582EB2DBEF17}"/>
              </a:ext>
            </a:extLst>
          </p:cNvPr>
          <p:cNvSpPr txBox="1"/>
          <p:nvPr/>
        </p:nvSpPr>
        <p:spPr>
          <a:xfrm>
            <a:off x="8584706" y="4092438"/>
            <a:ext cx="3024336" cy="369332"/>
          </a:xfrm>
          <a:prstGeom prst="rect">
            <a:avLst/>
          </a:prstGeom>
          <a:noFill/>
        </p:spPr>
        <p:txBody>
          <a:bodyPr wrap="square" rtlCol="0">
            <a:spAutoFit/>
          </a:bodyPr>
          <a:lstStyle/>
          <a:p>
            <a:r>
              <a:rPr lang="nb-NO"/>
              <a:t>Data </a:t>
            </a:r>
            <a:r>
              <a:rPr lang="nb-NO" err="1"/>
              <a:t>Privacy</a:t>
            </a:r>
            <a:endParaRPr lang="nb-NO"/>
          </a:p>
        </p:txBody>
      </p:sp>
      <p:sp>
        <p:nvSpPr>
          <p:cNvPr id="34" name="Text Placeholder 2">
            <a:extLst>
              <a:ext uri="{FF2B5EF4-FFF2-40B4-BE49-F238E27FC236}">
                <a16:creationId xmlns:a16="http://schemas.microsoft.com/office/drawing/2014/main" id="{62775F6B-590B-4F08-9453-07BD21BA3C05}"/>
              </a:ext>
            </a:extLst>
          </p:cNvPr>
          <p:cNvSpPr txBox="1">
            <a:spLocks/>
          </p:cNvSpPr>
          <p:nvPr/>
        </p:nvSpPr>
        <p:spPr>
          <a:xfrm>
            <a:off x="1908260" y="4113517"/>
            <a:ext cx="4464496"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a:t>Data </a:t>
            </a:r>
            <a:r>
              <a:rPr lang="nb-NO" sz="1800" err="1"/>
              <a:t>Modelling</a:t>
            </a:r>
            <a:endParaRPr lang="nb-NO" sz="1800"/>
          </a:p>
          <a:p>
            <a:endParaRPr lang="nb-NO" sz="1800"/>
          </a:p>
        </p:txBody>
      </p:sp>
      <p:sp>
        <p:nvSpPr>
          <p:cNvPr id="35" name="TextBox 34">
            <a:extLst>
              <a:ext uri="{FF2B5EF4-FFF2-40B4-BE49-F238E27FC236}">
                <a16:creationId xmlns:a16="http://schemas.microsoft.com/office/drawing/2014/main" id="{8953F009-B8CB-44CB-8283-B7A8A632A3FB}"/>
              </a:ext>
            </a:extLst>
          </p:cNvPr>
          <p:cNvSpPr txBox="1"/>
          <p:nvPr/>
        </p:nvSpPr>
        <p:spPr>
          <a:xfrm>
            <a:off x="7409600" y="5703780"/>
            <a:ext cx="2880320" cy="369332"/>
          </a:xfrm>
          <a:prstGeom prst="rect">
            <a:avLst/>
          </a:prstGeom>
          <a:noFill/>
        </p:spPr>
        <p:txBody>
          <a:bodyPr wrap="square" rtlCol="0">
            <a:spAutoFit/>
          </a:bodyPr>
          <a:lstStyle/>
          <a:p>
            <a:r>
              <a:rPr lang="nb-NO"/>
              <a:t>Metadata</a:t>
            </a:r>
          </a:p>
        </p:txBody>
      </p:sp>
      <p:sp>
        <p:nvSpPr>
          <p:cNvPr id="36" name="TextBox 35">
            <a:extLst>
              <a:ext uri="{FF2B5EF4-FFF2-40B4-BE49-F238E27FC236}">
                <a16:creationId xmlns:a16="http://schemas.microsoft.com/office/drawing/2014/main" id="{2B5D1FAD-6E42-4171-9E2D-AF308F41BB23}"/>
              </a:ext>
            </a:extLst>
          </p:cNvPr>
          <p:cNvSpPr txBox="1"/>
          <p:nvPr/>
        </p:nvSpPr>
        <p:spPr>
          <a:xfrm>
            <a:off x="3097511" y="5745666"/>
            <a:ext cx="2085995" cy="369332"/>
          </a:xfrm>
          <a:prstGeom prst="rect">
            <a:avLst/>
          </a:prstGeom>
          <a:noFill/>
        </p:spPr>
        <p:txBody>
          <a:bodyPr wrap="square" rtlCol="0">
            <a:spAutoFit/>
          </a:bodyPr>
          <a:lstStyle/>
          <a:p>
            <a:r>
              <a:rPr lang="nb-NO" err="1"/>
              <a:t>Documentation</a:t>
            </a:r>
            <a:endParaRPr lang="nb-NO"/>
          </a:p>
        </p:txBody>
      </p:sp>
      <p:pic>
        <p:nvPicPr>
          <p:cNvPr id="37" name="Graphic 36" descr="Label with solid fill">
            <a:extLst>
              <a:ext uri="{FF2B5EF4-FFF2-40B4-BE49-F238E27FC236}">
                <a16:creationId xmlns:a16="http://schemas.microsoft.com/office/drawing/2014/main" id="{7E199912-F3AE-4502-839F-664CBE3C76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26020" y="5392412"/>
            <a:ext cx="610338" cy="610338"/>
          </a:xfrm>
          <a:prstGeom prst="rect">
            <a:avLst/>
          </a:prstGeom>
        </p:spPr>
      </p:pic>
      <p:pic>
        <p:nvPicPr>
          <p:cNvPr id="38" name="Graphic 37" descr="Blockchain with solid fill">
            <a:extLst>
              <a:ext uri="{FF2B5EF4-FFF2-40B4-BE49-F238E27FC236}">
                <a16:creationId xmlns:a16="http://schemas.microsoft.com/office/drawing/2014/main" id="{E0E862FD-444E-40F9-A2F3-32CD75424D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04360" y="3926049"/>
            <a:ext cx="610338" cy="610338"/>
          </a:xfrm>
          <a:prstGeom prst="rect">
            <a:avLst/>
          </a:prstGeom>
        </p:spPr>
      </p:pic>
      <p:pic>
        <p:nvPicPr>
          <p:cNvPr id="39" name="Graphic 38" descr="Drawing compass with solid fill">
            <a:extLst>
              <a:ext uri="{FF2B5EF4-FFF2-40B4-BE49-F238E27FC236}">
                <a16:creationId xmlns:a16="http://schemas.microsoft.com/office/drawing/2014/main" id="{0DF1A7CD-4979-4CBF-BC9F-2AD0A313589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21844" y="2253212"/>
            <a:ext cx="610338" cy="610338"/>
          </a:xfrm>
          <a:prstGeom prst="rect">
            <a:avLst/>
          </a:prstGeom>
        </p:spPr>
      </p:pic>
      <p:pic>
        <p:nvPicPr>
          <p:cNvPr id="40" name="Graphic 39" descr="Board Of Directors with solid fill">
            <a:extLst>
              <a:ext uri="{FF2B5EF4-FFF2-40B4-BE49-F238E27FC236}">
                <a16:creationId xmlns:a16="http://schemas.microsoft.com/office/drawing/2014/main" id="{4ACEF9BB-E7A9-4C55-BB6B-743A01090A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74739" y="1462162"/>
            <a:ext cx="610338" cy="610338"/>
          </a:xfrm>
          <a:prstGeom prst="rect">
            <a:avLst/>
          </a:prstGeom>
        </p:spPr>
      </p:pic>
      <p:pic>
        <p:nvPicPr>
          <p:cNvPr id="41" name="Graphic 40" descr="Folder Search with solid fill">
            <a:extLst>
              <a:ext uri="{FF2B5EF4-FFF2-40B4-BE49-F238E27FC236}">
                <a16:creationId xmlns:a16="http://schemas.microsoft.com/office/drawing/2014/main" id="{F226F58D-ABC5-4030-ABE0-EB63F8D2F73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07493" y="5341152"/>
            <a:ext cx="599452" cy="599452"/>
          </a:xfrm>
          <a:prstGeom prst="rect">
            <a:avLst/>
          </a:prstGeom>
        </p:spPr>
      </p:pic>
      <p:sp>
        <p:nvSpPr>
          <p:cNvPr id="42" name="Text Placeholder 2">
            <a:extLst>
              <a:ext uri="{FF2B5EF4-FFF2-40B4-BE49-F238E27FC236}">
                <a16:creationId xmlns:a16="http://schemas.microsoft.com/office/drawing/2014/main" id="{AC3A9011-78A4-4DA6-A5C7-65E6C045A194}"/>
              </a:ext>
            </a:extLst>
          </p:cNvPr>
          <p:cNvSpPr txBox="1">
            <a:spLocks/>
          </p:cNvSpPr>
          <p:nvPr/>
        </p:nvSpPr>
        <p:spPr>
          <a:xfrm>
            <a:off x="5207219" y="3496493"/>
            <a:ext cx="1833445" cy="74104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nb-NO" sz="1800"/>
              <a:t>DATA GOVERNANCE</a:t>
            </a:r>
          </a:p>
          <a:p>
            <a:pPr algn="ctr"/>
            <a:endParaRPr lang="nb-NO" sz="1800"/>
          </a:p>
        </p:txBody>
      </p:sp>
      <p:sp>
        <p:nvSpPr>
          <p:cNvPr id="43" name="Oval 42">
            <a:extLst>
              <a:ext uri="{FF2B5EF4-FFF2-40B4-BE49-F238E27FC236}">
                <a16:creationId xmlns:a16="http://schemas.microsoft.com/office/drawing/2014/main" id="{8ED2422D-E6AA-4E0F-8BBA-2515F06E5572}"/>
              </a:ext>
            </a:extLst>
          </p:cNvPr>
          <p:cNvSpPr/>
          <p:nvPr/>
        </p:nvSpPr>
        <p:spPr bwMode="auto">
          <a:xfrm>
            <a:off x="3654119" y="2979747"/>
            <a:ext cx="788999" cy="756311"/>
          </a:xfrm>
          <a:prstGeom prst="ellipse">
            <a:avLst/>
          </a:prstGeom>
          <a:solidFill>
            <a:schemeClr val="tx2">
              <a:lumMod val="90000"/>
              <a:lumOff val="1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44" name="Oval 43">
            <a:extLst>
              <a:ext uri="{FF2B5EF4-FFF2-40B4-BE49-F238E27FC236}">
                <a16:creationId xmlns:a16="http://schemas.microsoft.com/office/drawing/2014/main" id="{1F756FF6-752C-4D2D-8A5B-C5B203716400}"/>
              </a:ext>
            </a:extLst>
          </p:cNvPr>
          <p:cNvSpPr/>
          <p:nvPr/>
        </p:nvSpPr>
        <p:spPr bwMode="auto">
          <a:xfrm>
            <a:off x="4017432" y="4706680"/>
            <a:ext cx="788999" cy="756311"/>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45" name="Oval 44">
            <a:extLst>
              <a:ext uri="{FF2B5EF4-FFF2-40B4-BE49-F238E27FC236}">
                <a16:creationId xmlns:a16="http://schemas.microsoft.com/office/drawing/2014/main" id="{EE3C9B9F-4025-495C-8F66-E1FEE1CCC8C5}"/>
              </a:ext>
            </a:extLst>
          </p:cNvPr>
          <p:cNvSpPr/>
          <p:nvPr/>
        </p:nvSpPr>
        <p:spPr bwMode="auto">
          <a:xfrm>
            <a:off x="5708323" y="5416815"/>
            <a:ext cx="788999" cy="756311"/>
          </a:xfrm>
          <a:prstGeom prst="ellipse">
            <a:avLst/>
          </a:prstGeom>
          <a:solidFill>
            <a:schemeClr val="accent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46" name="Oval 45">
            <a:extLst>
              <a:ext uri="{FF2B5EF4-FFF2-40B4-BE49-F238E27FC236}">
                <a16:creationId xmlns:a16="http://schemas.microsoft.com/office/drawing/2014/main" id="{34A20913-56C2-4BDA-AF79-6A3B00450699}"/>
              </a:ext>
            </a:extLst>
          </p:cNvPr>
          <p:cNvSpPr/>
          <p:nvPr/>
        </p:nvSpPr>
        <p:spPr bwMode="auto">
          <a:xfrm>
            <a:off x="7408141" y="4689446"/>
            <a:ext cx="788999" cy="756311"/>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47" name="Oval 46">
            <a:extLst>
              <a:ext uri="{FF2B5EF4-FFF2-40B4-BE49-F238E27FC236}">
                <a16:creationId xmlns:a16="http://schemas.microsoft.com/office/drawing/2014/main" id="{0F5BCB81-A233-4DE6-A103-C004D862203A}"/>
              </a:ext>
            </a:extLst>
          </p:cNvPr>
          <p:cNvSpPr/>
          <p:nvPr/>
        </p:nvSpPr>
        <p:spPr bwMode="auto">
          <a:xfrm>
            <a:off x="7786874" y="3002401"/>
            <a:ext cx="788999" cy="756311"/>
          </a:xfrm>
          <a:prstGeom prst="ellipse">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48" name="Oval 47">
            <a:extLst>
              <a:ext uri="{FF2B5EF4-FFF2-40B4-BE49-F238E27FC236}">
                <a16:creationId xmlns:a16="http://schemas.microsoft.com/office/drawing/2014/main" id="{FD2380A6-5EC5-42A1-BF62-FF1A8BE7B4DD}"/>
              </a:ext>
            </a:extLst>
          </p:cNvPr>
          <p:cNvSpPr/>
          <p:nvPr/>
        </p:nvSpPr>
        <p:spPr bwMode="auto">
          <a:xfrm>
            <a:off x="6706840" y="1567136"/>
            <a:ext cx="788999" cy="756311"/>
          </a:xfrm>
          <a:prstGeom prst="ellipse">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49" name="Oval 48">
            <a:extLst>
              <a:ext uri="{FF2B5EF4-FFF2-40B4-BE49-F238E27FC236}">
                <a16:creationId xmlns:a16="http://schemas.microsoft.com/office/drawing/2014/main" id="{652DB389-ABA5-4265-B1E7-FB95A1F74EBA}"/>
              </a:ext>
            </a:extLst>
          </p:cNvPr>
          <p:cNvSpPr/>
          <p:nvPr/>
        </p:nvSpPr>
        <p:spPr bwMode="auto">
          <a:xfrm>
            <a:off x="4781994" y="1543964"/>
            <a:ext cx="788999" cy="756311"/>
          </a:xfrm>
          <a:prstGeom prst="ellipse">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0" name="TextBox 49">
            <a:extLst>
              <a:ext uri="{FF2B5EF4-FFF2-40B4-BE49-F238E27FC236}">
                <a16:creationId xmlns:a16="http://schemas.microsoft.com/office/drawing/2014/main" id="{3C1FDDE3-F25A-4F41-812F-535D43DC0F63}"/>
              </a:ext>
            </a:extLst>
          </p:cNvPr>
          <p:cNvSpPr txBox="1"/>
          <p:nvPr/>
        </p:nvSpPr>
        <p:spPr>
          <a:xfrm>
            <a:off x="5356621" y="6141264"/>
            <a:ext cx="2085995" cy="646331"/>
          </a:xfrm>
          <a:prstGeom prst="rect">
            <a:avLst/>
          </a:prstGeom>
          <a:noFill/>
        </p:spPr>
        <p:txBody>
          <a:bodyPr wrap="square" rtlCol="0">
            <a:spAutoFit/>
          </a:bodyPr>
          <a:lstStyle/>
          <a:p>
            <a:r>
              <a:rPr lang="nb-NO"/>
              <a:t>Data Catalog</a:t>
            </a:r>
          </a:p>
          <a:p>
            <a:endParaRPr lang="nb-NO"/>
          </a:p>
        </p:txBody>
      </p:sp>
      <p:sp>
        <p:nvSpPr>
          <p:cNvPr id="51" name="TextBox 50">
            <a:extLst>
              <a:ext uri="{FF2B5EF4-FFF2-40B4-BE49-F238E27FC236}">
                <a16:creationId xmlns:a16="http://schemas.microsoft.com/office/drawing/2014/main" id="{0CF14ECB-9841-4404-AFBB-AC781B17C77E}"/>
              </a:ext>
            </a:extLst>
          </p:cNvPr>
          <p:cNvSpPr txBox="1"/>
          <p:nvPr/>
        </p:nvSpPr>
        <p:spPr>
          <a:xfrm>
            <a:off x="7415504" y="1434527"/>
            <a:ext cx="2268252" cy="369332"/>
          </a:xfrm>
          <a:prstGeom prst="rect">
            <a:avLst/>
          </a:prstGeom>
          <a:noFill/>
        </p:spPr>
        <p:txBody>
          <a:bodyPr wrap="square" rtlCol="0">
            <a:spAutoFit/>
          </a:bodyPr>
          <a:lstStyle/>
          <a:p>
            <a:r>
              <a:rPr lang="nb-NO"/>
              <a:t>Business </a:t>
            </a:r>
            <a:r>
              <a:rPr lang="nb-NO" err="1"/>
              <a:t>Glossary</a:t>
            </a:r>
            <a:endParaRPr lang="nb-NO"/>
          </a:p>
        </p:txBody>
      </p:sp>
      <p:sp>
        <p:nvSpPr>
          <p:cNvPr id="52" name="TextBox 51">
            <a:extLst>
              <a:ext uri="{FF2B5EF4-FFF2-40B4-BE49-F238E27FC236}">
                <a16:creationId xmlns:a16="http://schemas.microsoft.com/office/drawing/2014/main" id="{FF642D13-5B50-4964-AE33-E672112C8501}"/>
              </a:ext>
            </a:extLst>
          </p:cNvPr>
          <p:cNvSpPr txBox="1"/>
          <p:nvPr/>
        </p:nvSpPr>
        <p:spPr>
          <a:xfrm>
            <a:off x="2072524" y="3185459"/>
            <a:ext cx="1860790" cy="369332"/>
          </a:xfrm>
          <a:prstGeom prst="rect">
            <a:avLst/>
          </a:prstGeom>
          <a:noFill/>
        </p:spPr>
        <p:txBody>
          <a:bodyPr wrap="square" rtlCol="0">
            <a:spAutoFit/>
          </a:bodyPr>
          <a:lstStyle/>
          <a:p>
            <a:r>
              <a:rPr lang="nb-NO"/>
              <a:t>Data </a:t>
            </a:r>
            <a:r>
              <a:rPr lang="nb-NO" err="1"/>
              <a:t>Lineage</a:t>
            </a:r>
            <a:endParaRPr lang="nb-NO"/>
          </a:p>
        </p:txBody>
      </p:sp>
      <p:pic>
        <p:nvPicPr>
          <p:cNvPr id="53" name="Graphic 52" descr="Books with solid fill">
            <a:extLst>
              <a:ext uri="{FF2B5EF4-FFF2-40B4-BE49-F238E27FC236}">
                <a16:creationId xmlns:a16="http://schemas.microsoft.com/office/drawing/2014/main" id="{E8DA5F77-DAF3-4F88-8BDD-8D3627D6E4C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63453" y="5559690"/>
            <a:ext cx="496944" cy="496944"/>
          </a:xfrm>
          <a:prstGeom prst="rect">
            <a:avLst/>
          </a:prstGeom>
        </p:spPr>
      </p:pic>
      <p:pic>
        <p:nvPicPr>
          <p:cNvPr id="54" name="Graphic 53" descr="Cause And Effect with solid fill">
            <a:extLst>
              <a:ext uri="{FF2B5EF4-FFF2-40B4-BE49-F238E27FC236}">
                <a16:creationId xmlns:a16="http://schemas.microsoft.com/office/drawing/2014/main" id="{4B11E265-4FEC-41BE-98DA-69782A929E6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732713" y="3102718"/>
            <a:ext cx="610338" cy="610338"/>
          </a:xfrm>
          <a:prstGeom prst="rect">
            <a:avLst/>
          </a:prstGeom>
        </p:spPr>
      </p:pic>
      <p:pic>
        <p:nvPicPr>
          <p:cNvPr id="55" name="Graphic 54" descr="Calligraphy Pen with solid fill">
            <a:extLst>
              <a:ext uri="{FF2B5EF4-FFF2-40B4-BE49-F238E27FC236}">
                <a16:creationId xmlns:a16="http://schemas.microsoft.com/office/drawing/2014/main" id="{8560DB5E-EC1A-4ACA-A683-B60DAD0FE77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851123" y="1691941"/>
            <a:ext cx="457826" cy="457826"/>
          </a:xfrm>
          <a:prstGeom prst="rect">
            <a:avLst/>
          </a:prstGeom>
        </p:spPr>
      </p:pic>
      <p:pic>
        <p:nvPicPr>
          <p:cNvPr id="56" name="Graphic 55" descr="Continuous Improvement with solid fill">
            <a:extLst>
              <a:ext uri="{FF2B5EF4-FFF2-40B4-BE49-F238E27FC236}">
                <a16:creationId xmlns:a16="http://schemas.microsoft.com/office/drawing/2014/main" id="{AB1D097C-6604-43EB-84FA-A4BE0604B0D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516585" y="4777023"/>
            <a:ext cx="607200" cy="607200"/>
          </a:xfrm>
          <a:prstGeom prst="rect">
            <a:avLst/>
          </a:prstGeom>
        </p:spPr>
      </p:pic>
      <p:pic>
        <p:nvPicPr>
          <p:cNvPr id="57" name="Graphic 56" descr="Box with solid fill">
            <a:extLst>
              <a:ext uri="{FF2B5EF4-FFF2-40B4-BE49-F238E27FC236}">
                <a16:creationId xmlns:a16="http://schemas.microsoft.com/office/drawing/2014/main" id="{DF244CDA-6FFA-470E-93C3-36193610748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877773" y="3068350"/>
            <a:ext cx="607200" cy="607200"/>
          </a:xfrm>
          <a:prstGeom prst="rect">
            <a:avLst/>
          </a:prstGeom>
        </p:spPr>
      </p:pic>
      <p:pic>
        <p:nvPicPr>
          <p:cNvPr id="58" name="Graphic 57" descr="Checklist">
            <a:extLst>
              <a:ext uri="{FF2B5EF4-FFF2-40B4-BE49-F238E27FC236}">
                <a16:creationId xmlns:a16="http://schemas.microsoft.com/office/drawing/2014/main" id="{751170E9-08DF-4B09-AFDE-21E5B6985E7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129391" y="4826464"/>
            <a:ext cx="533460" cy="533460"/>
          </a:xfrm>
          <a:prstGeom prst="rect">
            <a:avLst/>
          </a:prstGeom>
        </p:spPr>
      </p:pic>
      <p:pic>
        <p:nvPicPr>
          <p:cNvPr id="59" name="Graphic 58" descr="Target Audience">
            <a:extLst>
              <a:ext uri="{FF2B5EF4-FFF2-40B4-BE49-F238E27FC236}">
                <a16:creationId xmlns:a16="http://schemas.microsoft.com/office/drawing/2014/main" id="{4A9D8959-AE78-4206-8EA3-6311F923521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868965" y="1617389"/>
            <a:ext cx="583297" cy="583297"/>
          </a:xfrm>
          <a:prstGeom prst="rect">
            <a:avLst/>
          </a:prstGeom>
        </p:spPr>
      </p:pic>
      <p:sp>
        <p:nvSpPr>
          <p:cNvPr id="60" name="TextBox 59">
            <a:extLst>
              <a:ext uri="{FF2B5EF4-FFF2-40B4-BE49-F238E27FC236}">
                <a16:creationId xmlns:a16="http://schemas.microsoft.com/office/drawing/2014/main" id="{A093AC54-EFFC-4789-A9B7-C466067CD78D}"/>
              </a:ext>
            </a:extLst>
          </p:cNvPr>
          <p:cNvSpPr txBox="1"/>
          <p:nvPr/>
        </p:nvSpPr>
        <p:spPr>
          <a:xfrm>
            <a:off x="8713821" y="3185459"/>
            <a:ext cx="3024336" cy="369332"/>
          </a:xfrm>
          <a:prstGeom prst="rect">
            <a:avLst/>
          </a:prstGeom>
          <a:noFill/>
        </p:spPr>
        <p:txBody>
          <a:bodyPr wrap="square" rtlCol="0">
            <a:spAutoFit/>
          </a:bodyPr>
          <a:lstStyle/>
          <a:p>
            <a:r>
              <a:rPr lang="nb-NO"/>
              <a:t>Data Storage</a:t>
            </a:r>
          </a:p>
        </p:txBody>
      </p:sp>
      <p:sp>
        <p:nvSpPr>
          <p:cNvPr id="61" name="TextBox 60">
            <a:extLst>
              <a:ext uri="{FF2B5EF4-FFF2-40B4-BE49-F238E27FC236}">
                <a16:creationId xmlns:a16="http://schemas.microsoft.com/office/drawing/2014/main" id="{E07B8449-53A5-4D45-8997-933889DDF581}"/>
              </a:ext>
            </a:extLst>
          </p:cNvPr>
          <p:cNvSpPr txBox="1"/>
          <p:nvPr/>
        </p:nvSpPr>
        <p:spPr>
          <a:xfrm>
            <a:off x="8268923" y="4971820"/>
            <a:ext cx="3024336" cy="369332"/>
          </a:xfrm>
          <a:prstGeom prst="rect">
            <a:avLst/>
          </a:prstGeom>
          <a:noFill/>
        </p:spPr>
        <p:txBody>
          <a:bodyPr wrap="square" rtlCol="0">
            <a:spAutoFit/>
          </a:bodyPr>
          <a:lstStyle/>
          <a:p>
            <a:r>
              <a:rPr lang="nb-NO" err="1"/>
              <a:t>Processes</a:t>
            </a:r>
            <a:endParaRPr lang="nb-NO"/>
          </a:p>
        </p:txBody>
      </p:sp>
      <p:sp>
        <p:nvSpPr>
          <p:cNvPr id="62" name="TextBox 61">
            <a:extLst>
              <a:ext uri="{FF2B5EF4-FFF2-40B4-BE49-F238E27FC236}">
                <a16:creationId xmlns:a16="http://schemas.microsoft.com/office/drawing/2014/main" id="{CD2B933E-F294-4231-9902-A9A1F73FF6B5}"/>
              </a:ext>
            </a:extLst>
          </p:cNvPr>
          <p:cNvSpPr txBox="1"/>
          <p:nvPr/>
        </p:nvSpPr>
        <p:spPr>
          <a:xfrm>
            <a:off x="2661207" y="5026615"/>
            <a:ext cx="3024336" cy="369332"/>
          </a:xfrm>
          <a:prstGeom prst="rect">
            <a:avLst/>
          </a:prstGeom>
          <a:noFill/>
        </p:spPr>
        <p:txBody>
          <a:bodyPr wrap="square" rtlCol="0">
            <a:spAutoFit/>
          </a:bodyPr>
          <a:lstStyle/>
          <a:p>
            <a:r>
              <a:rPr lang="nb-NO" err="1"/>
              <a:t>Policies</a:t>
            </a:r>
            <a:endParaRPr lang="nb-NO"/>
          </a:p>
        </p:txBody>
      </p:sp>
      <p:sp>
        <p:nvSpPr>
          <p:cNvPr id="63" name="TextBox 62">
            <a:extLst>
              <a:ext uri="{FF2B5EF4-FFF2-40B4-BE49-F238E27FC236}">
                <a16:creationId xmlns:a16="http://schemas.microsoft.com/office/drawing/2014/main" id="{CAFFD140-3076-45D2-8635-A4B972725F9D}"/>
              </a:ext>
            </a:extLst>
          </p:cNvPr>
          <p:cNvSpPr txBox="1"/>
          <p:nvPr/>
        </p:nvSpPr>
        <p:spPr>
          <a:xfrm>
            <a:off x="3929065" y="1392347"/>
            <a:ext cx="3024336" cy="369332"/>
          </a:xfrm>
          <a:prstGeom prst="rect">
            <a:avLst/>
          </a:prstGeom>
          <a:noFill/>
        </p:spPr>
        <p:txBody>
          <a:bodyPr wrap="square" rtlCol="0">
            <a:spAutoFit/>
          </a:bodyPr>
          <a:lstStyle/>
          <a:p>
            <a:r>
              <a:rPr lang="nb-NO" err="1"/>
              <a:t>Roles</a:t>
            </a:r>
            <a:endParaRPr lang="nb-NO"/>
          </a:p>
        </p:txBody>
      </p:sp>
      <p:pic>
        <p:nvPicPr>
          <p:cNvPr id="64" name="Graphic 63" descr="Police female outline">
            <a:extLst>
              <a:ext uri="{FF2B5EF4-FFF2-40B4-BE49-F238E27FC236}">
                <a16:creationId xmlns:a16="http://schemas.microsoft.com/office/drawing/2014/main" id="{2E0DB0E5-1B7C-478D-8147-2E7F38364FD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931437" y="4025305"/>
            <a:ext cx="517537" cy="517537"/>
          </a:xfrm>
          <a:prstGeom prst="rect">
            <a:avLst/>
          </a:prstGeom>
        </p:spPr>
      </p:pic>
      <p:sp>
        <p:nvSpPr>
          <p:cNvPr id="65" name="Text Placeholder 2">
            <a:extLst>
              <a:ext uri="{FF2B5EF4-FFF2-40B4-BE49-F238E27FC236}">
                <a16:creationId xmlns:a16="http://schemas.microsoft.com/office/drawing/2014/main" id="{507870B3-573D-46CB-B787-011006703281}"/>
              </a:ext>
            </a:extLst>
          </p:cNvPr>
          <p:cNvSpPr txBox="1">
            <a:spLocks/>
          </p:cNvSpPr>
          <p:nvPr/>
        </p:nvSpPr>
        <p:spPr>
          <a:xfrm>
            <a:off x="8274555" y="2372938"/>
            <a:ext cx="2569153"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dirty="0"/>
              <a:t>Data Architecture</a:t>
            </a:r>
          </a:p>
          <a:p>
            <a:endParaRPr lang="nb-NO" sz="1800" dirty="0"/>
          </a:p>
        </p:txBody>
      </p:sp>
    </p:spTree>
    <p:extLst>
      <p:ext uri="{BB962C8B-B14F-4D97-AF65-F5344CB8AC3E}">
        <p14:creationId xmlns:p14="http://schemas.microsoft.com/office/powerpoint/2010/main" val="4024529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9E2BA00-DD36-4CD2-B03A-D4CAD47657FB}"/>
              </a:ext>
            </a:extLst>
          </p:cNvPr>
          <p:cNvPicPr>
            <a:picLocks noChangeAspect="1"/>
          </p:cNvPicPr>
          <p:nvPr/>
        </p:nvPicPr>
        <p:blipFill>
          <a:blip r:embed="rId2"/>
          <a:stretch>
            <a:fillRect/>
          </a:stretch>
        </p:blipFill>
        <p:spPr>
          <a:xfrm>
            <a:off x="743616" y="0"/>
            <a:ext cx="10704767" cy="6858000"/>
          </a:xfrm>
          <a:prstGeom prst="rect">
            <a:avLst/>
          </a:prstGeom>
        </p:spPr>
      </p:pic>
    </p:spTree>
    <p:extLst>
      <p:ext uri="{BB962C8B-B14F-4D97-AF65-F5344CB8AC3E}">
        <p14:creationId xmlns:p14="http://schemas.microsoft.com/office/powerpoint/2010/main" val="10163301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B45FA-847C-4E9D-9896-2CF6D7B4AFBB}"/>
              </a:ext>
            </a:extLst>
          </p:cNvPr>
          <p:cNvSpPr>
            <a:spLocks noGrp="1"/>
          </p:cNvSpPr>
          <p:nvPr>
            <p:ph type="body" sz="quarter" idx="10"/>
          </p:nvPr>
        </p:nvSpPr>
        <p:spPr/>
        <p:txBody>
          <a:bodyPr/>
          <a:lstStyle/>
          <a:p>
            <a:endParaRPr lang="en-US"/>
          </a:p>
          <a:p>
            <a:endParaRPr lang="en-US"/>
          </a:p>
          <a:p>
            <a:endParaRPr lang="en-US"/>
          </a:p>
        </p:txBody>
      </p:sp>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a:t>Data LOSS PREVENTION &amp; privacy</a:t>
            </a:r>
          </a:p>
        </p:txBody>
      </p:sp>
      <p:pic>
        <p:nvPicPr>
          <p:cNvPr id="5" name="Picture 4">
            <a:extLst>
              <a:ext uri="{FF2B5EF4-FFF2-40B4-BE49-F238E27FC236}">
                <a16:creationId xmlns:a16="http://schemas.microsoft.com/office/drawing/2014/main" id="{98E1389E-B204-415B-9C0B-0DCDA2D44A3C}"/>
              </a:ext>
            </a:extLst>
          </p:cNvPr>
          <p:cNvPicPr>
            <a:picLocks noChangeAspect="1"/>
          </p:cNvPicPr>
          <p:nvPr/>
        </p:nvPicPr>
        <p:blipFill>
          <a:blip r:embed="rId3"/>
          <a:stretch>
            <a:fillRect/>
          </a:stretch>
        </p:blipFill>
        <p:spPr>
          <a:xfrm>
            <a:off x="3495001" y="6992164"/>
            <a:ext cx="11039475" cy="4381500"/>
          </a:xfrm>
          <a:prstGeom prst="rect">
            <a:avLst/>
          </a:prstGeom>
        </p:spPr>
      </p:pic>
      <p:pic>
        <p:nvPicPr>
          <p:cNvPr id="8" name="Graphic 7" descr="Police female outline">
            <a:extLst>
              <a:ext uri="{FF2B5EF4-FFF2-40B4-BE49-F238E27FC236}">
                <a16:creationId xmlns:a16="http://schemas.microsoft.com/office/drawing/2014/main" id="{FF677930-BDD4-4931-8DFB-70D796674B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87888" y="556209"/>
            <a:ext cx="548690" cy="548690"/>
          </a:xfrm>
          <a:prstGeom prst="rect">
            <a:avLst/>
          </a:prstGeom>
        </p:spPr>
      </p:pic>
      <p:sp>
        <p:nvSpPr>
          <p:cNvPr id="4" name="Rectangle 3">
            <a:extLst>
              <a:ext uri="{FF2B5EF4-FFF2-40B4-BE49-F238E27FC236}">
                <a16:creationId xmlns:a16="http://schemas.microsoft.com/office/drawing/2014/main" id="{20DBA2DC-367A-49C3-AD86-CBA64B5E9278}"/>
              </a:ext>
            </a:extLst>
          </p:cNvPr>
          <p:cNvSpPr/>
          <p:nvPr/>
        </p:nvSpPr>
        <p:spPr>
          <a:xfrm>
            <a:off x="12359216" y="240803"/>
            <a:ext cx="2353013" cy="17281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Demo”: GDPR data </a:t>
            </a:r>
            <a:r>
              <a:rPr lang="en-US" sz="1600" err="1"/>
              <a:t>markert</a:t>
            </a:r>
            <a:r>
              <a:rPr lang="en-US" sz="1600"/>
              <a:t> I purview, security </a:t>
            </a:r>
            <a:r>
              <a:rPr lang="en-US" sz="1600" err="1"/>
              <a:t>på</a:t>
            </a:r>
            <a:r>
              <a:rPr lang="en-US" sz="1600"/>
              <a:t> </a:t>
            </a:r>
            <a:r>
              <a:rPr lang="en-US" sz="1600" err="1"/>
              <a:t>toppen</a:t>
            </a:r>
            <a:r>
              <a:rPr lang="en-US" sz="1600"/>
              <a:t> mot </a:t>
            </a:r>
            <a:r>
              <a:rPr lang="en-US" sz="1600" err="1"/>
              <a:t>microsoft</a:t>
            </a:r>
            <a:endParaRPr lang="en-US" sz="1600"/>
          </a:p>
        </p:txBody>
      </p:sp>
      <p:sp>
        <p:nvSpPr>
          <p:cNvPr id="7" name="Text Placeholder 1">
            <a:extLst>
              <a:ext uri="{FF2B5EF4-FFF2-40B4-BE49-F238E27FC236}">
                <a16:creationId xmlns:a16="http://schemas.microsoft.com/office/drawing/2014/main" id="{F393DCC9-7A42-43C7-A55C-C292CD8AFF69}"/>
              </a:ext>
            </a:extLst>
          </p:cNvPr>
          <p:cNvSpPr txBox="1">
            <a:spLocks/>
          </p:cNvSpPr>
          <p:nvPr/>
        </p:nvSpPr>
        <p:spPr>
          <a:xfrm>
            <a:off x="6452865" y="1543543"/>
            <a:ext cx="5331148" cy="2821562"/>
          </a:xfrm>
          <a:prstGeom prst="roundRect">
            <a:avLst/>
          </a:prstGeom>
          <a:solidFill>
            <a:srgbClr val="CCE9AD"/>
          </a:solidFill>
        </p:spPr>
        <p:txBody>
          <a:bodyPr vert="horz" lIns="0" tIns="0" rIns="0" bIns="0" rtlCol="0" anchor="ct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lgn="ctr">
              <a:buFont typeface="Wingdings" panose="05000000000000000000" pitchFamily="2" charset="2"/>
              <a:buNone/>
            </a:pPr>
            <a:r>
              <a:rPr lang="en-US" sz="1600" b="1">
                <a:solidFill>
                  <a:schemeClr val="bg1"/>
                </a:solidFill>
              </a:rPr>
              <a:t>WHY?</a:t>
            </a:r>
          </a:p>
          <a:p>
            <a:pPr lvl="1" indent="0" algn="ctr">
              <a:buNone/>
            </a:pPr>
            <a:r>
              <a:rPr lang="en-US" sz="2400"/>
              <a:t>Privacy</a:t>
            </a:r>
            <a:endParaRPr lang="en-US" sz="1600"/>
          </a:p>
          <a:p>
            <a:pPr lvl="1" indent="0" algn="ctr">
              <a:buFont typeface="Wingdings" panose="05000000000000000000" pitchFamily="2" charset="2"/>
              <a:buNone/>
            </a:pPr>
            <a:r>
              <a:rPr lang="en-US" sz="1600"/>
              <a:t>GDPR/CCPA/++ compliance</a:t>
            </a:r>
          </a:p>
          <a:p>
            <a:pPr lvl="1" indent="0" algn="ctr">
              <a:buFont typeface="Wingdings" panose="05000000000000000000" pitchFamily="2" charset="2"/>
              <a:buNone/>
            </a:pPr>
            <a:r>
              <a:rPr lang="en-US" sz="1600"/>
              <a:t>Public trust</a:t>
            </a:r>
          </a:p>
          <a:p>
            <a:pPr marL="520700" lvl="1" indent="-342900">
              <a:buFont typeface="Arial" panose="020B0604020202020204" pitchFamily="34" charset="0"/>
              <a:buChar char="•"/>
            </a:pPr>
            <a:endParaRPr lang="en-US" sz="1600"/>
          </a:p>
        </p:txBody>
      </p:sp>
      <p:sp>
        <p:nvSpPr>
          <p:cNvPr id="10" name="Text Placeholder 1">
            <a:extLst>
              <a:ext uri="{FF2B5EF4-FFF2-40B4-BE49-F238E27FC236}">
                <a16:creationId xmlns:a16="http://schemas.microsoft.com/office/drawing/2014/main" id="{FE6AB4A9-AD56-4EA9-BA12-7F720437F893}"/>
              </a:ext>
            </a:extLst>
          </p:cNvPr>
          <p:cNvSpPr txBox="1">
            <a:spLocks/>
          </p:cNvSpPr>
          <p:nvPr/>
        </p:nvSpPr>
        <p:spPr>
          <a:xfrm>
            <a:off x="549578" y="1543543"/>
            <a:ext cx="5331148" cy="2821562"/>
          </a:xfrm>
          <a:prstGeom prst="roundRect">
            <a:avLst/>
          </a:prstGeom>
          <a:solidFill>
            <a:srgbClr val="CCE9AD"/>
          </a:solidFill>
        </p:spPr>
        <p:txBody>
          <a:bodyPr vert="horz" lIns="0" tIns="0" rIns="0" bIns="0" rtlCol="0" anchor="ct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lgn="ctr">
              <a:buFont typeface="Wingdings" panose="05000000000000000000" pitchFamily="2" charset="2"/>
              <a:buNone/>
            </a:pPr>
            <a:r>
              <a:rPr lang="en-US" sz="1600" b="1">
                <a:solidFill>
                  <a:schemeClr val="bg1"/>
                </a:solidFill>
              </a:rPr>
              <a:t>WHY?</a:t>
            </a:r>
          </a:p>
          <a:p>
            <a:pPr lvl="1" indent="0" algn="ctr">
              <a:buNone/>
            </a:pPr>
            <a:r>
              <a:rPr lang="en-US" sz="2400"/>
              <a:t>DLP</a:t>
            </a:r>
            <a:endParaRPr lang="en-US" sz="1600"/>
          </a:p>
          <a:p>
            <a:pPr lvl="1" indent="0" algn="ctr">
              <a:buFont typeface="Wingdings" panose="05000000000000000000" pitchFamily="2" charset="2"/>
              <a:buNone/>
            </a:pPr>
            <a:r>
              <a:rPr lang="en-US" sz="1600"/>
              <a:t>Impact of data loss</a:t>
            </a:r>
          </a:p>
          <a:p>
            <a:pPr lvl="1" indent="0" algn="ctr">
              <a:buFont typeface="Wingdings" panose="05000000000000000000" pitchFamily="2" charset="2"/>
              <a:buNone/>
            </a:pPr>
            <a:r>
              <a:rPr lang="en-US" sz="1600"/>
              <a:t>Ransomware</a:t>
            </a:r>
          </a:p>
          <a:p>
            <a:pPr marL="520700" lvl="1" indent="-342900">
              <a:buFont typeface="Arial" panose="020B0604020202020204" pitchFamily="34" charset="0"/>
              <a:buChar char="•"/>
            </a:pPr>
            <a:endParaRPr lang="en-US" sz="1600"/>
          </a:p>
        </p:txBody>
      </p:sp>
      <p:pic>
        <p:nvPicPr>
          <p:cNvPr id="11" name="Graphic 10" descr="Siren with solid fill">
            <a:extLst>
              <a:ext uri="{FF2B5EF4-FFF2-40B4-BE49-F238E27FC236}">
                <a16:creationId xmlns:a16="http://schemas.microsoft.com/office/drawing/2014/main" id="{7936340C-149C-4E6F-906A-A778678D13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27177" y="3566413"/>
            <a:ext cx="1597384" cy="1597384"/>
          </a:xfrm>
          <a:prstGeom prst="rect">
            <a:avLst/>
          </a:prstGeom>
        </p:spPr>
      </p:pic>
      <p:pic>
        <p:nvPicPr>
          <p:cNvPr id="13" name="Graphic 12" descr="Lock with solid fill">
            <a:extLst>
              <a:ext uri="{FF2B5EF4-FFF2-40B4-BE49-F238E27FC236}">
                <a16:creationId xmlns:a16="http://schemas.microsoft.com/office/drawing/2014/main" id="{72C30270-44F4-4550-BACE-88827AF4B94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54666" y="3731958"/>
            <a:ext cx="1205822" cy="1205822"/>
          </a:xfrm>
          <a:prstGeom prst="rect">
            <a:avLst/>
          </a:prstGeom>
        </p:spPr>
      </p:pic>
      <p:cxnSp>
        <p:nvCxnSpPr>
          <p:cNvPr id="14" name="Straight Connector 13">
            <a:extLst>
              <a:ext uri="{FF2B5EF4-FFF2-40B4-BE49-F238E27FC236}">
                <a16:creationId xmlns:a16="http://schemas.microsoft.com/office/drawing/2014/main" id="{7E846DBD-15C1-47FD-AC08-712AC347EDCF}"/>
              </a:ext>
            </a:extLst>
          </p:cNvPr>
          <p:cNvCxnSpPr/>
          <p:nvPr/>
        </p:nvCxnSpPr>
        <p:spPr>
          <a:xfrm>
            <a:off x="6149165" y="1818167"/>
            <a:ext cx="0" cy="3976577"/>
          </a:xfrm>
          <a:prstGeom prst="line">
            <a:avLst/>
          </a:prstGeom>
          <a:ln w="19050">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95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241DAC-8B16-4858-A360-7442E1626EB0}"/>
              </a:ext>
            </a:extLst>
          </p:cNvPr>
          <p:cNvSpPr>
            <a:spLocks noGrp="1"/>
          </p:cNvSpPr>
          <p:nvPr>
            <p:ph type="title"/>
          </p:nvPr>
        </p:nvSpPr>
        <p:spPr/>
        <p:txBody>
          <a:bodyPr/>
          <a:lstStyle/>
          <a:p>
            <a:r>
              <a:rPr lang="en-US"/>
              <a:t>What is data governance?</a:t>
            </a:r>
          </a:p>
        </p:txBody>
      </p:sp>
      <p:grpSp>
        <p:nvGrpSpPr>
          <p:cNvPr id="125" name="Group 124">
            <a:extLst>
              <a:ext uri="{FF2B5EF4-FFF2-40B4-BE49-F238E27FC236}">
                <a16:creationId xmlns:a16="http://schemas.microsoft.com/office/drawing/2014/main" id="{9C034B49-5A64-4586-BC4E-FBC869A57CCB}"/>
              </a:ext>
            </a:extLst>
          </p:cNvPr>
          <p:cNvGrpSpPr/>
          <p:nvPr/>
        </p:nvGrpSpPr>
        <p:grpSpPr>
          <a:xfrm>
            <a:off x="3607293" y="1412776"/>
            <a:ext cx="4977413" cy="4634419"/>
            <a:chOff x="4574971" y="1530885"/>
            <a:chExt cx="3914855" cy="3802626"/>
          </a:xfrm>
        </p:grpSpPr>
        <p:sp>
          <p:nvSpPr>
            <p:cNvPr id="4" name="Freeform 5">
              <a:extLst>
                <a:ext uri="{FF2B5EF4-FFF2-40B4-BE49-F238E27FC236}">
                  <a16:creationId xmlns:a16="http://schemas.microsoft.com/office/drawing/2014/main" id="{D5ACC87C-ADD9-4EE9-985F-9E0E86DE453B}"/>
                </a:ext>
              </a:extLst>
            </p:cNvPr>
            <p:cNvSpPr>
              <a:spLocks/>
            </p:cNvSpPr>
            <p:nvPr/>
          </p:nvSpPr>
          <p:spPr bwMode="auto">
            <a:xfrm>
              <a:off x="4961764" y="3730712"/>
              <a:ext cx="970843" cy="739458"/>
            </a:xfrm>
            <a:custGeom>
              <a:avLst/>
              <a:gdLst>
                <a:gd name="T0" fmla="*/ 290 w 297"/>
                <a:gd name="T1" fmla="*/ 226 h 226"/>
                <a:gd name="T2" fmla="*/ 287 w 297"/>
                <a:gd name="T3" fmla="*/ 225 h 226"/>
                <a:gd name="T4" fmla="*/ 138 w 297"/>
                <a:gd name="T5" fmla="*/ 14 h 226"/>
                <a:gd name="T6" fmla="*/ 8 w 297"/>
                <a:gd name="T7" fmla="*/ 44 h 226"/>
                <a:gd name="T8" fmla="*/ 1 w 297"/>
                <a:gd name="T9" fmla="*/ 39 h 226"/>
                <a:gd name="T10" fmla="*/ 6 w 297"/>
                <a:gd name="T11" fmla="*/ 32 h 226"/>
                <a:gd name="T12" fmla="*/ 141 w 297"/>
                <a:gd name="T13" fmla="*/ 1 h 226"/>
                <a:gd name="T14" fmla="*/ 149 w 297"/>
                <a:gd name="T15" fmla="*/ 6 h 226"/>
                <a:gd name="T16" fmla="*/ 294 w 297"/>
                <a:gd name="T17" fmla="*/ 215 h 226"/>
                <a:gd name="T18" fmla="*/ 295 w 297"/>
                <a:gd name="T19" fmla="*/ 223 h 226"/>
                <a:gd name="T20" fmla="*/ 290 w 297"/>
                <a:gd name="T2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7" h="226">
                  <a:moveTo>
                    <a:pt x="290" y="226"/>
                  </a:moveTo>
                  <a:cubicBezTo>
                    <a:pt x="289" y="226"/>
                    <a:pt x="288" y="226"/>
                    <a:pt x="287" y="225"/>
                  </a:cubicBezTo>
                  <a:cubicBezTo>
                    <a:pt x="212" y="176"/>
                    <a:pt x="160" y="101"/>
                    <a:pt x="138" y="14"/>
                  </a:cubicBezTo>
                  <a:cubicBezTo>
                    <a:pt x="8" y="44"/>
                    <a:pt x="8" y="44"/>
                    <a:pt x="8" y="44"/>
                  </a:cubicBezTo>
                  <a:cubicBezTo>
                    <a:pt x="5" y="44"/>
                    <a:pt x="2" y="42"/>
                    <a:pt x="1" y="39"/>
                  </a:cubicBezTo>
                  <a:cubicBezTo>
                    <a:pt x="0" y="36"/>
                    <a:pt x="2" y="33"/>
                    <a:pt x="6" y="32"/>
                  </a:cubicBezTo>
                  <a:cubicBezTo>
                    <a:pt x="141" y="1"/>
                    <a:pt x="141" y="1"/>
                    <a:pt x="141" y="1"/>
                  </a:cubicBezTo>
                  <a:cubicBezTo>
                    <a:pt x="145" y="0"/>
                    <a:pt x="148" y="2"/>
                    <a:pt x="149" y="6"/>
                  </a:cubicBezTo>
                  <a:cubicBezTo>
                    <a:pt x="168" y="92"/>
                    <a:pt x="220" y="166"/>
                    <a:pt x="294" y="215"/>
                  </a:cubicBezTo>
                  <a:cubicBezTo>
                    <a:pt x="296" y="217"/>
                    <a:pt x="297" y="221"/>
                    <a:pt x="295" y="223"/>
                  </a:cubicBezTo>
                  <a:cubicBezTo>
                    <a:pt x="294" y="225"/>
                    <a:pt x="292" y="226"/>
                    <a:pt x="290" y="226"/>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 name="Group 4">
              <a:extLst>
                <a:ext uri="{FF2B5EF4-FFF2-40B4-BE49-F238E27FC236}">
                  <a16:creationId xmlns:a16="http://schemas.microsoft.com/office/drawing/2014/main" id="{E64CFAED-7B0F-4374-B7D9-FDF68EF64245}"/>
                </a:ext>
              </a:extLst>
            </p:cNvPr>
            <p:cNvGrpSpPr/>
            <p:nvPr/>
          </p:nvGrpSpPr>
          <p:grpSpPr>
            <a:xfrm>
              <a:off x="5825804" y="4502533"/>
              <a:ext cx="1087343" cy="454677"/>
              <a:chOff x="4025750" y="3693811"/>
              <a:chExt cx="836700" cy="349869"/>
            </a:xfrm>
            <a:solidFill>
              <a:schemeClr val="accent2">
                <a:lumMod val="50000"/>
              </a:schemeClr>
            </a:solidFill>
          </p:grpSpPr>
          <p:sp>
            <p:nvSpPr>
              <p:cNvPr id="6" name="Freeform 6">
                <a:extLst>
                  <a:ext uri="{FF2B5EF4-FFF2-40B4-BE49-F238E27FC236}">
                    <a16:creationId xmlns:a16="http://schemas.microsoft.com/office/drawing/2014/main" id="{F3C4D524-40C9-4898-BC30-2020533A9039}"/>
                  </a:ext>
                </a:extLst>
              </p:cNvPr>
              <p:cNvSpPr>
                <a:spLocks/>
              </p:cNvSpPr>
              <p:nvPr/>
            </p:nvSpPr>
            <p:spPr bwMode="auto">
              <a:xfrm>
                <a:off x="4025750" y="3693811"/>
                <a:ext cx="185518" cy="349869"/>
              </a:xfrm>
              <a:custGeom>
                <a:avLst/>
                <a:gdLst>
                  <a:gd name="T0" fmla="*/ 7 w 74"/>
                  <a:gd name="T1" fmla="*/ 139 h 139"/>
                  <a:gd name="T2" fmla="*/ 4 w 74"/>
                  <a:gd name="T3" fmla="*/ 138 h 139"/>
                  <a:gd name="T4" fmla="*/ 1 w 74"/>
                  <a:gd name="T5" fmla="*/ 130 h 139"/>
                  <a:gd name="T6" fmla="*/ 62 w 74"/>
                  <a:gd name="T7" fmla="*/ 5 h 139"/>
                  <a:gd name="T8" fmla="*/ 70 w 74"/>
                  <a:gd name="T9" fmla="*/ 2 h 139"/>
                  <a:gd name="T10" fmla="*/ 73 w 74"/>
                  <a:gd name="T11" fmla="*/ 10 h 139"/>
                  <a:gd name="T12" fmla="*/ 12 w 74"/>
                  <a:gd name="T13" fmla="*/ 135 h 139"/>
                  <a:gd name="T14" fmla="*/ 7 w 74"/>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39">
                    <a:moveTo>
                      <a:pt x="7" y="139"/>
                    </a:moveTo>
                    <a:cubicBezTo>
                      <a:pt x="6" y="139"/>
                      <a:pt x="5" y="138"/>
                      <a:pt x="4" y="138"/>
                    </a:cubicBezTo>
                    <a:cubicBezTo>
                      <a:pt x="1" y="137"/>
                      <a:pt x="0" y="133"/>
                      <a:pt x="1" y="130"/>
                    </a:cubicBezTo>
                    <a:cubicBezTo>
                      <a:pt x="62" y="5"/>
                      <a:pt x="62" y="5"/>
                      <a:pt x="62" y="5"/>
                    </a:cubicBezTo>
                    <a:cubicBezTo>
                      <a:pt x="63" y="2"/>
                      <a:pt x="67" y="0"/>
                      <a:pt x="70" y="2"/>
                    </a:cubicBezTo>
                    <a:cubicBezTo>
                      <a:pt x="73" y="3"/>
                      <a:pt x="74" y="7"/>
                      <a:pt x="73" y="10"/>
                    </a:cubicBezTo>
                    <a:cubicBezTo>
                      <a:pt x="12" y="135"/>
                      <a:pt x="12" y="135"/>
                      <a:pt x="12" y="135"/>
                    </a:cubicBezTo>
                    <a:cubicBezTo>
                      <a:pt x="11" y="137"/>
                      <a:pt x="9" y="139"/>
                      <a:pt x="7" y="1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7C539B79-69C8-43AB-B810-39D8175D50A0}"/>
                  </a:ext>
                </a:extLst>
              </p:cNvPr>
              <p:cNvSpPr>
                <a:spLocks/>
              </p:cNvSpPr>
              <p:nvPr/>
            </p:nvSpPr>
            <p:spPr bwMode="auto">
              <a:xfrm>
                <a:off x="4176406" y="3693811"/>
                <a:ext cx="686044" cy="120773"/>
              </a:xfrm>
              <a:custGeom>
                <a:avLst/>
                <a:gdLst>
                  <a:gd name="T0" fmla="*/ 158 w 273"/>
                  <a:gd name="T1" fmla="*/ 48 h 48"/>
                  <a:gd name="T2" fmla="*/ 5 w 273"/>
                  <a:gd name="T3" fmla="*/ 13 h 48"/>
                  <a:gd name="T4" fmla="*/ 2 w 273"/>
                  <a:gd name="T5" fmla="*/ 5 h 48"/>
                  <a:gd name="T6" fmla="*/ 10 w 273"/>
                  <a:gd name="T7" fmla="*/ 2 h 48"/>
                  <a:gd name="T8" fmla="*/ 264 w 273"/>
                  <a:gd name="T9" fmla="*/ 19 h 48"/>
                  <a:gd name="T10" fmla="*/ 272 w 273"/>
                  <a:gd name="T11" fmla="*/ 23 h 48"/>
                  <a:gd name="T12" fmla="*/ 268 w 273"/>
                  <a:gd name="T13" fmla="*/ 30 h 48"/>
                  <a:gd name="T14" fmla="*/ 158 w 273"/>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3" h="48">
                    <a:moveTo>
                      <a:pt x="158" y="48"/>
                    </a:moveTo>
                    <a:cubicBezTo>
                      <a:pt x="106" y="48"/>
                      <a:pt x="53" y="36"/>
                      <a:pt x="5" y="13"/>
                    </a:cubicBezTo>
                    <a:cubicBezTo>
                      <a:pt x="2" y="11"/>
                      <a:pt x="0" y="8"/>
                      <a:pt x="2" y="5"/>
                    </a:cubicBezTo>
                    <a:cubicBezTo>
                      <a:pt x="3" y="2"/>
                      <a:pt x="7" y="0"/>
                      <a:pt x="10" y="2"/>
                    </a:cubicBezTo>
                    <a:cubicBezTo>
                      <a:pt x="90" y="40"/>
                      <a:pt x="180" y="46"/>
                      <a:pt x="264" y="19"/>
                    </a:cubicBezTo>
                    <a:cubicBezTo>
                      <a:pt x="267" y="18"/>
                      <a:pt x="271" y="20"/>
                      <a:pt x="272" y="23"/>
                    </a:cubicBezTo>
                    <a:cubicBezTo>
                      <a:pt x="273" y="26"/>
                      <a:pt x="271" y="29"/>
                      <a:pt x="268" y="30"/>
                    </a:cubicBezTo>
                    <a:cubicBezTo>
                      <a:pt x="232" y="42"/>
                      <a:pt x="195" y="48"/>
                      <a:pt x="15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Freeform 8">
              <a:extLst>
                <a:ext uri="{FF2B5EF4-FFF2-40B4-BE49-F238E27FC236}">
                  <a16:creationId xmlns:a16="http://schemas.microsoft.com/office/drawing/2014/main" id="{B56A9206-EB38-430B-81DC-CE33A177A338}"/>
                </a:ext>
              </a:extLst>
            </p:cNvPr>
            <p:cNvSpPr>
              <a:spLocks/>
            </p:cNvSpPr>
            <p:nvPr/>
          </p:nvSpPr>
          <p:spPr bwMode="auto">
            <a:xfrm>
              <a:off x="7011860" y="3877957"/>
              <a:ext cx="614866" cy="1079252"/>
            </a:xfrm>
            <a:custGeom>
              <a:avLst/>
              <a:gdLst>
                <a:gd name="T0" fmla="*/ 67 w 188"/>
                <a:gd name="T1" fmla="*/ 330 h 330"/>
                <a:gd name="T2" fmla="*/ 62 w 188"/>
                <a:gd name="T3" fmla="*/ 326 h 330"/>
                <a:gd name="T4" fmla="*/ 1 w 188"/>
                <a:gd name="T5" fmla="*/ 201 h 330"/>
                <a:gd name="T6" fmla="*/ 4 w 188"/>
                <a:gd name="T7" fmla="*/ 193 h 330"/>
                <a:gd name="T8" fmla="*/ 176 w 188"/>
                <a:gd name="T9" fmla="*/ 5 h 330"/>
                <a:gd name="T10" fmla="*/ 184 w 188"/>
                <a:gd name="T11" fmla="*/ 1 h 330"/>
                <a:gd name="T12" fmla="*/ 187 w 188"/>
                <a:gd name="T13" fmla="*/ 9 h 330"/>
                <a:gd name="T14" fmla="*/ 15 w 188"/>
                <a:gd name="T15" fmla="*/ 201 h 330"/>
                <a:gd name="T16" fmla="*/ 72 w 188"/>
                <a:gd name="T17" fmla="*/ 321 h 330"/>
                <a:gd name="T18" fmla="*/ 70 w 188"/>
                <a:gd name="T19" fmla="*/ 329 h 330"/>
                <a:gd name="T20" fmla="*/ 67 w 188"/>
                <a:gd name="T21"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330">
                  <a:moveTo>
                    <a:pt x="67" y="330"/>
                  </a:moveTo>
                  <a:cubicBezTo>
                    <a:pt x="65" y="330"/>
                    <a:pt x="63" y="328"/>
                    <a:pt x="62" y="326"/>
                  </a:cubicBezTo>
                  <a:cubicBezTo>
                    <a:pt x="1" y="201"/>
                    <a:pt x="1" y="201"/>
                    <a:pt x="1" y="201"/>
                  </a:cubicBezTo>
                  <a:cubicBezTo>
                    <a:pt x="0" y="198"/>
                    <a:pt x="1" y="194"/>
                    <a:pt x="4" y="193"/>
                  </a:cubicBezTo>
                  <a:cubicBezTo>
                    <a:pt x="84" y="154"/>
                    <a:pt x="145" y="88"/>
                    <a:pt x="176" y="5"/>
                  </a:cubicBezTo>
                  <a:cubicBezTo>
                    <a:pt x="177" y="2"/>
                    <a:pt x="181" y="0"/>
                    <a:pt x="184" y="1"/>
                  </a:cubicBezTo>
                  <a:cubicBezTo>
                    <a:pt x="187" y="2"/>
                    <a:pt x="188" y="6"/>
                    <a:pt x="187" y="9"/>
                  </a:cubicBezTo>
                  <a:cubicBezTo>
                    <a:pt x="156" y="93"/>
                    <a:pt x="94" y="161"/>
                    <a:pt x="15" y="201"/>
                  </a:cubicBezTo>
                  <a:cubicBezTo>
                    <a:pt x="72" y="321"/>
                    <a:pt x="72" y="321"/>
                    <a:pt x="72" y="321"/>
                  </a:cubicBezTo>
                  <a:cubicBezTo>
                    <a:pt x="74" y="324"/>
                    <a:pt x="73" y="328"/>
                    <a:pt x="70" y="329"/>
                  </a:cubicBezTo>
                  <a:cubicBezTo>
                    <a:pt x="69" y="329"/>
                    <a:pt x="68" y="330"/>
                    <a:pt x="67" y="3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EDEBDFD1-597B-47D7-AFCC-68BC62B67915}"/>
                </a:ext>
              </a:extLst>
            </p:cNvPr>
            <p:cNvSpPr>
              <a:spLocks/>
            </p:cNvSpPr>
            <p:nvPr/>
          </p:nvSpPr>
          <p:spPr bwMode="auto">
            <a:xfrm>
              <a:off x="7495662" y="2892552"/>
              <a:ext cx="618103" cy="982168"/>
            </a:xfrm>
            <a:custGeom>
              <a:avLst/>
              <a:gdLst>
                <a:gd name="T0" fmla="*/ 183 w 189"/>
                <a:gd name="T1" fmla="*/ 300 h 300"/>
                <a:gd name="T2" fmla="*/ 181 w 189"/>
                <a:gd name="T3" fmla="*/ 300 h 300"/>
                <a:gd name="T4" fmla="*/ 46 w 189"/>
                <a:gd name="T5" fmla="*/ 269 h 300"/>
                <a:gd name="T6" fmla="*/ 42 w 189"/>
                <a:gd name="T7" fmla="*/ 266 h 300"/>
                <a:gd name="T8" fmla="*/ 41 w 189"/>
                <a:gd name="T9" fmla="*/ 261 h 300"/>
                <a:gd name="T10" fmla="*/ 1 w 189"/>
                <a:gd name="T11" fmla="*/ 10 h 300"/>
                <a:gd name="T12" fmla="*/ 3 w 189"/>
                <a:gd name="T13" fmla="*/ 2 h 300"/>
                <a:gd name="T14" fmla="*/ 12 w 189"/>
                <a:gd name="T15" fmla="*/ 4 h 300"/>
                <a:gd name="T16" fmla="*/ 54 w 189"/>
                <a:gd name="T17" fmla="*/ 258 h 300"/>
                <a:gd name="T18" fmla="*/ 184 w 189"/>
                <a:gd name="T19" fmla="*/ 288 h 300"/>
                <a:gd name="T20" fmla="*/ 189 w 189"/>
                <a:gd name="T21" fmla="*/ 295 h 300"/>
                <a:gd name="T22" fmla="*/ 183 w 189"/>
                <a:gd name="T23"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300">
                  <a:moveTo>
                    <a:pt x="183" y="300"/>
                  </a:moveTo>
                  <a:cubicBezTo>
                    <a:pt x="182" y="300"/>
                    <a:pt x="182" y="300"/>
                    <a:pt x="181" y="300"/>
                  </a:cubicBezTo>
                  <a:cubicBezTo>
                    <a:pt x="46" y="269"/>
                    <a:pt x="46" y="269"/>
                    <a:pt x="46" y="269"/>
                  </a:cubicBezTo>
                  <a:cubicBezTo>
                    <a:pt x="44" y="268"/>
                    <a:pt x="43" y="267"/>
                    <a:pt x="42" y="266"/>
                  </a:cubicBezTo>
                  <a:cubicBezTo>
                    <a:pt x="41" y="265"/>
                    <a:pt x="41" y="263"/>
                    <a:pt x="41" y="261"/>
                  </a:cubicBezTo>
                  <a:cubicBezTo>
                    <a:pt x="61" y="175"/>
                    <a:pt x="47" y="86"/>
                    <a:pt x="1" y="10"/>
                  </a:cubicBezTo>
                  <a:cubicBezTo>
                    <a:pt x="0" y="7"/>
                    <a:pt x="1" y="3"/>
                    <a:pt x="3" y="2"/>
                  </a:cubicBezTo>
                  <a:cubicBezTo>
                    <a:pt x="6" y="0"/>
                    <a:pt x="10" y="1"/>
                    <a:pt x="12" y="4"/>
                  </a:cubicBezTo>
                  <a:cubicBezTo>
                    <a:pt x="58" y="81"/>
                    <a:pt x="73" y="171"/>
                    <a:pt x="54" y="258"/>
                  </a:cubicBezTo>
                  <a:cubicBezTo>
                    <a:pt x="184" y="288"/>
                    <a:pt x="184" y="288"/>
                    <a:pt x="184" y="288"/>
                  </a:cubicBezTo>
                  <a:cubicBezTo>
                    <a:pt x="187" y="289"/>
                    <a:pt x="189" y="292"/>
                    <a:pt x="189" y="295"/>
                  </a:cubicBezTo>
                  <a:cubicBezTo>
                    <a:pt x="188" y="298"/>
                    <a:pt x="186" y="300"/>
                    <a:pt x="183" y="30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7FF9BAC8-526E-4C31-9C02-CDDBE39C1E40}"/>
                </a:ext>
              </a:extLst>
            </p:cNvPr>
            <p:cNvSpPr>
              <a:spLocks/>
            </p:cNvSpPr>
            <p:nvPr/>
          </p:nvSpPr>
          <p:spPr bwMode="auto">
            <a:xfrm>
              <a:off x="6672064" y="2348880"/>
              <a:ext cx="1134268" cy="457914"/>
            </a:xfrm>
            <a:custGeom>
              <a:avLst/>
              <a:gdLst>
                <a:gd name="T0" fmla="*/ 232 w 347"/>
                <a:gd name="T1" fmla="*/ 140 h 140"/>
                <a:gd name="T2" fmla="*/ 231 w 347"/>
                <a:gd name="T3" fmla="*/ 140 h 140"/>
                <a:gd name="T4" fmla="*/ 227 w 347"/>
                <a:gd name="T5" fmla="*/ 138 h 140"/>
                <a:gd name="T6" fmla="*/ 5 w 347"/>
                <a:gd name="T7" fmla="*/ 12 h 140"/>
                <a:gd name="T8" fmla="*/ 0 w 347"/>
                <a:gd name="T9" fmla="*/ 5 h 140"/>
                <a:gd name="T10" fmla="*/ 7 w 347"/>
                <a:gd name="T11" fmla="*/ 0 h 140"/>
                <a:gd name="T12" fmla="*/ 233 w 347"/>
                <a:gd name="T13" fmla="*/ 126 h 140"/>
                <a:gd name="T14" fmla="*/ 337 w 347"/>
                <a:gd name="T15" fmla="*/ 43 h 140"/>
                <a:gd name="T16" fmla="*/ 345 w 347"/>
                <a:gd name="T17" fmla="*/ 43 h 140"/>
                <a:gd name="T18" fmla="*/ 344 w 347"/>
                <a:gd name="T19" fmla="*/ 52 h 140"/>
                <a:gd name="T20" fmla="*/ 235 w 347"/>
                <a:gd name="T21" fmla="*/ 139 h 140"/>
                <a:gd name="T22" fmla="*/ 232 w 347"/>
                <a:gd name="T2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7" h="140">
                  <a:moveTo>
                    <a:pt x="232" y="140"/>
                  </a:moveTo>
                  <a:cubicBezTo>
                    <a:pt x="231" y="140"/>
                    <a:pt x="231" y="140"/>
                    <a:pt x="231" y="140"/>
                  </a:cubicBezTo>
                  <a:cubicBezTo>
                    <a:pt x="229" y="140"/>
                    <a:pt x="228" y="139"/>
                    <a:pt x="227" y="138"/>
                  </a:cubicBezTo>
                  <a:cubicBezTo>
                    <a:pt x="172" y="69"/>
                    <a:pt x="93" y="24"/>
                    <a:pt x="5" y="12"/>
                  </a:cubicBezTo>
                  <a:cubicBezTo>
                    <a:pt x="2" y="12"/>
                    <a:pt x="0" y="9"/>
                    <a:pt x="0" y="5"/>
                  </a:cubicBezTo>
                  <a:cubicBezTo>
                    <a:pt x="1" y="2"/>
                    <a:pt x="4" y="0"/>
                    <a:pt x="7" y="0"/>
                  </a:cubicBezTo>
                  <a:cubicBezTo>
                    <a:pt x="96" y="12"/>
                    <a:pt x="176" y="57"/>
                    <a:pt x="233" y="126"/>
                  </a:cubicBezTo>
                  <a:cubicBezTo>
                    <a:pt x="337" y="43"/>
                    <a:pt x="337" y="43"/>
                    <a:pt x="337" y="43"/>
                  </a:cubicBezTo>
                  <a:cubicBezTo>
                    <a:pt x="339" y="40"/>
                    <a:pt x="343" y="41"/>
                    <a:pt x="345" y="43"/>
                  </a:cubicBezTo>
                  <a:cubicBezTo>
                    <a:pt x="347" y="46"/>
                    <a:pt x="347" y="50"/>
                    <a:pt x="344" y="52"/>
                  </a:cubicBezTo>
                  <a:cubicBezTo>
                    <a:pt x="235" y="139"/>
                    <a:pt x="235" y="139"/>
                    <a:pt x="235" y="139"/>
                  </a:cubicBezTo>
                  <a:cubicBezTo>
                    <a:pt x="234" y="140"/>
                    <a:pt x="233" y="140"/>
                    <a:pt x="232" y="140"/>
                  </a:cubicBezTo>
                  <a:close/>
                </a:path>
              </a:pathLst>
            </a:custGeom>
            <a:solidFill>
              <a:schemeClr val="accent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B40133D2-F081-4E6F-AE7A-7D0C6FC55911}"/>
                </a:ext>
              </a:extLst>
            </p:cNvPr>
            <p:cNvSpPr>
              <a:spLocks/>
            </p:cNvSpPr>
            <p:nvPr/>
          </p:nvSpPr>
          <p:spPr bwMode="auto">
            <a:xfrm>
              <a:off x="5730347" y="1884494"/>
              <a:ext cx="826834" cy="812271"/>
            </a:xfrm>
            <a:custGeom>
              <a:avLst/>
              <a:gdLst>
                <a:gd name="T0" fmla="*/ 7 w 253"/>
                <a:gd name="T1" fmla="*/ 248 h 248"/>
                <a:gd name="T2" fmla="*/ 2 w 253"/>
                <a:gd name="T3" fmla="*/ 246 h 248"/>
                <a:gd name="T4" fmla="*/ 3 w 253"/>
                <a:gd name="T5" fmla="*/ 237 h 248"/>
                <a:gd name="T6" fmla="*/ 241 w 253"/>
                <a:gd name="T7" fmla="*/ 139 h 248"/>
                <a:gd name="T8" fmla="*/ 241 w 253"/>
                <a:gd name="T9" fmla="*/ 6 h 248"/>
                <a:gd name="T10" fmla="*/ 247 w 253"/>
                <a:gd name="T11" fmla="*/ 0 h 248"/>
                <a:gd name="T12" fmla="*/ 253 w 253"/>
                <a:gd name="T13" fmla="*/ 6 h 248"/>
                <a:gd name="T14" fmla="*/ 253 w 253"/>
                <a:gd name="T15" fmla="*/ 145 h 248"/>
                <a:gd name="T16" fmla="*/ 252 w 253"/>
                <a:gd name="T17" fmla="*/ 149 h 248"/>
                <a:gd name="T18" fmla="*/ 247 w 253"/>
                <a:gd name="T19" fmla="*/ 151 h 248"/>
                <a:gd name="T20" fmla="*/ 11 w 253"/>
                <a:gd name="T21" fmla="*/ 246 h 248"/>
                <a:gd name="T22" fmla="*/ 7 w 253"/>
                <a:gd name="T23"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3" h="248">
                  <a:moveTo>
                    <a:pt x="7" y="248"/>
                  </a:moveTo>
                  <a:cubicBezTo>
                    <a:pt x="5" y="248"/>
                    <a:pt x="4" y="247"/>
                    <a:pt x="2" y="246"/>
                  </a:cubicBezTo>
                  <a:cubicBezTo>
                    <a:pt x="0" y="243"/>
                    <a:pt x="0" y="239"/>
                    <a:pt x="3" y="237"/>
                  </a:cubicBezTo>
                  <a:cubicBezTo>
                    <a:pt x="67" y="175"/>
                    <a:pt x="152" y="141"/>
                    <a:pt x="241" y="139"/>
                  </a:cubicBezTo>
                  <a:cubicBezTo>
                    <a:pt x="241" y="6"/>
                    <a:pt x="241" y="6"/>
                    <a:pt x="241" y="6"/>
                  </a:cubicBezTo>
                  <a:cubicBezTo>
                    <a:pt x="241" y="2"/>
                    <a:pt x="244" y="0"/>
                    <a:pt x="247" y="0"/>
                  </a:cubicBezTo>
                  <a:cubicBezTo>
                    <a:pt x="251" y="0"/>
                    <a:pt x="253" y="2"/>
                    <a:pt x="253" y="6"/>
                  </a:cubicBezTo>
                  <a:cubicBezTo>
                    <a:pt x="253" y="145"/>
                    <a:pt x="253" y="145"/>
                    <a:pt x="253" y="145"/>
                  </a:cubicBezTo>
                  <a:cubicBezTo>
                    <a:pt x="253" y="147"/>
                    <a:pt x="253" y="148"/>
                    <a:pt x="252" y="149"/>
                  </a:cubicBezTo>
                  <a:cubicBezTo>
                    <a:pt x="250" y="150"/>
                    <a:pt x="249" y="151"/>
                    <a:pt x="247" y="151"/>
                  </a:cubicBezTo>
                  <a:cubicBezTo>
                    <a:pt x="159" y="151"/>
                    <a:pt x="75" y="185"/>
                    <a:pt x="11" y="246"/>
                  </a:cubicBezTo>
                  <a:cubicBezTo>
                    <a:pt x="10" y="247"/>
                    <a:pt x="8" y="248"/>
                    <a:pt x="7" y="2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8CB4F488-F08C-4E17-8BAD-442029A2F9CF}"/>
                </a:ext>
              </a:extLst>
            </p:cNvPr>
            <p:cNvSpPr>
              <a:spLocks/>
            </p:cNvSpPr>
            <p:nvPr/>
          </p:nvSpPr>
          <p:spPr bwMode="auto">
            <a:xfrm>
              <a:off x="5269197" y="2483181"/>
              <a:ext cx="399664" cy="1139122"/>
            </a:xfrm>
            <a:custGeom>
              <a:avLst/>
              <a:gdLst>
                <a:gd name="T0" fmla="*/ 41 w 122"/>
                <a:gd name="T1" fmla="*/ 348 h 348"/>
                <a:gd name="T2" fmla="*/ 35 w 122"/>
                <a:gd name="T3" fmla="*/ 342 h 348"/>
                <a:gd name="T4" fmla="*/ 108 w 122"/>
                <a:gd name="T5" fmla="*/ 94 h 348"/>
                <a:gd name="T6" fmla="*/ 3 w 122"/>
                <a:gd name="T7" fmla="*/ 11 h 348"/>
                <a:gd name="T8" fmla="*/ 2 w 122"/>
                <a:gd name="T9" fmla="*/ 3 h 348"/>
                <a:gd name="T10" fmla="*/ 11 w 122"/>
                <a:gd name="T11" fmla="*/ 2 h 348"/>
                <a:gd name="T12" fmla="*/ 120 w 122"/>
                <a:gd name="T13" fmla="*/ 88 h 348"/>
                <a:gd name="T14" fmla="*/ 122 w 122"/>
                <a:gd name="T15" fmla="*/ 93 h 348"/>
                <a:gd name="T16" fmla="*/ 121 w 122"/>
                <a:gd name="T17" fmla="*/ 97 h 348"/>
                <a:gd name="T18" fmla="*/ 47 w 122"/>
                <a:gd name="T19" fmla="*/ 341 h 348"/>
                <a:gd name="T20" fmla="*/ 42 w 122"/>
                <a:gd name="T21" fmla="*/ 347 h 348"/>
                <a:gd name="T22" fmla="*/ 41 w 122"/>
                <a:gd name="T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348">
                  <a:moveTo>
                    <a:pt x="41" y="348"/>
                  </a:moveTo>
                  <a:cubicBezTo>
                    <a:pt x="38" y="348"/>
                    <a:pt x="36" y="345"/>
                    <a:pt x="35" y="342"/>
                  </a:cubicBezTo>
                  <a:cubicBezTo>
                    <a:pt x="27" y="253"/>
                    <a:pt x="53" y="165"/>
                    <a:pt x="108" y="94"/>
                  </a:cubicBezTo>
                  <a:cubicBezTo>
                    <a:pt x="3" y="11"/>
                    <a:pt x="3" y="11"/>
                    <a:pt x="3" y="11"/>
                  </a:cubicBezTo>
                  <a:cubicBezTo>
                    <a:pt x="1" y="9"/>
                    <a:pt x="0" y="5"/>
                    <a:pt x="2" y="3"/>
                  </a:cubicBezTo>
                  <a:cubicBezTo>
                    <a:pt x="4" y="0"/>
                    <a:pt x="8" y="0"/>
                    <a:pt x="11" y="2"/>
                  </a:cubicBezTo>
                  <a:cubicBezTo>
                    <a:pt x="120" y="88"/>
                    <a:pt x="120" y="88"/>
                    <a:pt x="120" y="88"/>
                  </a:cubicBezTo>
                  <a:cubicBezTo>
                    <a:pt x="121" y="89"/>
                    <a:pt x="122" y="91"/>
                    <a:pt x="122" y="93"/>
                  </a:cubicBezTo>
                  <a:cubicBezTo>
                    <a:pt x="122" y="94"/>
                    <a:pt x="122" y="96"/>
                    <a:pt x="121" y="97"/>
                  </a:cubicBezTo>
                  <a:cubicBezTo>
                    <a:pt x="65" y="166"/>
                    <a:pt x="39" y="253"/>
                    <a:pt x="47" y="341"/>
                  </a:cubicBezTo>
                  <a:cubicBezTo>
                    <a:pt x="48" y="344"/>
                    <a:pt x="45" y="347"/>
                    <a:pt x="42" y="347"/>
                  </a:cubicBezTo>
                  <a:cubicBezTo>
                    <a:pt x="42" y="348"/>
                    <a:pt x="42" y="348"/>
                    <a:pt x="41" y="3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3">
              <a:extLst>
                <a:ext uri="{FF2B5EF4-FFF2-40B4-BE49-F238E27FC236}">
                  <a16:creationId xmlns:a16="http://schemas.microsoft.com/office/drawing/2014/main" id="{2B79395B-1A24-4095-A1C3-180F7CE03DA5}"/>
                </a:ext>
              </a:extLst>
            </p:cNvPr>
            <p:cNvSpPr>
              <a:spLocks/>
            </p:cNvSpPr>
            <p:nvPr/>
          </p:nvSpPr>
          <p:spPr bwMode="auto">
            <a:xfrm>
              <a:off x="4964999" y="3746893"/>
              <a:ext cx="176370" cy="156952"/>
            </a:xfrm>
            <a:custGeom>
              <a:avLst/>
              <a:gdLst>
                <a:gd name="T0" fmla="*/ 47 w 54"/>
                <a:gd name="T1" fmla="*/ 48 h 48"/>
                <a:gd name="T2" fmla="*/ 46 w 54"/>
                <a:gd name="T3" fmla="*/ 48 h 48"/>
                <a:gd name="T4" fmla="*/ 5 w 54"/>
                <a:gd name="T5" fmla="*/ 39 h 48"/>
                <a:gd name="T6" fmla="*/ 0 w 54"/>
                <a:gd name="T7" fmla="*/ 34 h 48"/>
                <a:gd name="T8" fmla="*/ 2 w 54"/>
                <a:gd name="T9" fmla="*/ 28 h 48"/>
                <a:gd name="T10" fmla="*/ 36 w 54"/>
                <a:gd name="T11" fmla="*/ 2 h 48"/>
                <a:gd name="T12" fmla="*/ 44 w 54"/>
                <a:gd name="T13" fmla="*/ 3 h 48"/>
                <a:gd name="T14" fmla="*/ 43 w 54"/>
                <a:gd name="T15" fmla="*/ 11 h 48"/>
                <a:gd name="T16" fmla="*/ 20 w 54"/>
                <a:gd name="T17" fmla="*/ 30 h 48"/>
                <a:gd name="T18" fmla="*/ 49 w 54"/>
                <a:gd name="T19" fmla="*/ 36 h 48"/>
                <a:gd name="T20" fmla="*/ 53 w 54"/>
                <a:gd name="T21" fmla="*/ 43 h 48"/>
                <a:gd name="T22" fmla="*/ 47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47" y="48"/>
                  </a:moveTo>
                  <a:cubicBezTo>
                    <a:pt x="47" y="48"/>
                    <a:pt x="47" y="48"/>
                    <a:pt x="46" y="48"/>
                  </a:cubicBezTo>
                  <a:cubicBezTo>
                    <a:pt x="5" y="39"/>
                    <a:pt x="5" y="39"/>
                    <a:pt x="5" y="39"/>
                  </a:cubicBezTo>
                  <a:cubicBezTo>
                    <a:pt x="2" y="38"/>
                    <a:pt x="1" y="36"/>
                    <a:pt x="0" y="34"/>
                  </a:cubicBezTo>
                  <a:cubicBezTo>
                    <a:pt x="0" y="32"/>
                    <a:pt x="0" y="30"/>
                    <a:pt x="2" y="28"/>
                  </a:cubicBezTo>
                  <a:cubicBezTo>
                    <a:pt x="36" y="2"/>
                    <a:pt x="36" y="2"/>
                    <a:pt x="36" y="2"/>
                  </a:cubicBezTo>
                  <a:cubicBezTo>
                    <a:pt x="38" y="0"/>
                    <a:pt x="42" y="0"/>
                    <a:pt x="44" y="3"/>
                  </a:cubicBezTo>
                  <a:cubicBezTo>
                    <a:pt x="46" y="6"/>
                    <a:pt x="46" y="9"/>
                    <a:pt x="43" y="11"/>
                  </a:cubicBezTo>
                  <a:cubicBezTo>
                    <a:pt x="20" y="30"/>
                    <a:pt x="20" y="30"/>
                    <a:pt x="20" y="30"/>
                  </a:cubicBezTo>
                  <a:cubicBezTo>
                    <a:pt x="49" y="36"/>
                    <a:pt x="49" y="36"/>
                    <a:pt x="49" y="36"/>
                  </a:cubicBezTo>
                  <a:cubicBezTo>
                    <a:pt x="52" y="37"/>
                    <a:pt x="54" y="40"/>
                    <a:pt x="53" y="43"/>
                  </a:cubicBezTo>
                  <a:cubicBezTo>
                    <a:pt x="53" y="46"/>
                    <a:pt x="50" y="48"/>
                    <a:pt x="47"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4">
              <a:extLst>
                <a:ext uri="{FF2B5EF4-FFF2-40B4-BE49-F238E27FC236}">
                  <a16:creationId xmlns:a16="http://schemas.microsoft.com/office/drawing/2014/main" id="{96235668-C2C4-47AF-B529-4A7F85BA4021}"/>
                </a:ext>
              </a:extLst>
            </p:cNvPr>
            <p:cNvSpPr>
              <a:spLocks/>
            </p:cNvSpPr>
            <p:nvPr/>
          </p:nvSpPr>
          <p:spPr bwMode="auto">
            <a:xfrm>
              <a:off x="5829049" y="4777605"/>
              <a:ext cx="148862" cy="179605"/>
            </a:xfrm>
            <a:custGeom>
              <a:avLst/>
              <a:gdLst>
                <a:gd name="T0" fmla="*/ 6 w 46"/>
                <a:gd name="T1" fmla="*/ 55 h 55"/>
                <a:gd name="T2" fmla="*/ 3 w 46"/>
                <a:gd name="T3" fmla="*/ 54 h 55"/>
                <a:gd name="T4" fmla="*/ 0 w 46"/>
                <a:gd name="T5" fmla="*/ 49 h 55"/>
                <a:gd name="T6" fmla="*/ 0 w 46"/>
                <a:gd name="T7" fmla="*/ 6 h 55"/>
                <a:gd name="T8" fmla="*/ 6 w 46"/>
                <a:gd name="T9" fmla="*/ 0 h 55"/>
                <a:gd name="T10" fmla="*/ 6 w 46"/>
                <a:gd name="T11" fmla="*/ 0 h 55"/>
                <a:gd name="T12" fmla="*/ 12 w 46"/>
                <a:gd name="T13" fmla="*/ 6 h 55"/>
                <a:gd name="T14" fmla="*/ 12 w 46"/>
                <a:gd name="T15" fmla="*/ 36 h 55"/>
                <a:gd name="T16" fmla="*/ 35 w 46"/>
                <a:gd name="T17" fmla="*/ 17 h 55"/>
                <a:gd name="T18" fmla="*/ 43 w 46"/>
                <a:gd name="T19" fmla="*/ 18 h 55"/>
                <a:gd name="T20" fmla="*/ 43 w 46"/>
                <a:gd name="T21" fmla="*/ 27 h 55"/>
                <a:gd name="T22" fmla="*/ 10 w 46"/>
                <a:gd name="T23" fmla="*/ 53 h 55"/>
                <a:gd name="T24" fmla="*/ 6 w 46"/>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5">
                  <a:moveTo>
                    <a:pt x="6" y="55"/>
                  </a:moveTo>
                  <a:cubicBezTo>
                    <a:pt x="5" y="55"/>
                    <a:pt x="4" y="54"/>
                    <a:pt x="3" y="54"/>
                  </a:cubicBezTo>
                  <a:cubicBezTo>
                    <a:pt x="1" y="53"/>
                    <a:pt x="0" y="51"/>
                    <a:pt x="0" y="49"/>
                  </a:cubicBezTo>
                  <a:cubicBezTo>
                    <a:pt x="0" y="6"/>
                    <a:pt x="0" y="6"/>
                    <a:pt x="0" y="6"/>
                  </a:cubicBezTo>
                  <a:cubicBezTo>
                    <a:pt x="0" y="3"/>
                    <a:pt x="3" y="0"/>
                    <a:pt x="6" y="0"/>
                  </a:cubicBezTo>
                  <a:cubicBezTo>
                    <a:pt x="6" y="0"/>
                    <a:pt x="6" y="0"/>
                    <a:pt x="6" y="0"/>
                  </a:cubicBezTo>
                  <a:cubicBezTo>
                    <a:pt x="9" y="0"/>
                    <a:pt x="12" y="3"/>
                    <a:pt x="12" y="6"/>
                  </a:cubicBezTo>
                  <a:cubicBezTo>
                    <a:pt x="12" y="36"/>
                    <a:pt x="12" y="36"/>
                    <a:pt x="12" y="36"/>
                  </a:cubicBezTo>
                  <a:cubicBezTo>
                    <a:pt x="35" y="17"/>
                    <a:pt x="35" y="17"/>
                    <a:pt x="35" y="17"/>
                  </a:cubicBezTo>
                  <a:cubicBezTo>
                    <a:pt x="38" y="15"/>
                    <a:pt x="41" y="16"/>
                    <a:pt x="43" y="18"/>
                  </a:cubicBezTo>
                  <a:cubicBezTo>
                    <a:pt x="46" y="21"/>
                    <a:pt x="45" y="25"/>
                    <a:pt x="43" y="27"/>
                  </a:cubicBezTo>
                  <a:cubicBezTo>
                    <a:pt x="10" y="53"/>
                    <a:pt x="10" y="53"/>
                    <a:pt x="10" y="53"/>
                  </a:cubicBezTo>
                  <a:cubicBezTo>
                    <a:pt x="9" y="54"/>
                    <a:pt x="7" y="55"/>
                    <a:pt x="6" y="5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6">
              <a:extLst>
                <a:ext uri="{FF2B5EF4-FFF2-40B4-BE49-F238E27FC236}">
                  <a16:creationId xmlns:a16="http://schemas.microsoft.com/office/drawing/2014/main" id="{A5F50408-C5BB-4E21-A69A-417ED4D7FEAB}"/>
                </a:ext>
              </a:extLst>
            </p:cNvPr>
            <p:cNvSpPr>
              <a:spLocks/>
            </p:cNvSpPr>
            <p:nvPr/>
          </p:nvSpPr>
          <p:spPr bwMode="auto">
            <a:xfrm>
              <a:off x="7937396" y="3746893"/>
              <a:ext cx="176370" cy="156952"/>
            </a:xfrm>
            <a:custGeom>
              <a:avLst/>
              <a:gdLst>
                <a:gd name="T0" fmla="*/ 6 w 54"/>
                <a:gd name="T1" fmla="*/ 48 h 48"/>
                <a:gd name="T2" fmla="*/ 1 w 54"/>
                <a:gd name="T3" fmla="*/ 43 h 48"/>
                <a:gd name="T4" fmla="*/ 5 w 54"/>
                <a:gd name="T5" fmla="*/ 36 h 48"/>
                <a:gd name="T6" fmla="*/ 34 w 54"/>
                <a:gd name="T7" fmla="*/ 30 h 48"/>
                <a:gd name="T8" fmla="*/ 11 w 54"/>
                <a:gd name="T9" fmla="*/ 11 h 48"/>
                <a:gd name="T10" fmla="*/ 10 w 54"/>
                <a:gd name="T11" fmla="*/ 3 h 48"/>
                <a:gd name="T12" fmla="*/ 18 w 54"/>
                <a:gd name="T13" fmla="*/ 2 h 48"/>
                <a:gd name="T14" fmla="*/ 52 w 54"/>
                <a:gd name="T15" fmla="*/ 28 h 48"/>
                <a:gd name="T16" fmla="*/ 54 w 54"/>
                <a:gd name="T17" fmla="*/ 34 h 48"/>
                <a:gd name="T18" fmla="*/ 49 w 54"/>
                <a:gd name="T19" fmla="*/ 39 h 48"/>
                <a:gd name="T20" fmla="*/ 8 w 54"/>
                <a:gd name="T21" fmla="*/ 48 h 48"/>
                <a:gd name="T22" fmla="*/ 6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6" y="48"/>
                  </a:moveTo>
                  <a:cubicBezTo>
                    <a:pt x="4" y="48"/>
                    <a:pt x="1" y="46"/>
                    <a:pt x="1" y="43"/>
                  </a:cubicBezTo>
                  <a:cubicBezTo>
                    <a:pt x="0" y="40"/>
                    <a:pt x="2" y="37"/>
                    <a:pt x="5" y="36"/>
                  </a:cubicBezTo>
                  <a:cubicBezTo>
                    <a:pt x="34" y="30"/>
                    <a:pt x="34" y="30"/>
                    <a:pt x="34" y="30"/>
                  </a:cubicBezTo>
                  <a:cubicBezTo>
                    <a:pt x="11" y="11"/>
                    <a:pt x="11" y="11"/>
                    <a:pt x="11" y="11"/>
                  </a:cubicBezTo>
                  <a:cubicBezTo>
                    <a:pt x="8" y="9"/>
                    <a:pt x="8" y="5"/>
                    <a:pt x="10" y="3"/>
                  </a:cubicBezTo>
                  <a:cubicBezTo>
                    <a:pt x="12" y="0"/>
                    <a:pt x="16" y="0"/>
                    <a:pt x="18" y="2"/>
                  </a:cubicBezTo>
                  <a:cubicBezTo>
                    <a:pt x="52" y="28"/>
                    <a:pt x="52" y="28"/>
                    <a:pt x="52" y="28"/>
                  </a:cubicBezTo>
                  <a:cubicBezTo>
                    <a:pt x="53" y="29"/>
                    <a:pt x="54" y="32"/>
                    <a:pt x="54" y="34"/>
                  </a:cubicBezTo>
                  <a:cubicBezTo>
                    <a:pt x="53" y="36"/>
                    <a:pt x="51" y="38"/>
                    <a:pt x="49" y="39"/>
                  </a:cubicBezTo>
                  <a:cubicBezTo>
                    <a:pt x="8" y="48"/>
                    <a:pt x="8" y="48"/>
                    <a:pt x="8" y="48"/>
                  </a:cubicBezTo>
                  <a:cubicBezTo>
                    <a:pt x="7" y="48"/>
                    <a:pt x="7" y="48"/>
                    <a:pt x="6"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7">
              <a:extLst>
                <a:ext uri="{FF2B5EF4-FFF2-40B4-BE49-F238E27FC236}">
                  <a16:creationId xmlns:a16="http://schemas.microsoft.com/office/drawing/2014/main" id="{3738B4F9-0124-46A0-853E-9F72C3BC3170}"/>
                </a:ext>
              </a:extLst>
            </p:cNvPr>
            <p:cNvSpPr>
              <a:spLocks/>
            </p:cNvSpPr>
            <p:nvPr/>
          </p:nvSpPr>
          <p:spPr bwMode="auto">
            <a:xfrm>
              <a:off x="7629962" y="2483181"/>
              <a:ext cx="176370" cy="163425"/>
            </a:xfrm>
            <a:custGeom>
              <a:avLst/>
              <a:gdLst>
                <a:gd name="T0" fmla="*/ 29 w 54"/>
                <a:gd name="T1" fmla="*/ 50 h 50"/>
                <a:gd name="T2" fmla="*/ 26 w 54"/>
                <a:gd name="T3" fmla="*/ 50 h 50"/>
                <a:gd name="T4" fmla="*/ 24 w 54"/>
                <a:gd name="T5" fmla="*/ 42 h 50"/>
                <a:gd name="T6" fmla="*/ 37 w 54"/>
                <a:gd name="T7" fmla="*/ 15 h 50"/>
                <a:gd name="T8" fmla="*/ 8 w 54"/>
                <a:gd name="T9" fmla="*/ 22 h 50"/>
                <a:gd name="T10" fmla="*/ 0 w 54"/>
                <a:gd name="T11" fmla="*/ 17 h 50"/>
                <a:gd name="T12" fmla="*/ 5 w 54"/>
                <a:gd name="T13" fmla="*/ 10 h 50"/>
                <a:gd name="T14" fmla="*/ 46 w 54"/>
                <a:gd name="T15" fmla="*/ 0 h 50"/>
                <a:gd name="T16" fmla="*/ 52 w 54"/>
                <a:gd name="T17" fmla="*/ 2 h 50"/>
                <a:gd name="T18" fmla="*/ 53 w 54"/>
                <a:gd name="T19" fmla="*/ 9 h 50"/>
                <a:gd name="T20" fmla="*/ 34 w 54"/>
                <a:gd name="T21" fmla="*/ 47 h 50"/>
                <a:gd name="T22" fmla="*/ 29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9" y="50"/>
                  </a:moveTo>
                  <a:cubicBezTo>
                    <a:pt x="28" y="50"/>
                    <a:pt x="27" y="50"/>
                    <a:pt x="26" y="50"/>
                  </a:cubicBezTo>
                  <a:cubicBezTo>
                    <a:pt x="23" y="48"/>
                    <a:pt x="22" y="45"/>
                    <a:pt x="24" y="42"/>
                  </a:cubicBezTo>
                  <a:cubicBezTo>
                    <a:pt x="37" y="15"/>
                    <a:pt x="37" y="15"/>
                    <a:pt x="37" y="15"/>
                  </a:cubicBezTo>
                  <a:cubicBezTo>
                    <a:pt x="8" y="22"/>
                    <a:pt x="8" y="22"/>
                    <a:pt x="8" y="22"/>
                  </a:cubicBezTo>
                  <a:cubicBezTo>
                    <a:pt x="4" y="23"/>
                    <a:pt x="1" y="21"/>
                    <a:pt x="0" y="17"/>
                  </a:cubicBezTo>
                  <a:cubicBezTo>
                    <a:pt x="0" y="14"/>
                    <a:pt x="2" y="11"/>
                    <a:pt x="5" y="10"/>
                  </a:cubicBezTo>
                  <a:cubicBezTo>
                    <a:pt x="46" y="0"/>
                    <a:pt x="46" y="0"/>
                    <a:pt x="46" y="0"/>
                  </a:cubicBezTo>
                  <a:cubicBezTo>
                    <a:pt x="48" y="0"/>
                    <a:pt x="51" y="1"/>
                    <a:pt x="52" y="2"/>
                  </a:cubicBezTo>
                  <a:cubicBezTo>
                    <a:pt x="54" y="4"/>
                    <a:pt x="54" y="7"/>
                    <a:pt x="53" y="9"/>
                  </a:cubicBezTo>
                  <a:cubicBezTo>
                    <a:pt x="34" y="47"/>
                    <a:pt x="34" y="47"/>
                    <a:pt x="34" y="47"/>
                  </a:cubicBezTo>
                  <a:cubicBezTo>
                    <a:pt x="33" y="49"/>
                    <a:pt x="31" y="50"/>
                    <a:pt x="29" y="5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8">
              <a:extLst>
                <a:ext uri="{FF2B5EF4-FFF2-40B4-BE49-F238E27FC236}">
                  <a16:creationId xmlns:a16="http://schemas.microsoft.com/office/drawing/2014/main" id="{2BD0D3FB-88AB-4397-A897-BCA37ECE6052}"/>
                </a:ext>
              </a:extLst>
            </p:cNvPr>
            <p:cNvSpPr>
              <a:spLocks/>
            </p:cNvSpPr>
            <p:nvPr/>
          </p:nvSpPr>
          <p:spPr bwMode="auto">
            <a:xfrm>
              <a:off x="6455244" y="1884494"/>
              <a:ext cx="165043" cy="166661"/>
            </a:xfrm>
            <a:custGeom>
              <a:avLst/>
              <a:gdLst>
                <a:gd name="T0" fmla="*/ 7 w 50"/>
                <a:gd name="T1" fmla="*/ 50 h 51"/>
                <a:gd name="T2" fmla="*/ 5 w 50"/>
                <a:gd name="T3" fmla="*/ 49 h 51"/>
                <a:gd name="T4" fmla="*/ 2 w 50"/>
                <a:gd name="T5" fmla="*/ 41 h 51"/>
                <a:gd name="T6" fmla="*/ 20 w 50"/>
                <a:gd name="T7" fmla="*/ 3 h 51"/>
                <a:gd name="T8" fmla="*/ 25 w 50"/>
                <a:gd name="T9" fmla="*/ 0 h 51"/>
                <a:gd name="T10" fmla="*/ 31 w 50"/>
                <a:gd name="T11" fmla="*/ 3 h 51"/>
                <a:gd name="T12" fmla="*/ 49 w 50"/>
                <a:gd name="T13" fmla="*/ 41 h 51"/>
                <a:gd name="T14" fmla="*/ 46 w 50"/>
                <a:gd name="T15" fmla="*/ 49 h 51"/>
                <a:gd name="T16" fmla="*/ 38 w 50"/>
                <a:gd name="T17" fmla="*/ 47 h 51"/>
                <a:gd name="T18" fmla="*/ 25 w 50"/>
                <a:gd name="T19" fmla="*/ 20 h 51"/>
                <a:gd name="T20" fmla="*/ 13 w 50"/>
                <a:gd name="T21" fmla="*/ 47 h 51"/>
                <a:gd name="T22" fmla="*/ 7 w 50"/>
                <a:gd name="T23"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1">
                  <a:moveTo>
                    <a:pt x="7" y="50"/>
                  </a:moveTo>
                  <a:cubicBezTo>
                    <a:pt x="6" y="50"/>
                    <a:pt x="5" y="50"/>
                    <a:pt x="5" y="49"/>
                  </a:cubicBezTo>
                  <a:cubicBezTo>
                    <a:pt x="2" y="48"/>
                    <a:pt x="0" y="44"/>
                    <a:pt x="2" y="41"/>
                  </a:cubicBezTo>
                  <a:cubicBezTo>
                    <a:pt x="20" y="3"/>
                    <a:pt x="20" y="3"/>
                    <a:pt x="20" y="3"/>
                  </a:cubicBezTo>
                  <a:cubicBezTo>
                    <a:pt x="21" y="1"/>
                    <a:pt x="23" y="0"/>
                    <a:pt x="25" y="0"/>
                  </a:cubicBezTo>
                  <a:cubicBezTo>
                    <a:pt x="28" y="0"/>
                    <a:pt x="30" y="1"/>
                    <a:pt x="31" y="3"/>
                  </a:cubicBezTo>
                  <a:cubicBezTo>
                    <a:pt x="49" y="41"/>
                    <a:pt x="49" y="41"/>
                    <a:pt x="49" y="41"/>
                  </a:cubicBezTo>
                  <a:cubicBezTo>
                    <a:pt x="50" y="44"/>
                    <a:pt x="49" y="48"/>
                    <a:pt x="46" y="49"/>
                  </a:cubicBezTo>
                  <a:cubicBezTo>
                    <a:pt x="43" y="51"/>
                    <a:pt x="39" y="50"/>
                    <a:pt x="38" y="47"/>
                  </a:cubicBezTo>
                  <a:cubicBezTo>
                    <a:pt x="25" y="20"/>
                    <a:pt x="25" y="20"/>
                    <a:pt x="25" y="20"/>
                  </a:cubicBezTo>
                  <a:cubicBezTo>
                    <a:pt x="13" y="47"/>
                    <a:pt x="13" y="47"/>
                    <a:pt x="13" y="47"/>
                  </a:cubicBezTo>
                  <a:cubicBezTo>
                    <a:pt x="12" y="49"/>
                    <a:pt x="9" y="50"/>
                    <a:pt x="7" y="5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9">
              <a:extLst>
                <a:ext uri="{FF2B5EF4-FFF2-40B4-BE49-F238E27FC236}">
                  <a16:creationId xmlns:a16="http://schemas.microsoft.com/office/drawing/2014/main" id="{0FE27C37-CA88-443D-848B-BAE25BFB3356}"/>
                </a:ext>
              </a:extLst>
            </p:cNvPr>
            <p:cNvSpPr>
              <a:spLocks/>
            </p:cNvSpPr>
            <p:nvPr/>
          </p:nvSpPr>
          <p:spPr bwMode="auto">
            <a:xfrm>
              <a:off x="5272433" y="2483181"/>
              <a:ext cx="176370" cy="163425"/>
            </a:xfrm>
            <a:custGeom>
              <a:avLst/>
              <a:gdLst>
                <a:gd name="T0" fmla="*/ 25 w 54"/>
                <a:gd name="T1" fmla="*/ 50 h 50"/>
                <a:gd name="T2" fmla="*/ 19 w 54"/>
                <a:gd name="T3" fmla="*/ 47 h 50"/>
                <a:gd name="T4" fmla="*/ 1 w 54"/>
                <a:gd name="T5" fmla="*/ 9 h 50"/>
                <a:gd name="T6" fmla="*/ 1 w 54"/>
                <a:gd name="T7" fmla="*/ 3 h 50"/>
                <a:gd name="T8" fmla="*/ 7 w 54"/>
                <a:gd name="T9" fmla="*/ 1 h 50"/>
                <a:gd name="T10" fmla="*/ 49 w 54"/>
                <a:gd name="T11" fmla="*/ 10 h 50"/>
                <a:gd name="T12" fmla="*/ 53 w 54"/>
                <a:gd name="T13" fmla="*/ 17 h 50"/>
                <a:gd name="T14" fmla="*/ 46 w 54"/>
                <a:gd name="T15" fmla="*/ 22 h 50"/>
                <a:gd name="T16" fmla="*/ 17 w 54"/>
                <a:gd name="T17" fmla="*/ 15 h 50"/>
                <a:gd name="T18" fmla="*/ 30 w 54"/>
                <a:gd name="T19" fmla="*/ 42 h 50"/>
                <a:gd name="T20" fmla="*/ 27 w 54"/>
                <a:gd name="T21" fmla="*/ 50 h 50"/>
                <a:gd name="T22" fmla="*/ 25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5" y="50"/>
                  </a:moveTo>
                  <a:cubicBezTo>
                    <a:pt x="23" y="50"/>
                    <a:pt x="20" y="49"/>
                    <a:pt x="19" y="47"/>
                  </a:cubicBezTo>
                  <a:cubicBezTo>
                    <a:pt x="1" y="9"/>
                    <a:pt x="1" y="9"/>
                    <a:pt x="1" y="9"/>
                  </a:cubicBezTo>
                  <a:cubicBezTo>
                    <a:pt x="0" y="7"/>
                    <a:pt x="0" y="4"/>
                    <a:pt x="1" y="3"/>
                  </a:cubicBezTo>
                  <a:cubicBezTo>
                    <a:pt x="3" y="1"/>
                    <a:pt x="5" y="0"/>
                    <a:pt x="7" y="1"/>
                  </a:cubicBezTo>
                  <a:cubicBezTo>
                    <a:pt x="49" y="10"/>
                    <a:pt x="49" y="10"/>
                    <a:pt x="49" y="10"/>
                  </a:cubicBezTo>
                  <a:cubicBezTo>
                    <a:pt x="52" y="11"/>
                    <a:pt x="54" y="14"/>
                    <a:pt x="53" y="17"/>
                  </a:cubicBezTo>
                  <a:cubicBezTo>
                    <a:pt x="52" y="21"/>
                    <a:pt x="49" y="23"/>
                    <a:pt x="46" y="22"/>
                  </a:cubicBezTo>
                  <a:cubicBezTo>
                    <a:pt x="17" y="15"/>
                    <a:pt x="17" y="15"/>
                    <a:pt x="17" y="15"/>
                  </a:cubicBezTo>
                  <a:cubicBezTo>
                    <a:pt x="30" y="42"/>
                    <a:pt x="30" y="42"/>
                    <a:pt x="30" y="42"/>
                  </a:cubicBezTo>
                  <a:cubicBezTo>
                    <a:pt x="32" y="45"/>
                    <a:pt x="30" y="48"/>
                    <a:pt x="27" y="50"/>
                  </a:cubicBezTo>
                  <a:cubicBezTo>
                    <a:pt x="27" y="50"/>
                    <a:pt x="26" y="50"/>
                    <a:pt x="25"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2">
              <a:extLst>
                <a:ext uri="{FF2B5EF4-FFF2-40B4-BE49-F238E27FC236}">
                  <a16:creationId xmlns:a16="http://schemas.microsoft.com/office/drawing/2014/main" id="{6E19C658-9EC2-40C2-B241-23248250FFAC}"/>
                </a:ext>
              </a:extLst>
            </p:cNvPr>
            <p:cNvSpPr>
              <a:spLocks/>
            </p:cNvSpPr>
            <p:nvPr/>
          </p:nvSpPr>
          <p:spPr bwMode="auto">
            <a:xfrm>
              <a:off x="5527764" y="2483353"/>
              <a:ext cx="2042457" cy="2044344"/>
            </a:xfrm>
            <a:custGeom>
              <a:avLst/>
              <a:gdLst>
                <a:gd name="T0" fmla="*/ 909 w 3233"/>
                <a:gd name="T1" fmla="*/ 391 h 3233"/>
                <a:gd name="T2" fmla="*/ 2843 w 3233"/>
                <a:gd name="T3" fmla="*/ 909 h 3233"/>
                <a:gd name="T4" fmla="*/ 2325 w 3233"/>
                <a:gd name="T5" fmla="*/ 2842 h 3233"/>
                <a:gd name="T6" fmla="*/ 391 w 3233"/>
                <a:gd name="T7" fmla="*/ 2324 h 3233"/>
                <a:gd name="T8" fmla="*/ 909 w 3233"/>
                <a:gd name="T9" fmla="*/ 391 h 3233"/>
              </a:gdLst>
              <a:ahLst/>
              <a:cxnLst>
                <a:cxn ang="0">
                  <a:pos x="T0" y="T1"/>
                </a:cxn>
                <a:cxn ang="0">
                  <a:pos x="T2" y="T3"/>
                </a:cxn>
                <a:cxn ang="0">
                  <a:pos x="T4" y="T5"/>
                </a:cxn>
                <a:cxn ang="0">
                  <a:pos x="T6" y="T7"/>
                </a:cxn>
                <a:cxn ang="0">
                  <a:pos x="T8" y="T9"/>
                </a:cxn>
              </a:cxnLst>
              <a:rect l="0" t="0" r="r" b="b"/>
              <a:pathLst>
                <a:path w="3233" h="3233">
                  <a:moveTo>
                    <a:pt x="909" y="391"/>
                  </a:moveTo>
                  <a:cubicBezTo>
                    <a:pt x="1586" y="0"/>
                    <a:pt x="2452" y="232"/>
                    <a:pt x="2843" y="909"/>
                  </a:cubicBezTo>
                  <a:cubicBezTo>
                    <a:pt x="3233" y="1586"/>
                    <a:pt x="3001" y="2452"/>
                    <a:pt x="2325" y="2842"/>
                  </a:cubicBezTo>
                  <a:cubicBezTo>
                    <a:pt x="1648" y="3233"/>
                    <a:pt x="782" y="3001"/>
                    <a:pt x="391" y="2324"/>
                  </a:cubicBezTo>
                  <a:cubicBezTo>
                    <a:pt x="0" y="1648"/>
                    <a:pt x="232" y="782"/>
                    <a:pt x="909" y="391"/>
                  </a:cubicBezTo>
                  <a:close/>
                </a:path>
              </a:pathLst>
            </a:custGeom>
            <a:solidFill>
              <a:schemeClr val="bg1"/>
            </a:solidFill>
            <a:ln>
              <a:noFill/>
            </a:ln>
            <a:effectLst/>
          </p:spPr>
          <p:txBody>
            <a:bodyPr vert="horz" wrap="square" lIns="91440" tIns="45720" rIns="91440" bIns="45720" numCol="1" anchor="ctr" anchorCtr="0" compatLnSpc="1">
              <a:prstTxWarp prst="textNoShape">
                <a:avLst/>
              </a:prstTxWarp>
            </a:bodyPr>
            <a:lstStyle/>
            <a:p>
              <a:pPr algn="ctr"/>
              <a:endParaRPr lang="en-US" b="1">
                <a:solidFill>
                  <a:schemeClr val="accent1"/>
                </a:solidFill>
              </a:endParaRPr>
            </a:p>
          </p:txBody>
        </p:sp>
        <p:sp>
          <p:nvSpPr>
            <p:cNvPr id="20" name="Oval 19">
              <a:extLst>
                <a:ext uri="{FF2B5EF4-FFF2-40B4-BE49-F238E27FC236}">
                  <a16:creationId xmlns:a16="http://schemas.microsoft.com/office/drawing/2014/main" id="{92EF6745-8D81-45CC-B19E-40AEA3189173}"/>
                </a:ext>
              </a:extLst>
            </p:cNvPr>
            <p:cNvSpPr/>
            <p:nvPr/>
          </p:nvSpPr>
          <p:spPr bwMode="auto">
            <a:xfrm>
              <a:off x="6199009" y="1530885"/>
              <a:ext cx="620567" cy="620567"/>
            </a:xfrm>
            <a:prstGeom prst="ellipse">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1" name="Oval 20">
              <a:extLst>
                <a:ext uri="{FF2B5EF4-FFF2-40B4-BE49-F238E27FC236}">
                  <a16:creationId xmlns:a16="http://schemas.microsoft.com/office/drawing/2014/main" id="{60D72E11-FD56-4294-8267-E0CF3FD70572}"/>
                </a:ext>
              </a:extLst>
            </p:cNvPr>
            <p:cNvSpPr/>
            <p:nvPr/>
          </p:nvSpPr>
          <p:spPr bwMode="auto">
            <a:xfrm>
              <a:off x="7565577" y="2158055"/>
              <a:ext cx="620567" cy="620567"/>
            </a:xfrm>
            <a:prstGeom prst="ellipse">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2" name="Oval 21">
              <a:extLst>
                <a:ext uri="{FF2B5EF4-FFF2-40B4-BE49-F238E27FC236}">
                  <a16:creationId xmlns:a16="http://schemas.microsoft.com/office/drawing/2014/main" id="{CB952DC0-AD87-4599-9508-78635B9310C0}"/>
                </a:ext>
              </a:extLst>
            </p:cNvPr>
            <p:cNvSpPr/>
            <p:nvPr/>
          </p:nvSpPr>
          <p:spPr bwMode="auto">
            <a:xfrm>
              <a:off x="7869259" y="3557632"/>
              <a:ext cx="620567" cy="620567"/>
            </a:xfrm>
            <a:prstGeom prst="ellipse">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3" name="Oval 22">
              <a:extLst>
                <a:ext uri="{FF2B5EF4-FFF2-40B4-BE49-F238E27FC236}">
                  <a16:creationId xmlns:a16="http://schemas.microsoft.com/office/drawing/2014/main" id="{124A0628-2086-4535-B0FB-A28D70B6A068}"/>
                </a:ext>
              </a:extLst>
            </p:cNvPr>
            <p:cNvSpPr/>
            <p:nvPr/>
          </p:nvSpPr>
          <p:spPr bwMode="auto">
            <a:xfrm>
              <a:off x="6951612" y="4712944"/>
              <a:ext cx="620567" cy="620567"/>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4" name="Oval 23">
              <a:extLst>
                <a:ext uri="{FF2B5EF4-FFF2-40B4-BE49-F238E27FC236}">
                  <a16:creationId xmlns:a16="http://schemas.microsoft.com/office/drawing/2014/main" id="{8AA786AD-3DC8-473C-BC6C-3090A2DE1239}"/>
                </a:ext>
              </a:extLst>
            </p:cNvPr>
            <p:cNvSpPr/>
            <p:nvPr/>
          </p:nvSpPr>
          <p:spPr bwMode="auto">
            <a:xfrm>
              <a:off x="5505822" y="4699740"/>
              <a:ext cx="620567" cy="620567"/>
            </a:xfrm>
            <a:prstGeom prst="ellipse">
              <a:avLst/>
            </a:prstGeom>
            <a:solidFill>
              <a:schemeClr val="accent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5" name="Oval 24">
              <a:extLst>
                <a:ext uri="{FF2B5EF4-FFF2-40B4-BE49-F238E27FC236}">
                  <a16:creationId xmlns:a16="http://schemas.microsoft.com/office/drawing/2014/main" id="{152D96B1-75BB-4CD9-AC7B-F009641CCDFC}"/>
                </a:ext>
              </a:extLst>
            </p:cNvPr>
            <p:cNvSpPr/>
            <p:nvPr/>
          </p:nvSpPr>
          <p:spPr bwMode="auto">
            <a:xfrm>
              <a:off x="4574971" y="3570836"/>
              <a:ext cx="620567" cy="620567"/>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6" name="Oval 25">
              <a:extLst>
                <a:ext uri="{FF2B5EF4-FFF2-40B4-BE49-F238E27FC236}">
                  <a16:creationId xmlns:a16="http://schemas.microsoft.com/office/drawing/2014/main" id="{E5EB8978-5638-48D6-B978-0A0B7FFE5012}"/>
                </a:ext>
              </a:extLst>
            </p:cNvPr>
            <p:cNvSpPr/>
            <p:nvPr/>
          </p:nvSpPr>
          <p:spPr bwMode="auto">
            <a:xfrm>
              <a:off x="4885254" y="2144851"/>
              <a:ext cx="620567" cy="620567"/>
            </a:xfrm>
            <a:prstGeom prst="ellipse">
              <a:avLst/>
            </a:prstGeom>
            <a:solidFill>
              <a:schemeClr val="tx2">
                <a:lumMod val="90000"/>
                <a:lumOff val="1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grpSp>
          <p:nvGrpSpPr>
            <p:cNvPr id="27" name="Group 26">
              <a:extLst>
                <a:ext uri="{FF2B5EF4-FFF2-40B4-BE49-F238E27FC236}">
                  <a16:creationId xmlns:a16="http://schemas.microsoft.com/office/drawing/2014/main" id="{E49C0E02-75DC-4F66-9252-E03A1DB306A9}"/>
                </a:ext>
              </a:extLst>
            </p:cNvPr>
            <p:cNvGrpSpPr/>
            <p:nvPr/>
          </p:nvGrpSpPr>
          <p:grpSpPr>
            <a:xfrm>
              <a:off x="6349842" y="1678797"/>
              <a:ext cx="322222" cy="324753"/>
              <a:chOff x="724687" y="1783992"/>
              <a:chExt cx="366745" cy="369625"/>
            </a:xfrm>
            <a:solidFill>
              <a:schemeClr val="bg1"/>
            </a:solidFill>
          </p:grpSpPr>
          <p:sp>
            <p:nvSpPr>
              <p:cNvPr id="28" name="Rectangle 27">
                <a:extLst>
                  <a:ext uri="{FF2B5EF4-FFF2-40B4-BE49-F238E27FC236}">
                    <a16:creationId xmlns:a16="http://schemas.microsoft.com/office/drawing/2014/main" id="{2D3510DD-806D-4CF8-9777-FE7E8ADA4B74}"/>
                  </a:ext>
                </a:extLst>
              </p:cNvPr>
              <p:cNvSpPr/>
              <p:nvPr/>
            </p:nvSpPr>
            <p:spPr bwMode="auto">
              <a:xfrm>
                <a:off x="724687" y="1783992"/>
                <a:ext cx="180000" cy="180000"/>
              </a:xfrm>
              <a:prstGeom prst="rect">
                <a:avLst/>
              </a:prstGeom>
              <a:no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Arial" charset="0"/>
                </a:endParaRPr>
              </a:p>
            </p:txBody>
          </p:sp>
          <p:sp>
            <p:nvSpPr>
              <p:cNvPr id="29" name="Rectangle 28">
                <a:extLst>
                  <a:ext uri="{FF2B5EF4-FFF2-40B4-BE49-F238E27FC236}">
                    <a16:creationId xmlns:a16="http://schemas.microsoft.com/office/drawing/2014/main" id="{A407A06D-1F95-4E96-9967-08DC78B6D4B9}"/>
                  </a:ext>
                </a:extLst>
              </p:cNvPr>
              <p:cNvSpPr/>
              <p:nvPr/>
            </p:nvSpPr>
            <p:spPr bwMode="auto">
              <a:xfrm>
                <a:off x="911432" y="1783992"/>
                <a:ext cx="180000" cy="180000"/>
              </a:xfrm>
              <a:prstGeom prst="rect">
                <a:avLst/>
              </a:prstGeom>
              <a:no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Arial" charset="0"/>
                </a:endParaRPr>
              </a:p>
            </p:txBody>
          </p:sp>
          <p:sp>
            <p:nvSpPr>
              <p:cNvPr id="30" name="Rectangle 29">
                <a:extLst>
                  <a:ext uri="{FF2B5EF4-FFF2-40B4-BE49-F238E27FC236}">
                    <a16:creationId xmlns:a16="http://schemas.microsoft.com/office/drawing/2014/main" id="{2B29158D-A351-4F8D-AB37-7ED28A172B42}"/>
                  </a:ext>
                </a:extLst>
              </p:cNvPr>
              <p:cNvSpPr/>
              <p:nvPr/>
            </p:nvSpPr>
            <p:spPr bwMode="auto">
              <a:xfrm>
                <a:off x="911432" y="1973617"/>
                <a:ext cx="180000" cy="180000"/>
              </a:xfrm>
              <a:prstGeom prst="rect">
                <a:avLst/>
              </a:prstGeom>
              <a:no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Arial" charset="0"/>
                </a:endParaRPr>
              </a:p>
            </p:txBody>
          </p:sp>
          <p:sp>
            <p:nvSpPr>
              <p:cNvPr id="31" name="Rectangle 30">
                <a:extLst>
                  <a:ext uri="{FF2B5EF4-FFF2-40B4-BE49-F238E27FC236}">
                    <a16:creationId xmlns:a16="http://schemas.microsoft.com/office/drawing/2014/main" id="{BDD33D1C-8976-46A6-992A-6DE24A92C66D}"/>
                  </a:ext>
                </a:extLst>
              </p:cNvPr>
              <p:cNvSpPr/>
              <p:nvPr/>
            </p:nvSpPr>
            <p:spPr bwMode="auto">
              <a:xfrm>
                <a:off x="724687" y="1973617"/>
                <a:ext cx="180000" cy="180000"/>
              </a:xfrm>
              <a:prstGeom prst="rect">
                <a:avLst/>
              </a:prstGeom>
              <a:noFill/>
              <a:ln w="3175" cap="flat" cmpd="sng" algn="ctr">
                <a:solidFill>
                  <a:schemeClr val="bg1"/>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Arial" charset="0"/>
                </a:endParaRPr>
              </a:p>
            </p:txBody>
          </p:sp>
        </p:grpSp>
        <p:sp>
          <p:nvSpPr>
            <p:cNvPr id="32" name="Freeform 813">
              <a:extLst>
                <a:ext uri="{FF2B5EF4-FFF2-40B4-BE49-F238E27FC236}">
                  <a16:creationId xmlns:a16="http://schemas.microsoft.com/office/drawing/2014/main" id="{DF0B02C8-2F70-4DF5-A4AA-84EF8BB7A7B5}"/>
                </a:ext>
              </a:extLst>
            </p:cNvPr>
            <p:cNvSpPr>
              <a:spLocks noEditPoints="1"/>
            </p:cNvSpPr>
            <p:nvPr/>
          </p:nvSpPr>
          <p:spPr bwMode="auto">
            <a:xfrm>
              <a:off x="7713041" y="2329223"/>
              <a:ext cx="298482" cy="249665"/>
            </a:xfrm>
            <a:custGeom>
              <a:avLst/>
              <a:gdLst/>
              <a:ahLst/>
              <a:cxnLst>
                <a:cxn ang="0">
                  <a:pos x="91" y="65"/>
                </a:cxn>
                <a:cxn ang="0">
                  <a:pos x="91" y="0"/>
                </a:cxn>
                <a:cxn ang="0">
                  <a:pos x="59" y="0"/>
                </a:cxn>
                <a:cxn ang="0">
                  <a:pos x="59" y="65"/>
                </a:cxn>
                <a:cxn ang="0">
                  <a:pos x="37" y="65"/>
                </a:cxn>
                <a:cxn ang="0">
                  <a:pos x="75" y="103"/>
                </a:cxn>
                <a:cxn ang="0">
                  <a:pos x="113" y="65"/>
                </a:cxn>
                <a:cxn ang="0">
                  <a:pos x="91" y="65"/>
                </a:cxn>
                <a:cxn ang="0">
                  <a:pos x="150" y="86"/>
                </a:cxn>
                <a:cxn ang="0">
                  <a:pos x="150" y="117"/>
                </a:cxn>
                <a:cxn ang="0">
                  <a:pos x="143" y="125"/>
                </a:cxn>
                <a:cxn ang="0">
                  <a:pos x="7" y="125"/>
                </a:cxn>
                <a:cxn ang="0">
                  <a:pos x="0" y="117"/>
                </a:cxn>
                <a:cxn ang="0">
                  <a:pos x="0" y="86"/>
                </a:cxn>
              </a:cxnLst>
              <a:rect l="0" t="0" r="r" b="b"/>
              <a:pathLst>
                <a:path w="150" h="125">
                  <a:moveTo>
                    <a:pt x="91" y="65"/>
                  </a:moveTo>
                  <a:cubicBezTo>
                    <a:pt x="91" y="0"/>
                    <a:pt x="91" y="0"/>
                    <a:pt x="91" y="0"/>
                  </a:cubicBezTo>
                  <a:cubicBezTo>
                    <a:pt x="59" y="0"/>
                    <a:pt x="59" y="0"/>
                    <a:pt x="59" y="0"/>
                  </a:cubicBezTo>
                  <a:cubicBezTo>
                    <a:pt x="59" y="65"/>
                    <a:pt x="59" y="65"/>
                    <a:pt x="59" y="65"/>
                  </a:cubicBezTo>
                  <a:cubicBezTo>
                    <a:pt x="37" y="65"/>
                    <a:pt x="37" y="65"/>
                    <a:pt x="37" y="65"/>
                  </a:cubicBezTo>
                  <a:cubicBezTo>
                    <a:pt x="75" y="103"/>
                    <a:pt x="75" y="103"/>
                    <a:pt x="75" y="103"/>
                  </a:cubicBezTo>
                  <a:cubicBezTo>
                    <a:pt x="113" y="65"/>
                    <a:pt x="113" y="65"/>
                    <a:pt x="113" y="65"/>
                  </a:cubicBezTo>
                  <a:lnTo>
                    <a:pt x="91" y="65"/>
                  </a:lnTo>
                  <a:close/>
                  <a:moveTo>
                    <a:pt x="150" y="86"/>
                  </a:moveTo>
                  <a:cubicBezTo>
                    <a:pt x="150" y="117"/>
                    <a:pt x="150" y="117"/>
                    <a:pt x="150" y="117"/>
                  </a:cubicBezTo>
                  <a:cubicBezTo>
                    <a:pt x="150" y="121"/>
                    <a:pt x="147" y="125"/>
                    <a:pt x="143" y="125"/>
                  </a:cubicBezTo>
                  <a:cubicBezTo>
                    <a:pt x="7" y="125"/>
                    <a:pt x="7" y="125"/>
                    <a:pt x="7" y="125"/>
                  </a:cubicBezTo>
                  <a:cubicBezTo>
                    <a:pt x="3" y="125"/>
                    <a:pt x="0" y="121"/>
                    <a:pt x="0" y="117"/>
                  </a:cubicBezTo>
                  <a:cubicBezTo>
                    <a:pt x="0" y="86"/>
                    <a:pt x="0" y="86"/>
                    <a:pt x="0" y="86"/>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33" name="Groupe 679">
              <a:extLst>
                <a:ext uri="{FF2B5EF4-FFF2-40B4-BE49-F238E27FC236}">
                  <a16:creationId xmlns:a16="http://schemas.microsoft.com/office/drawing/2014/main" id="{CA818278-F24F-4092-8843-2DF6515E8A8F}"/>
                </a:ext>
              </a:extLst>
            </p:cNvPr>
            <p:cNvGrpSpPr/>
            <p:nvPr/>
          </p:nvGrpSpPr>
          <p:grpSpPr>
            <a:xfrm>
              <a:off x="7972464" y="3697475"/>
              <a:ext cx="426625" cy="354469"/>
              <a:chOff x="5465763" y="3894138"/>
              <a:chExt cx="468313" cy="389106"/>
            </a:xfrm>
          </p:grpSpPr>
          <p:sp>
            <p:nvSpPr>
              <p:cNvPr id="34" name="Freeform 177">
                <a:extLst>
                  <a:ext uri="{FF2B5EF4-FFF2-40B4-BE49-F238E27FC236}">
                    <a16:creationId xmlns:a16="http://schemas.microsoft.com/office/drawing/2014/main" id="{7F7FC52F-25D9-4CA5-A316-892D501D40B0}"/>
                  </a:ext>
                </a:extLst>
              </p:cNvPr>
              <p:cNvSpPr>
                <a:spLocks/>
              </p:cNvSpPr>
              <p:nvPr/>
            </p:nvSpPr>
            <p:spPr bwMode="auto">
              <a:xfrm>
                <a:off x="5508626" y="3916363"/>
                <a:ext cx="85725" cy="85725"/>
              </a:xfrm>
              <a:custGeom>
                <a:avLst/>
                <a:gdLst/>
                <a:ahLst/>
                <a:cxnLst>
                  <a:cxn ang="0">
                    <a:pos x="3" y="18"/>
                  </a:cxn>
                  <a:cxn ang="0">
                    <a:pos x="18" y="42"/>
                  </a:cxn>
                  <a:cxn ang="0">
                    <a:pos x="42" y="27"/>
                  </a:cxn>
                  <a:cxn ang="0">
                    <a:pos x="27" y="3"/>
                  </a:cxn>
                  <a:cxn ang="0">
                    <a:pos x="3" y="18"/>
                  </a:cxn>
                </a:cxnLst>
                <a:rect l="0" t="0" r="r" b="b"/>
                <a:pathLst>
                  <a:path w="44" h="44">
                    <a:moveTo>
                      <a:pt x="3" y="18"/>
                    </a:moveTo>
                    <a:cubicBezTo>
                      <a:pt x="0" y="28"/>
                      <a:pt x="7" y="39"/>
                      <a:pt x="18" y="42"/>
                    </a:cubicBezTo>
                    <a:cubicBezTo>
                      <a:pt x="29" y="44"/>
                      <a:pt x="39" y="38"/>
                      <a:pt x="42" y="27"/>
                    </a:cubicBezTo>
                    <a:cubicBezTo>
                      <a:pt x="44" y="16"/>
                      <a:pt x="38" y="5"/>
                      <a:pt x="27" y="3"/>
                    </a:cubicBezTo>
                    <a:cubicBezTo>
                      <a:pt x="16" y="0"/>
                      <a:pt x="6" y="7"/>
                      <a:pt x="3" y="18"/>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35" name="Freeform 178">
                <a:extLst>
                  <a:ext uri="{FF2B5EF4-FFF2-40B4-BE49-F238E27FC236}">
                    <a16:creationId xmlns:a16="http://schemas.microsoft.com/office/drawing/2014/main" id="{9BA9FD4A-2DE1-4F5A-8484-57469331FF37}"/>
                  </a:ext>
                </a:extLst>
              </p:cNvPr>
              <p:cNvSpPr>
                <a:spLocks noEditPoints="1"/>
              </p:cNvSpPr>
              <p:nvPr/>
            </p:nvSpPr>
            <p:spPr bwMode="auto">
              <a:xfrm>
                <a:off x="5465763" y="3894138"/>
                <a:ext cx="454024" cy="389106"/>
              </a:xfrm>
              <a:custGeom>
                <a:avLst/>
                <a:gdLst/>
                <a:ahLst/>
                <a:cxnLst>
                  <a:cxn ang="0">
                    <a:pos x="263" y="0"/>
                  </a:cxn>
                  <a:cxn ang="0">
                    <a:pos x="89" y="0"/>
                  </a:cxn>
                  <a:cxn ang="0">
                    <a:pos x="89" y="64"/>
                  </a:cxn>
                  <a:cxn ang="0">
                    <a:pos x="83" y="64"/>
                  </a:cxn>
                  <a:cxn ang="0">
                    <a:pos x="71" y="62"/>
                  </a:cxn>
                  <a:cxn ang="0">
                    <a:pos x="67" y="61"/>
                  </a:cxn>
                  <a:cxn ang="0">
                    <a:pos x="66" y="61"/>
                  </a:cxn>
                  <a:cxn ang="0">
                    <a:pos x="66" y="61"/>
                  </a:cxn>
                  <a:cxn ang="0">
                    <a:pos x="65" y="60"/>
                  </a:cxn>
                  <a:cxn ang="0">
                    <a:pos x="63" y="60"/>
                  </a:cxn>
                  <a:cxn ang="0">
                    <a:pos x="29" y="60"/>
                  </a:cxn>
                  <a:cxn ang="0">
                    <a:pos x="28" y="60"/>
                  </a:cxn>
                  <a:cxn ang="0">
                    <a:pos x="27" y="60"/>
                  </a:cxn>
                  <a:cxn ang="0">
                    <a:pos x="20" y="62"/>
                  </a:cxn>
                  <a:cxn ang="0">
                    <a:pos x="6" y="74"/>
                  </a:cxn>
                  <a:cxn ang="0">
                    <a:pos x="0" y="103"/>
                  </a:cxn>
                  <a:cxn ang="0">
                    <a:pos x="5" y="143"/>
                  </a:cxn>
                  <a:cxn ang="0">
                    <a:pos x="12" y="149"/>
                  </a:cxn>
                  <a:cxn ang="0">
                    <a:pos x="13" y="148"/>
                  </a:cxn>
                  <a:cxn ang="0">
                    <a:pos x="19" y="140"/>
                  </a:cxn>
                  <a:cxn ang="0">
                    <a:pos x="14" y="103"/>
                  </a:cxn>
                  <a:cxn ang="0">
                    <a:pos x="16" y="86"/>
                  </a:cxn>
                  <a:cxn ang="0">
                    <a:pos x="22" y="77"/>
                  </a:cxn>
                  <a:cxn ang="0">
                    <a:pos x="22" y="111"/>
                  </a:cxn>
                  <a:cxn ang="0">
                    <a:pos x="22" y="128"/>
                  </a:cxn>
                  <a:cxn ang="0">
                    <a:pos x="22" y="204"/>
                  </a:cxn>
                  <a:cxn ang="0">
                    <a:pos x="33" y="216"/>
                  </a:cxn>
                  <a:cxn ang="0">
                    <a:pos x="44" y="204"/>
                  </a:cxn>
                  <a:cxn ang="0">
                    <a:pos x="44" y="135"/>
                  </a:cxn>
                  <a:cxn ang="0">
                    <a:pos x="48" y="135"/>
                  </a:cxn>
                  <a:cxn ang="0">
                    <a:pos x="48" y="204"/>
                  </a:cxn>
                  <a:cxn ang="0">
                    <a:pos x="59" y="216"/>
                  </a:cxn>
                  <a:cxn ang="0">
                    <a:pos x="70" y="204"/>
                  </a:cxn>
                  <a:cxn ang="0">
                    <a:pos x="90" y="106"/>
                  </a:cxn>
                  <a:cxn ang="0">
                    <a:pos x="264" y="106"/>
                  </a:cxn>
                  <a:cxn ang="0">
                    <a:pos x="264" y="102"/>
                  </a:cxn>
                  <a:cxn ang="0">
                    <a:pos x="264" y="14"/>
                  </a:cxn>
                  <a:cxn ang="0">
                    <a:pos x="70" y="192"/>
                  </a:cxn>
                  <a:cxn ang="0">
                    <a:pos x="70" y="128"/>
                  </a:cxn>
                  <a:cxn ang="0">
                    <a:pos x="70" y="111"/>
                  </a:cxn>
                  <a:cxn ang="0">
                    <a:pos x="70" y="77"/>
                  </a:cxn>
                  <a:cxn ang="0">
                    <a:pos x="83" y="79"/>
                  </a:cxn>
                  <a:cxn ang="0">
                    <a:pos x="83" y="79"/>
                  </a:cxn>
                  <a:cxn ang="0">
                    <a:pos x="89" y="78"/>
                  </a:cxn>
                  <a:cxn ang="0">
                    <a:pos x="89" y="105"/>
                  </a:cxn>
                  <a:cxn ang="0">
                    <a:pos x="98" y="97"/>
                  </a:cxn>
                  <a:cxn ang="0">
                    <a:pos x="98" y="76"/>
                  </a:cxn>
                  <a:cxn ang="0">
                    <a:pos x="121" y="62"/>
                  </a:cxn>
                  <a:cxn ang="0">
                    <a:pos x="120" y="52"/>
                  </a:cxn>
                  <a:cxn ang="0">
                    <a:pos x="110" y="52"/>
                  </a:cxn>
                  <a:cxn ang="0">
                    <a:pos x="98" y="61"/>
                  </a:cxn>
                  <a:cxn ang="0">
                    <a:pos x="98" y="9"/>
                  </a:cxn>
                  <a:cxn ang="0">
                    <a:pos x="255" y="9"/>
                  </a:cxn>
                  <a:cxn ang="0">
                    <a:pos x="255" y="97"/>
                  </a:cxn>
                  <a:cxn ang="0">
                    <a:pos x="98" y="97"/>
                  </a:cxn>
                </a:cxnLst>
                <a:rect l="0" t="0" r="r" b="b"/>
                <a:pathLst>
                  <a:path w="264" h="216">
                    <a:moveTo>
                      <a:pt x="263" y="0"/>
                    </a:moveTo>
                    <a:cubicBezTo>
                      <a:pt x="89" y="0"/>
                      <a:pt x="89" y="0"/>
                      <a:pt x="89" y="0"/>
                    </a:cubicBezTo>
                    <a:cubicBezTo>
                      <a:pt x="89" y="64"/>
                      <a:pt x="89" y="64"/>
                      <a:pt x="89" y="64"/>
                    </a:cubicBezTo>
                    <a:cubicBezTo>
                      <a:pt x="87" y="64"/>
                      <a:pt x="85" y="64"/>
                      <a:pt x="83" y="64"/>
                    </a:cubicBezTo>
                    <a:cubicBezTo>
                      <a:pt x="78" y="64"/>
                      <a:pt x="74" y="63"/>
                      <a:pt x="71" y="62"/>
                    </a:cubicBezTo>
                    <a:cubicBezTo>
                      <a:pt x="69" y="62"/>
                      <a:pt x="68" y="62"/>
                      <a:pt x="67" y="61"/>
                    </a:cubicBezTo>
                    <a:cubicBezTo>
                      <a:pt x="67" y="61"/>
                      <a:pt x="67" y="61"/>
                      <a:pt x="66" y="61"/>
                    </a:cubicBezTo>
                    <a:cubicBezTo>
                      <a:pt x="66" y="61"/>
                      <a:pt x="66" y="61"/>
                      <a:pt x="66" y="61"/>
                    </a:cubicBezTo>
                    <a:cubicBezTo>
                      <a:pt x="66" y="61"/>
                      <a:pt x="66" y="61"/>
                      <a:pt x="65" y="60"/>
                    </a:cubicBezTo>
                    <a:cubicBezTo>
                      <a:pt x="64" y="60"/>
                      <a:pt x="64" y="60"/>
                      <a:pt x="63" y="60"/>
                    </a:cubicBezTo>
                    <a:cubicBezTo>
                      <a:pt x="29" y="60"/>
                      <a:pt x="29" y="60"/>
                      <a:pt x="29" y="60"/>
                    </a:cubicBezTo>
                    <a:cubicBezTo>
                      <a:pt x="28" y="60"/>
                      <a:pt x="28" y="60"/>
                      <a:pt x="28" y="60"/>
                    </a:cubicBezTo>
                    <a:cubicBezTo>
                      <a:pt x="27" y="60"/>
                      <a:pt x="27" y="60"/>
                      <a:pt x="27" y="60"/>
                    </a:cubicBezTo>
                    <a:cubicBezTo>
                      <a:pt x="26" y="60"/>
                      <a:pt x="23" y="60"/>
                      <a:pt x="20" y="62"/>
                    </a:cubicBezTo>
                    <a:cubicBezTo>
                      <a:pt x="16" y="63"/>
                      <a:pt x="10" y="67"/>
                      <a:pt x="6" y="74"/>
                    </a:cubicBezTo>
                    <a:cubicBezTo>
                      <a:pt x="2" y="81"/>
                      <a:pt x="0" y="90"/>
                      <a:pt x="0" y="103"/>
                    </a:cubicBezTo>
                    <a:cubicBezTo>
                      <a:pt x="0" y="114"/>
                      <a:pt x="1" y="127"/>
                      <a:pt x="5" y="143"/>
                    </a:cubicBezTo>
                    <a:cubicBezTo>
                      <a:pt x="5" y="146"/>
                      <a:pt x="8" y="149"/>
                      <a:pt x="12" y="149"/>
                    </a:cubicBezTo>
                    <a:cubicBezTo>
                      <a:pt x="12" y="149"/>
                      <a:pt x="13" y="149"/>
                      <a:pt x="13" y="148"/>
                    </a:cubicBezTo>
                    <a:cubicBezTo>
                      <a:pt x="17" y="148"/>
                      <a:pt x="19" y="144"/>
                      <a:pt x="19" y="140"/>
                    </a:cubicBezTo>
                    <a:cubicBezTo>
                      <a:pt x="15" y="125"/>
                      <a:pt x="14" y="113"/>
                      <a:pt x="14" y="103"/>
                    </a:cubicBezTo>
                    <a:cubicBezTo>
                      <a:pt x="14" y="96"/>
                      <a:pt x="15" y="90"/>
                      <a:pt x="16" y="86"/>
                    </a:cubicBezTo>
                    <a:cubicBezTo>
                      <a:pt x="18" y="81"/>
                      <a:pt x="20" y="78"/>
                      <a:pt x="22" y="77"/>
                    </a:cubicBezTo>
                    <a:cubicBezTo>
                      <a:pt x="22" y="111"/>
                      <a:pt x="22" y="111"/>
                      <a:pt x="22" y="111"/>
                    </a:cubicBezTo>
                    <a:cubicBezTo>
                      <a:pt x="22" y="128"/>
                      <a:pt x="22" y="128"/>
                      <a:pt x="22" y="128"/>
                    </a:cubicBezTo>
                    <a:cubicBezTo>
                      <a:pt x="22" y="204"/>
                      <a:pt x="22" y="204"/>
                      <a:pt x="22" y="204"/>
                    </a:cubicBezTo>
                    <a:cubicBezTo>
                      <a:pt x="22" y="211"/>
                      <a:pt x="27" y="216"/>
                      <a:pt x="33" y="216"/>
                    </a:cubicBezTo>
                    <a:cubicBezTo>
                      <a:pt x="39" y="216"/>
                      <a:pt x="44" y="211"/>
                      <a:pt x="44" y="204"/>
                    </a:cubicBezTo>
                    <a:cubicBezTo>
                      <a:pt x="44" y="135"/>
                      <a:pt x="44" y="135"/>
                      <a:pt x="44" y="135"/>
                    </a:cubicBezTo>
                    <a:cubicBezTo>
                      <a:pt x="48" y="135"/>
                      <a:pt x="48" y="135"/>
                      <a:pt x="48" y="135"/>
                    </a:cubicBezTo>
                    <a:cubicBezTo>
                      <a:pt x="48" y="204"/>
                      <a:pt x="48" y="204"/>
                      <a:pt x="48" y="204"/>
                    </a:cubicBezTo>
                    <a:cubicBezTo>
                      <a:pt x="48" y="211"/>
                      <a:pt x="53" y="216"/>
                      <a:pt x="59" y="216"/>
                    </a:cubicBezTo>
                    <a:cubicBezTo>
                      <a:pt x="65" y="216"/>
                      <a:pt x="70" y="211"/>
                      <a:pt x="70" y="204"/>
                    </a:cubicBezTo>
                    <a:moveTo>
                      <a:pt x="90" y="106"/>
                    </a:moveTo>
                    <a:cubicBezTo>
                      <a:pt x="264" y="106"/>
                      <a:pt x="264" y="106"/>
                      <a:pt x="264" y="106"/>
                    </a:cubicBezTo>
                    <a:cubicBezTo>
                      <a:pt x="264" y="102"/>
                      <a:pt x="264" y="102"/>
                      <a:pt x="264" y="102"/>
                    </a:cubicBezTo>
                    <a:cubicBezTo>
                      <a:pt x="264" y="14"/>
                      <a:pt x="264" y="14"/>
                      <a:pt x="264" y="14"/>
                    </a:cubicBezTo>
                    <a:moveTo>
                      <a:pt x="70" y="192"/>
                    </a:moveTo>
                    <a:cubicBezTo>
                      <a:pt x="70" y="128"/>
                      <a:pt x="70" y="128"/>
                      <a:pt x="70" y="128"/>
                    </a:cubicBezTo>
                    <a:cubicBezTo>
                      <a:pt x="70" y="111"/>
                      <a:pt x="70" y="111"/>
                      <a:pt x="70" y="111"/>
                    </a:cubicBezTo>
                    <a:cubicBezTo>
                      <a:pt x="70" y="77"/>
                      <a:pt x="70" y="77"/>
                      <a:pt x="70" y="77"/>
                    </a:cubicBezTo>
                    <a:cubicBezTo>
                      <a:pt x="74" y="78"/>
                      <a:pt x="78" y="79"/>
                      <a:pt x="83" y="79"/>
                    </a:cubicBezTo>
                    <a:cubicBezTo>
                      <a:pt x="83" y="79"/>
                      <a:pt x="83" y="79"/>
                      <a:pt x="83" y="79"/>
                    </a:cubicBezTo>
                    <a:cubicBezTo>
                      <a:pt x="85" y="79"/>
                      <a:pt x="87" y="79"/>
                      <a:pt x="89" y="78"/>
                    </a:cubicBezTo>
                    <a:cubicBezTo>
                      <a:pt x="89" y="105"/>
                      <a:pt x="89" y="105"/>
                      <a:pt x="89" y="105"/>
                    </a:cubicBezTo>
                    <a:moveTo>
                      <a:pt x="98" y="97"/>
                    </a:moveTo>
                    <a:cubicBezTo>
                      <a:pt x="98" y="76"/>
                      <a:pt x="98" y="76"/>
                      <a:pt x="98" y="76"/>
                    </a:cubicBezTo>
                    <a:cubicBezTo>
                      <a:pt x="106" y="74"/>
                      <a:pt x="114" y="69"/>
                      <a:pt x="121" y="62"/>
                    </a:cubicBezTo>
                    <a:cubicBezTo>
                      <a:pt x="123" y="59"/>
                      <a:pt x="123" y="54"/>
                      <a:pt x="120" y="52"/>
                    </a:cubicBezTo>
                    <a:cubicBezTo>
                      <a:pt x="118" y="49"/>
                      <a:pt x="113" y="49"/>
                      <a:pt x="110" y="52"/>
                    </a:cubicBezTo>
                    <a:cubicBezTo>
                      <a:pt x="106" y="56"/>
                      <a:pt x="102" y="59"/>
                      <a:pt x="98" y="61"/>
                    </a:cubicBezTo>
                    <a:cubicBezTo>
                      <a:pt x="98" y="9"/>
                      <a:pt x="98" y="9"/>
                      <a:pt x="98" y="9"/>
                    </a:cubicBezTo>
                    <a:cubicBezTo>
                      <a:pt x="255" y="9"/>
                      <a:pt x="255" y="9"/>
                      <a:pt x="255" y="9"/>
                    </a:cubicBezTo>
                    <a:cubicBezTo>
                      <a:pt x="255" y="97"/>
                      <a:pt x="255" y="97"/>
                      <a:pt x="255" y="97"/>
                    </a:cubicBezTo>
                    <a:lnTo>
                      <a:pt x="98" y="97"/>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36" name="Freeform 179">
                <a:extLst>
                  <a:ext uri="{FF2B5EF4-FFF2-40B4-BE49-F238E27FC236}">
                    <a16:creationId xmlns:a16="http://schemas.microsoft.com/office/drawing/2014/main" id="{890BDD60-A1B5-45F7-82E0-77F366E3F60E}"/>
                  </a:ext>
                </a:extLst>
              </p:cNvPr>
              <p:cNvSpPr>
                <a:spLocks/>
              </p:cNvSpPr>
              <p:nvPr/>
            </p:nvSpPr>
            <p:spPr bwMode="auto">
              <a:xfrm>
                <a:off x="5703888" y="3965576"/>
                <a:ext cx="127000" cy="92075"/>
              </a:xfrm>
              <a:custGeom>
                <a:avLst/>
                <a:gdLst/>
                <a:ahLst/>
                <a:cxnLst>
                  <a:cxn ang="0">
                    <a:pos x="0" y="58"/>
                  </a:cxn>
                  <a:cxn ang="0">
                    <a:pos x="14" y="43"/>
                  </a:cxn>
                  <a:cxn ang="0">
                    <a:pos x="27" y="56"/>
                  </a:cxn>
                  <a:cxn ang="0">
                    <a:pos x="42" y="23"/>
                  </a:cxn>
                  <a:cxn ang="0">
                    <a:pos x="55" y="54"/>
                  </a:cxn>
                  <a:cxn ang="0">
                    <a:pos x="65" y="0"/>
                  </a:cxn>
                  <a:cxn ang="0">
                    <a:pos x="80" y="10"/>
                  </a:cxn>
                </a:cxnLst>
                <a:rect l="0" t="0" r="r" b="b"/>
                <a:pathLst>
                  <a:path w="80" h="58">
                    <a:moveTo>
                      <a:pt x="0" y="58"/>
                    </a:moveTo>
                    <a:lnTo>
                      <a:pt x="14" y="43"/>
                    </a:lnTo>
                    <a:lnTo>
                      <a:pt x="27" y="56"/>
                    </a:lnTo>
                    <a:lnTo>
                      <a:pt x="42" y="23"/>
                    </a:lnTo>
                    <a:lnTo>
                      <a:pt x="55" y="54"/>
                    </a:lnTo>
                    <a:lnTo>
                      <a:pt x="65" y="0"/>
                    </a:lnTo>
                    <a:lnTo>
                      <a:pt x="80" y="10"/>
                    </a:lnTo>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37" name="Oval 180">
                <a:extLst>
                  <a:ext uri="{FF2B5EF4-FFF2-40B4-BE49-F238E27FC236}">
                    <a16:creationId xmlns:a16="http://schemas.microsoft.com/office/drawing/2014/main" id="{D17F1FF0-2030-4E2B-A8E1-1B9857A9E8D0}"/>
                  </a:ext>
                </a:extLst>
              </p:cNvPr>
              <p:cNvSpPr>
                <a:spLocks noChangeArrowheads="1"/>
              </p:cNvSpPr>
              <p:nvPr/>
            </p:nvSpPr>
            <p:spPr bwMode="auto">
              <a:xfrm>
                <a:off x="5859463" y="3933826"/>
                <a:ext cx="60325" cy="60325"/>
              </a:xfrm>
              <a:prstGeom prst="ellipse">
                <a:avLst/>
              </a:pr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38" name="Oval 181">
                <a:extLst>
                  <a:ext uri="{FF2B5EF4-FFF2-40B4-BE49-F238E27FC236}">
                    <a16:creationId xmlns:a16="http://schemas.microsoft.com/office/drawing/2014/main" id="{3A1E1215-1D27-44CE-B1B5-647C92E96790}"/>
                  </a:ext>
                </a:extLst>
              </p:cNvPr>
              <p:cNvSpPr>
                <a:spLocks noChangeArrowheads="1"/>
              </p:cNvSpPr>
              <p:nvPr/>
            </p:nvSpPr>
            <p:spPr bwMode="auto">
              <a:xfrm>
                <a:off x="5846763" y="4011613"/>
                <a:ext cx="34925" cy="34925"/>
              </a:xfrm>
              <a:prstGeom prst="ellipse">
                <a:avLst/>
              </a:pr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39" name="Oval 182">
                <a:extLst>
                  <a:ext uri="{FF2B5EF4-FFF2-40B4-BE49-F238E27FC236}">
                    <a16:creationId xmlns:a16="http://schemas.microsoft.com/office/drawing/2014/main" id="{C70D5015-484B-4C5B-8E24-DFB52767D052}"/>
                  </a:ext>
                </a:extLst>
              </p:cNvPr>
              <p:cNvSpPr>
                <a:spLocks noChangeArrowheads="1"/>
              </p:cNvSpPr>
              <p:nvPr/>
            </p:nvSpPr>
            <p:spPr bwMode="auto">
              <a:xfrm>
                <a:off x="5899151" y="4002088"/>
                <a:ext cx="34925" cy="34925"/>
              </a:xfrm>
              <a:prstGeom prst="ellipse">
                <a:avLst/>
              </a:pr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grpSp>
        <p:grpSp>
          <p:nvGrpSpPr>
            <p:cNvPr id="40" name="Groupe 661">
              <a:extLst>
                <a:ext uri="{FF2B5EF4-FFF2-40B4-BE49-F238E27FC236}">
                  <a16:creationId xmlns:a16="http://schemas.microsoft.com/office/drawing/2014/main" id="{BAD76C1A-E494-4E46-8044-9E2D0453BA89}"/>
                </a:ext>
              </a:extLst>
            </p:cNvPr>
            <p:cNvGrpSpPr/>
            <p:nvPr/>
          </p:nvGrpSpPr>
          <p:grpSpPr>
            <a:xfrm>
              <a:off x="7070022" y="4837137"/>
              <a:ext cx="392113" cy="328613"/>
              <a:chOff x="5595938" y="2779713"/>
              <a:chExt cx="392113" cy="328613"/>
            </a:xfrm>
          </p:grpSpPr>
          <p:sp>
            <p:nvSpPr>
              <p:cNvPr id="41" name="Line 314">
                <a:extLst>
                  <a:ext uri="{FF2B5EF4-FFF2-40B4-BE49-F238E27FC236}">
                    <a16:creationId xmlns:a16="http://schemas.microsoft.com/office/drawing/2014/main" id="{C38A704D-952B-4691-AA61-D502DF42726B}"/>
                  </a:ext>
                </a:extLst>
              </p:cNvPr>
              <p:cNvSpPr>
                <a:spLocks noChangeShapeType="1"/>
              </p:cNvSpPr>
              <p:nvPr/>
            </p:nvSpPr>
            <p:spPr bwMode="auto">
              <a:xfrm>
                <a:off x="5886451" y="2838450"/>
                <a:ext cx="15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42" name="Freeform 315">
                <a:extLst>
                  <a:ext uri="{FF2B5EF4-FFF2-40B4-BE49-F238E27FC236}">
                    <a16:creationId xmlns:a16="http://schemas.microsoft.com/office/drawing/2014/main" id="{476CB8C0-AA97-45BF-BADC-9A64C5D2ADD6}"/>
                  </a:ext>
                </a:extLst>
              </p:cNvPr>
              <p:cNvSpPr>
                <a:spLocks/>
              </p:cNvSpPr>
              <p:nvPr/>
            </p:nvSpPr>
            <p:spPr bwMode="auto">
              <a:xfrm>
                <a:off x="5770563" y="3084513"/>
                <a:ext cx="76200" cy="23813"/>
              </a:xfrm>
              <a:custGeom>
                <a:avLst/>
                <a:gdLst/>
                <a:ahLst/>
                <a:cxnLst>
                  <a:cxn ang="0">
                    <a:pos x="0" y="13"/>
                  </a:cxn>
                  <a:cxn ang="0">
                    <a:pos x="39" y="0"/>
                  </a:cxn>
                </a:cxnLst>
                <a:rect l="0" t="0" r="r" b="b"/>
                <a:pathLst>
                  <a:path w="39" h="13">
                    <a:moveTo>
                      <a:pt x="0" y="13"/>
                    </a:moveTo>
                    <a:cubicBezTo>
                      <a:pt x="10" y="12"/>
                      <a:pt x="29" y="8"/>
                      <a:pt x="3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43" name="Freeform 316">
                <a:extLst>
                  <a:ext uri="{FF2B5EF4-FFF2-40B4-BE49-F238E27FC236}">
                    <a16:creationId xmlns:a16="http://schemas.microsoft.com/office/drawing/2014/main" id="{63BB020A-6006-42A7-9313-C8569FA8FC28}"/>
                  </a:ext>
                </a:extLst>
              </p:cNvPr>
              <p:cNvSpPr>
                <a:spLocks/>
              </p:cNvSpPr>
              <p:nvPr/>
            </p:nvSpPr>
            <p:spPr bwMode="auto">
              <a:xfrm>
                <a:off x="5595938" y="2840038"/>
                <a:ext cx="165100" cy="268288"/>
              </a:xfrm>
              <a:custGeom>
                <a:avLst/>
                <a:gdLst/>
                <a:ahLst/>
                <a:cxnLst>
                  <a:cxn ang="0">
                    <a:pos x="20" y="0"/>
                  </a:cxn>
                  <a:cxn ang="0">
                    <a:pos x="0" y="54"/>
                  </a:cxn>
                  <a:cxn ang="0">
                    <a:pos x="85" y="139"/>
                  </a:cxn>
                </a:cxnLst>
                <a:rect l="0" t="0" r="r" b="b"/>
                <a:pathLst>
                  <a:path w="85" h="139">
                    <a:moveTo>
                      <a:pt x="20" y="0"/>
                    </a:moveTo>
                    <a:cubicBezTo>
                      <a:pt x="7" y="14"/>
                      <a:pt x="0" y="33"/>
                      <a:pt x="0" y="54"/>
                    </a:cubicBezTo>
                    <a:cubicBezTo>
                      <a:pt x="0" y="101"/>
                      <a:pt x="38" y="139"/>
                      <a:pt x="85" y="139"/>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44" name="Freeform 317">
                <a:extLst>
                  <a:ext uri="{FF2B5EF4-FFF2-40B4-BE49-F238E27FC236}">
                    <a16:creationId xmlns:a16="http://schemas.microsoft.com/office/drawing/2014/main" id="{FAF3900F-D5EF-43FF-AE06-460861769CBF}"/>
                  </a:ext>
                </a:extLst>
              </p:cNvPr>
              <p:cNvSpPr>
                <a:spLocks/>
              </p:cNvSpPr>
              <p:nvPr/>
            </p:nvSpPr>
            <p:spPr bwMode="auto">
              <a:xfrm>
                <a:off x="5635626" y="2779713"/>
                <a:ext cx="250825" cy="60325"/>
              </a:xfrm>
              <a:custGeom>
                <a:avLst/>
                <a:gdLst/>
                <a:ahLst/>
                <a:cxnLst>
                  <a:cxn ang="0">
                    <a:pos x="0" y="31"/>
                  </a:cxn>
                  <a:cxn ang="0">
                    <a:pos x="65" y="0"/>
                  </a:cxn>
                  <a:cxn ang="0">
                    <a:pos x="120" y="20"/>
                  </a:cxn>
                  <a:cxn ang="0">
                    <a:pos x="127" y="27"/>
                  </a:cxn>
                  <a:cxn ang="0">
                    <a:pos x="130" y="31"/>
                  </a:cxn>
                </a:cxnLst>
                <a:rect l="0" t="0" r="r" b="b"/>
                <a:pathLst>
                  <a:path w="130" h="31">
                    <a:moveTo>
                      <a:pt x="0" y="31"/>
                    </a:moveTo>
                    <a:cubicBezTo>
                      <a:pt x="15" y="12"/>
                      <a:pt x="39" y="0"/>
                      <a:pt x="65" y="0"/>
                    </a:cubicBezTo>
                    <a:cubicBezTo>
                      <a:pt x="86" y="0"/>
                      <a:pt x="105" y="8"/>
                      <a:pt x="120" y="20"/>
                    </a:cubicBezTo>
                    <a:cubicBezTo>
                      <a:pt x="121" y="21"/>
                      <a:pt x="125" y="25"/>
                      <a:pt x="127" y="27"/>
                    </a:cubicBezTo>
                    <a:cubicBezTo>
                      <a:pt x="128" y="29"/>
                      <a:pt x="130" y="31"/>
                      <a:pt x="130" y="3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45" name="Freeform 318">
                <a:extLst>
                  <a:ext uri="{FF2B5EF4-FFF2-40B4-BE49-F238E27FC236}">
                    <a16:creationId xmlns:a16="http://schemas.microsoft.com/office/drawing/2014/main" id="{A4C2A3A0-30C6-4A3E-AA33-D7A10B3EDD42}"/>
                  </a:ext>
                </a:extLst>
              </p:cNvPr>
              <p:cNvSpPr>
                <a:spLocks/>
              </p:cNvSpPr>
              <p:nvPr/>
            </p:nvSpPr>
            <p:spPr bwMode="auto">
              <a:xfrm>
                <a:off x="5635626" y="2838450"/>
                <a:ext cx="200025" cy="28575"/>
              </a:xfrm>
              <a:custGeom>
                <a:avLst/>
                <a:gdLst/>
                <a:ahLst/>
                <a:cxnLst>
                  <a:cxn ang="0">
                    <a:pos x="0" y="0"/>
                  </a:cxn>
                  <a:cxn ang="0">
                    <a:pos x="65" y="15"/>
                  </a:cxn>
                  <a:cxn ang="0">
                    <a:pos x="104" y="10"/>
                  </a:cxn>
                </a:cxnLst>
                <a:rect l="0" t="0" r="r" b="b"/>
                <a:pathLst>
                  <a:path w="104" h="15">
                    <a:moveTo>
                      <a:pt x="0" y="0"/>
                    </a:moveTo>
                    <a:cubicBezTo>
                      <a:pt x="15" y="9"/>
                      <a:pt x="39" y="15"/>
                      <a:pt x="65" y="15"/>
                    </a:cubicBezTo>
                    <a:cubicBezTo>
                      <a:pt x="80" y="15"/>
                      <a:pt x="92" y="14"/>
                      <a:pt x="104" y="1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46" name="Freeform 319">
                <a:extLst>
                  <a:ext uri="{FF2B5EF4-FFF2-40B4-BE49-F238E27FC236}">
                    <a16:creationId xmlns:a16="http://schemas.microsoft.com/office/drawing/2014/main" id="{8C0E9C09-EF46-4E6B-9FB5-5586D896A972}"/>
                  </a:ext>
                </a:extLst>
              </p:cNvPr>
              <p:cNvSpPr>
                <a:spLocks/>
              </p:cNvSpPr>
              <p:nvPr/>
            </p:nvSpPr>
            <p:spPr bwMode="auto">
              <a:xfrm>
                <a:off x="5635626" y="3022600"/>
                <a:ext cx="166688" cy="28575"/>
              </a:xfrm>
              <a:custGeom>
                <a:avLst/>
                <a:gdLst/>
                <a:ahLst/>
                <a:cxnLst>
                  <a:cxn ang="0">
                    <a:pos x="86" y="1"/>
                  </a:cxn>
                  <a:cxn ang="0">
                    <a:pos x="65" y="0"/>
                  </a:cxn>
                  <a:cxn ang="0">
                    <a:pos x="0" y="15"/>
                  </a:cxn>
                </a:cxnLst>
                <a:rect l="0" t="0" r="r" b="b"/>
                <a:pathLst>
                  <a:path w="86" h="15">
                    <a:moveTo>
                      <a:pt x="86" y="1"/>
                    </a:moveTo>
                    <a:cubicBezTo>
                      <a:pt x="80" y="0"/>
                      <a:pt x="72" y="0"/>
                      <a:pt x="65" y="0"/>
                    </a:cubicBezTo>
                    <a:cubicBezTo>
                      <a:pt x="39" y="0"/>
                      <a:pt x="15" y="6"/>
                      <a:pt x="0" y="15"/>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47" name="Freeform 320">
                <a:extLst>
                  <a:ext uri="{FF2B5EF4-FFF2-40B4-BE49-F238E27FC236}">
                    <a16:creationId xmlns:a16="http://schemas.microsoft.com/office/drawing/2014/main" id="{E2A636D4-642B-426B-987F-182A75BAF5BF}"/>
                  </a:ext>
                </a:extLst>
              </p:cNvPr>
              <p:cNvSpPr>
                <a:spLocks/>
              </p:cNvSpPr>
              <p:nvPr/>
            </p:nvSpPr>
            <p:spPr bwMode="auto">
              <a:xfrm>
                <a:off x="5672138" y="2779713"/>
                <a:ext cx="163513" cy="328613"/>
              </a:xfrm>
              <a:custGeom>
                <a:avLst/>
                <a:gdLst/>
                <a:ahLst/>
                <a:cxnLst>
                  <a:cxn ang="0">
                    <a:pos x="75" y="150"/>
                  </a:cxn>
                  <a:cxn ang="0">
                    <a:pos x="46" y="170"/>
                  </a:cxn>
                  <a:cxn ang="0">
                    <a:pos x="0" y="85"/>
                  </a:cxn>
                  <a:cxn ang="0">
                    <a:pos x="46" y="0"/>
                  </a:cxn>
                  <a:cxn ang="0">
                    <a:pos x="85" y="40"/>
                  </a:cxn>
                </a:cxnLst>
                <a:rect l="0" t="0" r="r" b="b"/>
                <a:pathLst>
                  <a:path w="85" h="170">
                    <a:moveTo>
                      <a:pt x="75" y="150"/>
                    </a:moveTo>
                    <a:cubicBezTo>
                      <a:pt x="67" y="163"/>
                      <a:pt x="57" y="170"/>
                      <a:pt x="46" y="170"/>
                    </a:cubicBezTo>
                    <a:cubicBezTo>
                      <a:pt x="21" y="170"/>
                      <a:pt x="0" y="132"/>
                      <a:pt x="0" y="85"/>
                    </a:cubicBezTo>
                    <a:cubicBezTo>
                      <a:pt x="0" y="38"/>
                      <a:pt x="21" y="0"/>
                      <a:pt x="46" y="0"/>
                    </a:cubicBezTo>
                    <a:cubicBezTo>
                      <a:pt x="62" y="0"/>
                      <a:pt x="77" y="16"/>
                      <a:pt x="85" y="4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48" name="Line 321">
                <a:extLst>
                  <a:ext uri="{FF2B5EF4-FFF2-40B4-BE49-F238E27FC236}">
                    <a16:creationId xmlns:a16="http://schemas.microsoft.com/office/drawing/2014/main" id="{2509DD5D-CBE8-43C9-A5B4-B2797413370A}"/>
                  </a:ext>
                </a:extLst>
              </p:cNvPr>
              <p:cNvSpPr>
                <a:spLocks noChangeShapeType="1"/>
              </p:cNvSpPr>
              <p:nvPr/>
            </p:nvSpPr>
            <p:spPr bwMode="auto">
              <a:xfrm>
                <a:off x="5595938" y="2944813"/>
                <a:ext cx="114300"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49" name="Freeform 322">
                <a:extLst>
                  <a:ext uri="{FF2B5EF4-FFF2-40B4-BE49-F238E27FC236}">
                    <a16:creationId xmlns:a16="http://schemas.microsoft.com/office/drawing/2014/main" id="{706FACC6-694A-4554-BB60-13BDBB5704FC}"/>
                  </a:ext>
                </a:extLst>
              </p:cNvPr>
              <p:cNvSpPr>
                <a:spLocks/>
              </p:cNvSpPr>
              <p:nvPr/>
            </p:nvSpPr>
            <p:spPr bwMode="auto">
              <a:xfrm>
                <a:off x="5761038" y="2779713"/>
                <a:ext cx="1588" cy="120650"/>
              </a:xfrm>
              <a:custGeom>
                <a:avLst/>
                <a:gdLst/>
                <a:ahLst/>
                <a:cxnLst>
                  <a:cxn ang="0">
                    <a:pos x="0" y="76"/>
                  </a:cxn>
                  <a:cxn ang="0">
                    <a:pos x="0" y="61"/>
                  </a:cxn>
                  <a:cxn ang="0">
                    <a:pos x="0" y="0"/>
                  </a:cxn>
                </a:cxnLst>
                <a:rect l="0" t="0" r="r" b="b"/>
                <a:pathLst>
                  <a:path h="76">
                    <a:moveTo>
                      <a:pt x="0" y="76"/>
                    </a:moveTo>
                    <a:lnTo>
                      <a:pt x="0" y="61"/>
                    </a:lnTo>
                    <a:lnTo>
                      <a:pt x="0"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50" name="Line 323">
                <a:extLst>
                  <a:ext uri="{FF2B5EF4-FFF2-40B4-BE49-F238E27FC236}">
                    <a16:creationId xmlns:a16="http://schemas.microsoft.com/office/drawing/2014/main" id="{AE6E0D92-7B69-4238-9C9A-F346552C22C1}"/>
                  </a:ext>
                </a:extLst>
              </p:cNvPr>
              <p:cNvSpPr>
                <a:spLocks noChangeShapeType="1"/>
              </p:cNvSpPr>
              <p:nvPr/>
            </p:nvSpPr>
            <p:spPr bwMode="auto">
              <a:xfrm flipV="1">
                <a:off x="5761038" y="2998788"/>
                <a:ext cx="1588" cy="10953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51" name="Oval 324">
                <a:extLst>
                  <a:ext uri="{FF2B5EF4-FFF2-40B4-BE49-F238E27FC236}">
                    <a16:creationId xmlns:a16="http://schemas.microsoft.com/office/drawing/2014/main" id="{6E1C4925-3D87-4EAE-A825-9FAF7CC152AC}"/>
                  </a:ext>
                </a:extLst>
              </p:cNvPr>
              <p:cNvSpPr>
                <a:spLocks noChangeArrowheads="1"/>
              </p:cNvSpPr>
              <p:nvPr/>
            </p:nvSpPr>
            <p:spPr bwMode="auto">
              <a:xfrm>
                <a:off x="5853113" y="2849563"/>
                <a:ext cx="52388" cy="52388"/>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52" name="Oval 325">
                <a:extLst>
                  <a:ext uri="{FF2B5EF4-FFF2-40B4-BE49-F238E27FC236}">
                    <a16:creationId xmlns:a16="http://schemas.microsoft.com/office/drawing/2014/main" id="{9E7A3CB2-CCBC-4456-A5C2-1981222EB190}"/>
                  </a:ext>
                </a:extLst>
              </p:cNvPr>
              <p:cNvSpPr>
                <a:spLocks noChangeArrowheads="1"/>
              </p:cNvSpPr>
              <p:nvPr/>
            </p:nvSpPr>
            <p:spPr bwMode="auto">
              <a:xfrm>
                <a:off x="5870576" y="2857500"/>
                <a:ext cx="15875" cy="17463"/>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53" name="Freeform 326">
                <a:extLst>
                  <a:ext uri="{FF2B5EF4-FFF2-40B4-BE49-F238E27FC236}">
                    <a16:creationId xmlns:a16="http://schemas.microsoft.com/office/drawing/2014/main" id="{E2562DCF-7F94-4332-A6A4-F4C2D4512013}"/>
                  </a:ext>
                </a:extLst>
              </p:cNvPr>
              <p:cNvSpPr>
                <a:spLocks/>
              </p:cNvSpPr>
              <p:nvPr/>
            </p:nvSpPr>
            <p:spPr bwMode="auto">
              <a:xfrm>
                <a:off x="5864226" y="2874963"/>
                <a:ext cx="31750" cy="12700"/>
              </a:xfrm>
              <a:custGeom>
                <a:avLst/>
                <a:gdLst/>
                <a:ahLst/>
                <a:cxnLst>
                  <a:cxn ang="0">
                    <a:pos x="0" y="7"/>
                  </a:cxn>
                  <a:cxn ang="0">
                    <a:pos x="8" y="0"/>
                  </a:cxn>
                  <a:cxn ang="0">
                    <a:pos x="17" y="7"/>
                  </a:cxn>
                </a:cxnLst>
                <a:rect l="0" t="0" r="r" b="b"/>
                <a:pathLst>
                  <a:path w="17" h="7">
                    <a:moveTo>
                      <a:pt x="0" y="7"/>
                    </a:moveTo>
                    <a:cubicBezTo>
                      <a:pt x="1" y="3"/>
                      <a:pt x="3" y="0"/>
                      <a:pt x="8" y="0"/>
                    </a:cubicBezTo>
                    <a:cubicBezTo>
                      <a:pt x="13" y="0"/>
                      <a:pt x="16" y="3"/>
                      <a:pt x="17" y="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54" name="Oval 327">
                <a:extLst>
                  <a:ext uri="{FF2B5EF4-FFF2-40B4-BE49-F238E27FC236}">
                    <a16:creationId xmlns:a16="http://schemas.microsoft.com/office/drawing/2014/main" id="{3CE7FD0C-FFC0-46B4-930F-468AAEAB8B44}"/>
                  </a:ext>
                </a:extLst>
              </p:cNvPr>
              <p:cNvSpPr>
                <a:spLocks noChangeArrowheads="1"/>
              </p:cNvSpPr>
              <p:nvPr/>
            </p:nvSpPr>
            <p:spPr bwMode="auto">
              <a:xfrm>
                <a:off x="5945188" y="2925763"/>
                <a:ext cx="42863" cy="4445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55" name="Oval 328">
                <a:extLst>
                  <a:ext uri="{FF2B5EF4-FFF2-40B4-BE49-F238E27FC236}">
                    <a16:creationId xmlns:a16="http://schemas.microsoft.com/office/drawing/2014/main" id="{BA16988E-EF04-487C-A68A-33F493F2051E}"/>
                  </a:ext>
                </a:extLst>
              </p:cNvPr>
              <p:cNvSpPr>
                <a:spLocks noChangeArrowheads="1"/>
              </p:cNvSpPr>
              <p:nvPr/>
            </p:nvSpPr>
            <p:spPr bwMode="auto">
              <a:xfrm>
                <a:off x="5961063" y="2932113"/>
                <a:ext cx="11113" cy="14288"/>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56" name="Freeform 329">
                <a:extLst>
                  <a:ext uri="{FF2B5EF4-FFF2-40B4-BE49-F238E27FC236}">
                    <a16:creationId xmlns:a16="http://schemas.microsoft.com/office/drawing/2014/main" id="{ADAF0738-7D8C-4DFE-82BB-DF448683EC9B}"/>
                  </a:ext>
                </a:extLst>
              </p:cNvPr>
              <p:cNvSpPr>
                <a:spLocks/>
              </p:cNvSpPr>
              <p:nvPr/>
            </p:nvSpPr>
            <p:spPr bwMode="auto">
              <a:xfrm>
                <a:off x="5953126" y="2946400"/>
                <a:ext cx="26988" cy="11113"/>
              </a:xfrm>
              <a:custGeom>
                <a:avLst/>
                <a:gdLst/>
                <a:ahLst/>
                <a:cxnLst>
                  <a:cxn ang="0">
                    <a:pos x="0" y="6"/>
                  </a:cxn>
                  <a:cxn ang="0">
                    <a:pos x="7" y="0"/>
                  </a:cxn>
                  <a:cxn ang="0">
                    <a:pos x="14" y="6"/>
                  </a:cxn>
                </a:cxnLst>
                <a:rect l="0" t="0" r="r" b="b"/>
                <a:pathLst>
                  <a:path w="14" h="6">
                    <a:moveTo>
                      <a:pt x="0" y="6"/>
                    </a:moveTo>
                    <a:cubicBezTo>
                      <a:pt x="1" y="3"/>
                      <a:pt x="3" y="0"/>
                      <a:pt x="7" y="0"/>
                    </a:cubicBezTo>
                    <a:cubicBezTo>
                      <a:pt x="11" y="0"/>
                      <a:pt x="13" y="3"/>
                      <a:pt x="14" y="6"/>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57" name="Oval 330">
                <a:extLst>
                  <a:ext uri="{FF2B5EF4-FFF2-40B4-BE49-F238E27FC236}">
                    <a16:creationId xmlns:a16="http://schemas.microsoft.com/office/drawing/2014/main" id="{1BD2A859-C42B-44C6-B4D6-B8B41C534042}"/>
                  </a:ext>
                </a:extLst>
              </p:cNvPr>
              <p:cNvSpPr>
                <a:spLocks noChangeArrowheads="1"/>
              </p:cNvSpPr>
              <p:nvPr/>
            </p:nvSpPr>
            <p:spPr bwMode="auto">
              <a:xfrm>
                <a:off x="5719763" y="2909888"/>
                <a:ext cx="77788" cy="77788"/>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58" name="Freeform 331">
                <a:extLst>
                  <a:ext uri="{FF2B5EF4-FFF2-40B4-BE49-F238E27FC236}">
                    <a16:creationId xmlns:a16="http://schemas.microsoft.com/office/drawing/2014/main" id="{09497510-9B38-4526-9A22-8FA766DF3423}"/>
                  </a:ext>
                </a:extLst>
              </p:cNvPr>
              <p:cNvSpPr>
                <a:spLocks/>
              </p:cNvSpPr>
              <p:nvPr/>
            </p:nvSpPr>
            <p:spPr bwMode="auto">
              <a:xfrm>
                <a:off x="5738813" y="2921000"/>
                <a:ext cx="31750" cy="26988"/>
              </a:xfrm>
              <a:custGeom>
                <a:avLst/>
                <a:gdLst/>
                <a:ahLst/>
                <a:cxnLst>
                  <a:cxn ang="0">
                    <a:pos x="5" y="12"/>
                  </a:cxn>
                  <a:cxn ang="0">
                    <a:pos x="1" y="12"/>
                  </a:cxn>
                  <a:cxn ang="0">
                    <a:pos x="3" y="11"/>
                  </a:cxn>
                  <a:cxn ang="0">
                    <a:pos x="0" y="10"/>
                  </a:cxn>
                  <a:cxn ang="0">
                    <a:pos x="4" y="5"/>
                  </a:cxn>
                  <a:cxn ang="0">
                    <a:pos x="10" y="0"/>
                  </a:cxn>
                  <a:cxn ang="0">
                    <a:pos x="16" y="6"/>
                  </a:cxn>
                  <a:cxn ang="0">
                    <a:pos x="10" y="13"/>
                  </a:cxn>
                  <a:cxn ang="0">
                    <a:pos x="4" y="6"/>
                  </a:cxn>
                  <a:cxn ang="0">
                    <a:pos x="5" y="3"/>
                  </a:cxn>
                </a:cxnLst>
                <a:rect l="0" t="0" r="r" b="b"/>
                <a:pathLst>
                  <a:path w="16" h="14">
                    <a:moveTo>
                      <a:pt x="5" y="12"/>
                    </a:moveTo>
                    <a:cubicBezTo>
                      <a:pt x="5" y="14"/>
                      <a:pt x="2" y="13"/>
                      <a:pt x="1" y="12"/>
                    </a:cubicBezTo>
                    <a:cubicBezTo>
                      <a:pt x="2" y="12"/>
                      <a:pt x="3" y="12"/>
                      <a:pt x="3" y="11"/>
                    </a:cubicBezTo>
                    <a:cubicBezTo>
                      <a:pt x="2" y="11"/>
                      <a:pt x="1" y="11"/>
                      <a:pt x="0" y="10"/>
                    </a:cubicBezTo>
                    <a:cubicBezTo>
                      <a:pt x="3" y="10"/>
                      <a:pt x="4" y="7"/>
                      <a:pt x="4" y="5"/>
                    </a:cubicBezTo>
                    <a:cubicBezTo>
                      <a:pt x="5" y="2"/>
                      <a:pt x="7" y="0"/>
                      <a:pt x="10" y="0"/>
                    </a:cubicBezTo>
                    <a:cubicBezTo>
                      <a:pt x="13" y="0"/>
                      <a:pt x="16" y="3"/>
                      <a:pt x="16" y="6"/>
                    </a:cubicBezTo>
                    <a:cubicBezTo>
                      <a:pt x="16" y="10"/>
                      <a:pt x="13" y="13"/>
                      <a:pt x="10" y="13"/>
                    </a:cubicBezTo>
                    <a:cubicBezTo>
                      <a:pt x="7" y="13"/>
                      <a:pt x="4" y="10"/>
                      <a:pt x="4" y="6"/>
                    </a:cubicBezTo>
                    <a:cubicBezTo>
                      <a:pt x="4" y="5"/>
                      <a:pt x="5" y="4"/>
                      <a:pt x="5" y="3"/>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59" name="Freeform 332">
                <a:extLst>
                  <a:ext uri="{FF2B5EF4-FFF2-40B4-BE49-F238E27FC236}">
                    <a16:creationId xmlns:a16="http://schemas.microsoft.com/office/drawing/2014/main" id="{02D45571-C422-4531-A0A0-5315AE9A1824}"/>
                  </a:ext>
                </a:extLst>
              </p:cNvPr>
              <p:cNvSpPr>
                <a:spLocks/>
              </p:cNvSpPr>
              <p:nvPr/>
            </p:nvSpPr>
            <p:spPr bwMode="auto">
              <a:xfrm>
                <a:off x="5734051" y="2946400"/>
                <a:ext cx="50800" cy="19050"/>
              </a:xfrm>
              <a:custGeom>
                <a:avLst/>
                <a:gdLst/>
                <a:ahLst/>
                <a:cxnLst>
                  <a:cxn ang="0">
                    <a:pos x="0" y="10"/>
                  </a:cxn>
                  <a:cxn ang="0">
                    <a:pos x="13" y="0"/>
                  </a:cxn>
                  <a:cxn ang="0">
                    <a:pos x="26" y="10"/>
                  </a:cxn>
                </a:cxnLst>
                <a:rect l="0" t="0" r="r" b="b"/>
                <a:pathLst>
                  <a:path w="26" h="10">
                    <a:moveTo>
                      <a:pt x="0" y="10"/>
                    </a:moveTo>
                    <a:cubicBezTo>
                      <a:pt x="2" y="5"/>
                      <a:pt x="6" y="0"/>
                      <a:pt x="13" y="0"/>
                    </a:cubicBezTo>
                    <a:cubicBezTo>
                      <a:pt x="20" y="0"/>
                      <a:pt x="24" y="4"/>
                      <a:pt x="26" y="1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60" name="Oval 333">
                <a:extLst>
                  <a:ext uri="{FF2B5EF4-FFF2-40B4-BE49-F238E27FC236}">
                    <a16:creationId xmlns:a16="http://schemas.microsoft.com/office/drawing/2014/main" id="{6A6D9AAC-40BF-4E50-A2CB-1FE5ED0CDF4B}"/>
                  </a:ext>
                </a:extLst>
              </p:cNvPr>
              <p:cNvSpPr>
                <a:spLocks noChangeArrowheads="1"/>
              </p:cNvSpPr>
              <p:nvPr/>
            </p:nvSpPr>
            <p:spPr bwMode="auto">
              <a:xfrm>
                <a:off x="5811838" y="2943225"/>
                <a:ext cx="136525" cy="138113"/>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61" name="Oval 334">
                <a:extLst>
                  <a:ext uri="{FF2B5EF4-FFF2-40B4-BE49-F238E27FC236}">
                    <a16:creationId xmlns:a16="http://schemas.microsoft.com/office/drawing/2014/main" id="{4206657C-FA23-4557-9ED2-D04825735DBF}"/>
                  </a:ext>
                </a:extLst>
              </p:cNvPr>
              <p:cNvSpPr>
                <a:spLocks noChangeArrowheads="1"/>
              </p:cNvSpPr>
              <p:nvPr/>
            </p:nvSpPr>
            <p:spPr bwMode="auto">
              <a:xfrm>
                <a:off x="5859463" y="2963863"/>
                <a:ext cx="41275" cy="46038"/>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62" name="Freeform 335">
                <a:extLst>
                  <a:ext uri="{FF2B5EF4-FFF2-40B4-BE49-F238E27FC236}">
                    <a16:creationId xmlns:a16="http://schemas.microsoft.com/office/drawing/2014/main" id="{31E03913-8A49-4ADF-A785-0CFC1C6F672B}"/>
                  </a:ext>
                </a:extLst>
              </p:cNvPr>
              <p:cNvSpPr>
                <a:spLocks/>
              </p:cNvSpPr>
              <p:nvPr/>
            </p:nvSpPr>
            <p:spPr bwMode="auto">
              <a:xfrm>
                <a:off x="5834063" y="3009900"/>
                <a:ext cx="88900" cy="34925"/>
              </a:xfrm>
              <a:custGeom>
                <a:avLst/>
                <a:gdLst/>
                <a:ahLst/>
                <a:cxnLst>
                  <a:cxn ang="0">
                    <a:pos x="0" y="18"/>
                  </a:cxn>
                  <a:cxn ang="0">
                    <a:pos x="23" y="0"/>
                  </a:cxn>
                  <a:cxn ang="0">
                    <a:pos x="46" y="17"/>
                  </a:cxn>
                </a:cxnLst>
                <a:rect l="0" t="0" r="r" b="b"/>
                <a:pathLst>
                  <a:path w="46" h="18">
                    <a:moveTo>
                      <a:pt x="0" y="18"/>
                    </a:moveTo>
                    <a:cubicBezTo>
                      <a:pt x="3" y="8"/>
                      <a:pt x="10" y="0"/>
                      <a:pt x="23" y="0"/>
                    </a:cubicBezTo>
                    <a:cubicBezTo>
                      <a:pt x="36" y="0"/>
                      <a:pt x="43" y="7"/>
                      <a:pt x="46" y="1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63" name="Line 336">
                <a:extLst>
                  <a:ext uri="{FF2B5EF4-FFF2-40B4-BE49-F238E27FC236}">
                    <a16:creationId xmlns:a16="http://schemas.microsoft.com/office/drawing/2014/main" id="{D700CED6-7C5E-42D7-95C2-7057D639EADD}"/>
                  </a:ext>
                </a:extLst>
              </p:cNvPr>
              <p:cNvSpPr>
                <a:spLocks noChangeShapeType="1"/>
              </p:cNvSpPr>
              <p:nvPr/>
            </p:nvSpPr>
            <p:spPr bwMode="auto">
              <a:xfrm flipH="1" flipV="1">
                <a:off x="5797551" y="2971800"/>
                <a:ext cx="14288" cy="793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64" name="Line 337">
                <a:extLst>
                  <a:ext uri="{FF2B5EF4-FFF2-40B4-BE49-F238E27FC236}">
                    <a16:creationId xmlns:a16="http://schemas.microsoft.com/office/drawing/2014/main" id="{D035F0A6-A4FC-441C-81B2-A97F15437731}"/>
                  </a:ext>
                </a:extLst>
              </p:cNvPr>
              <p:cNvSpPr>
                <a:spLocks noChangeShapeType="1"/>
              </p:cNvSpPr>
              <p:nvPr/>
            </p:nvSpPr>
            <p:spPr bwMode="auto">
              <a:xfrm flipH="1">
                <a:off x="5948363" y="2974975"/>
                <a:ext cx="7938" cy="4763"/>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65" name="Line 338">
                <a:extLst>
                  <a:ext uri="{FF2B5EF4-FFF2-40B4-BE49-F238E27FC236}">
                    <a16:creationId xmlns:a16="http://schemas.microsoft.com/office/drawing/2014/main" id="{0953733B-598B-473D-9B20-0A2BE3484985}"/>
                  </a:ext>
                </a:extLst>
              </p:cNvPr>
              <p:cNvSpPr>
                <a:spLocks noChangeShapeType="1"/>
              </p:cNvSpPr>
              <p:nvPr/>
            </p:nvSpPr>
            <p:spPr bwMode="auto">
              <a:xfrm>
                <a:off x="5910263" y="2887663"/>
                <a:ext cx="46038" cy="3175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66" name="Line 339">
                <a:extLst>
                  <a:ext uri="{FF2B5EF4-FFF2-40B4-BE49-F238E27FC236}">
                    <a16:creationId xmlns:a16="http://schemas.microsoft.com/office/drawing/2014/main" id="{D1EB074B-2E9D-4A15-BE89-7BBD0E0F515B}"/>
                  </a:ext>
                </a:extLst>
              </p:cNvPr>
              <p:cNvSpPr>
                <a:spLocks noChangeShapeType="1"/>
              </p:cNvSpPr>
              <p:nvPr/>
            </p:nvSpPr>
            <p:spPr bwMode="auto">
              <a:xfrm flipV="1">
                <a:off x="5799138" y="2892425"/>
                <a:ext cx="50800" cy="3333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67" name="Freeform 340">
                <a:extLst>
                  <a:ext uri="{FF2B5EF4-FFF2-40B4-BE49-F238E27FC236}">
                    <a16:creationId xmlns:a16="http://schemas.microsoft.com/office/drawing/2014/main" id="{A7D90124-FBF7-421D-B7C6-BCDC22C40D2D}"/>
                  </a:ext>
                </a:extLst>
              </p:cNvPr>
              <p:cNvSpPr>
                <a:spLocks/>
              </p:cNvSpPr>
              <p:nvPr/>
            </p:nvSpPr>
            <p:spPr bwMode="auto">
              <a:xfrm>
                <a:off x="5746751" y="2921000"/>
                <a:ext cx="12700" cy="11113"/>
              </a:xfrm>
              <a:custGeom>
                <a:avLst/>
                <a:gdLst/>
                <a:ahLst/>
                <a:cxnLst>
                  <a:cxn ang="0">
                    <a:pos x="0" y="6"/>
                  </a:cxn>
                  <a:cxn ang="0">
                    <a:pos x="4" y="3"/>
                  </a:cxn>
                  <a:cxn ang="0">
                    <a:pos x="6" y="0"/>
                  </a:cxn>
                </a:cxnLst>
                <a:rect l="0" t="0" r="r" b="b"/>
                <a:pathLst>
                  <a:path w="6" h="6">
                    <a:moveTo>
                      <a:pt x="0" y="6"/>
                    </a:moveTo>
                    <a:cubicBezTo>
                      <a:pt x="2" y="6"/>
                      <a:pt x="4" y="4"/>
                      <a:pt x="4" y="3"/>
                    </a:cubicBezTo>
                    <a:cubicBezTo>
                      <a:pt x="5" y="2"/>
                      <a:pt x="6" y="1"/>
                      <a:pt x="6"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68" name="Freeform 341">
                <a:extLst>
                  <a:ext uri="{FF2B5EF4-FFF2-40B4-BE49-F238E27FC236}">
                    <a16:creationId xmlns:a16="http://schemas.microsoft.com/office/drawing/2014/main" id="{7DED45CA-584F-491B-825F-0C5944F1F89D}"/>
                  </a:ext>
                </a:extLst>
              </p:cNvPr>
              <p:cNvSpPr>
                <a:spLocks/>
              </p:cNvSpPr>
              <p:nvPr/>
            </p:nvSpPr>
            <p:spPr bwMode="auto">
              <a:xfrm>
                <a:off x="5759451" y="2921000"/>
                <a:ext cx="11113" cy="9525"/>
              </a:xfrm>
              <a:custGeom>
                <a:avLst/>
                <a:gdLst/>
                <a:ahLst/>
                <a:cxnLst>
                  <a:cxn ang="0">
                    <a:pos x="0" y="0"/>
                  </a:cxn>
                  <a:cxn ang="0">
                    <a:pos x="2" y="4"/>
                  </a:cxn>
                  <a:cxn ang="0">
                    <a:pos x="6" y="5"/>
                  </a:cxn>
                </a:cxnLst>
                <a:rect l="0" t="0" r="r" b="b"/>
                <a:pathLst>
                  <a:path w="6" h="5">
                    <a:moveTo>
                      <a:pt x="0" y="0"/>
                    </a:moveTo>
                    <a:cubicBezTo>
                      <a:pt x="1" y="1"/>
                      <a:pt x="2" y="3"/>
                      <a:pt x="2" y="4"/>
                    </a:cubicBezTo>
                    <a:cubicBezTo>
                      <a:pt x="4" y="5"/>
                      <a:pt x="5" y="5"/>
                      <a:pt x="6" y="5"/>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69" name="Freeform 342">
                <a:extLst>
                  <a:ext uri="{FF2B5EF4-FFF2-40B4-BE49-F238E27FC236}">
                    <a16:creationId xmlns:a16="http://schemas.microsoft.com/office/drawing/2014/main" id="{BE73018E-FB5B-488B-8DC0-97BC81CECEB5}"/>
                  </a:ext>
                </a:extLst>
              </p:cNvPr>
              <p:cNvSpPr>
                <a:spLocks/>
              </p:cNvSpPr>
              <p:nvPr/>
            </p:nvSpPr>
            <p:spPr bwMode="auto">
              <a:xfrm>
                <a:off x="5768976" y="2930525"/>
                <a:ext cx="9525" cy="17463"/>
              </a:xfrm>
              <a:custGeom>
                <a:avLst/>
                <a:gdLst/>
                <a:ahLst/>
                <a:cxnLst>
                  <a:cxn ang="0">
                    <a:pos x="1" y="0"/>
                  </a:cxn>
                  <a:cxn ang="0">
                    <a:pos x="5" y="5"/>
                  </a:cxn>
                  <a:cxn ang="0">
                    <a:pos x="2" y="6"/>
                  </a:cxn>
                  <a:cxn ang="0">
                    <a:pos x="4" y="8"/>
                  </a:cxn>
                  <a:cxn ang="0">
                    <a:pos x="0" y="7"/>
                  </a:cxn>
                </a:cxnLst>
                <a:rect l="0" t="0" r="r" b="b"/>
                <a:pathLst>
                  <a:path w="5" h="9">
                    <a:moveTo>
                      <a:pt x="1" y="0"/>
                    </a:moveTo>
                    <a:cubicBezTo>
                      <a:pt x="2" y="1"/>
                      <a:pt x="4" y="7"/>
                      <a:pt x="5" y="5"/>
                    </a:cubicBezTo>
                    <a:cubicBezTo>
                      <a:pt x="4" y="6"/>
                      <a:pt x="4" y="6"/>
                      <a:pt x="2" y="6"/>
                    </a:cubicBezTo>
                    <a:cubicBezTo>
                      <a:pt x="3" y="7"/>
                      <a:pt x="3" y="7"/>
                      <a:pt x="4" y="8"/>
                    </a:cubicBezTo>
                    <a:cubicBezTo>
                      <a:pt x="3" y="9"/>
                      <a:pt x="1" y="7"/>
                      <a:pt x="0" y="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70" name="Freeform 343">
                <a:extLst>
                  <a:ext uri="{FF2B5EF4-FFF2-40B4-BE49-F238E27FC236}">
                    <a16:creationId xmlns:a16="http://schemas.microsoft.com/office/drawing/2014/main" id="{D083DDC2-11DF-4AFB-956A-79ADD161DB1C}"/>
                  </a:ext>
                </a:extLst>
              </p:cNvPr>
              <p:cNvSpPr>
                <a:spLocks/>
              </p:cNvSpPr>
              <p:nvPr/>
            </p:nvSpPr>
            <p:spPr bwMode="auto">
              <a:xfrm>
                <a:off x="5873751" y="2859088"/>
                <a:ext cx="4763" cy="6350"/>
              </a:xfrm>
              <a:custGeom>
                <a:avLst/>
                <a:gdLst/>
                <a:ahLst/>
                <a:cxnLst>
                  <a:cxn ang="0">
                    <a:pos x="2" y="0"/>
                  </a:cxn>
                  <a:cxn ang="0">
                    <a:pos x="0" y="3"/>
                  </a:cxn>
                </a:cxnLst>
                <a:rect l="0" t="0" r="r" b="b"/>
                <a:pathLst>
                  <a:path w="3" h="3">
                    <a:moveTo>
                      <a:pt x="2" y="0"/>
                    </a:moveTo>
                    <a:cubicBezTo>
                      <a:pt x="3" y="2"/>
                      <a:pt x="2" y="3"/>
                      <a:pt x="0" y="3"/>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71" name="Freeform 344">
                <a:extLst>
                  <a:ext uri="{FF2B5EF4-FFF2-40B4-BE49-F238E27FC236}">
                    <a16:creationId xmlns:a16="http://schemas.microsoft.com/office/drawing/2014/main" id="{17AF34D9-816B-4F51-A935-515DBA7E60AE}"/>
                  </a:ext>
                </a:extLst>
              </p:cNvPr>
              <p:cNvSpPr>
                <a:spLocks/>
              </p:cNvSpPr>
              <p:nvPr/>
            </p:nvSpPr>
            <p:spPr bwMode="auto">
              <a:xfrm>
                <a:off x="5881688" y="2857500"/>
                <a:ext cx="4763" cy="9525"/>
              </a:xfrm>
              <a:custGeom>
                <a:avLst/>
                <a:gdLst/>
                <a:ahLst/>
                <a:cxnLst>
                  <a:cxn ang="0">
                    <a:pos x="0" y="0"/>
                  </a:cxn>
                  <a:cxn ang="0">
                    <a:pos x="3" y="3"/>
                  </a:cxn>
                </a:cxnLst>
                <a:rect l="0" t="0" r="r" b="b"/>
                <a:pathLst>
                  <a:path w="3" h="5">
                    <a:moveTo>
                      <a:pt x="0" y="0"/>
                    </a:moveTo>
                    <a:cubicBezTo>
                      <a:pt x="0" y="2"/>
                      <a:pt x="1" y="5"/>
                      <a:pt x="3" y="3"/>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72" name="Freeform 345">
                <a:extLst>
                  <a:ext uri="{FF2B5EF4-FFF2-40B4-BE49-F238E27FC236}">
                    <a16:creationId xmlns:a16="http://schemas.microsoft.com/office/drawing/2014/main" id="{ED5A4FEC-AF37-499B-A0F9-153945640F69}"/>
                  </a:ext>
                </a:extLst>
              </p:cNvPr>
              <p:cNvSpPr>
                <a:spLocks/>
              </p:cNvSpPr>
              <p:nvPr/>
            </p:nvSpPr>
            <p:spPr bwMode="auto">
              <a:xfrm>
                <a:off x="5888038" y="2867025"/>
                <a:ext cx="4763" cy="6350"/>
              </a:xfrm>
              <a:custGeom>
                <a:avLst/>
                <a:gdLst/>
                <a:ahLst/>
                <a:cxnLst>
                  <a:cxn ang="0">
                    <a:pos x="0" y="0"/>
                  </a:cxn>
                  <a:cxn ang="0">
                    <a:pos x="2" y="1"/>
                  </a:cxn>
                </a:cxnLst>
                <a:rect l="0" t="0" r="r" b="b"/>
                <a:pathLst>
                  <a:path w="2" h="3">
                    <a:moveTo>
                      <a:pt x="0" y="0"/>
                    </a:moveTo>
                    <a:cubicBezTo>
                      <a:pt x="0" y="1"/>
                      <a:pt x="1" y="3"/>
                      <a:pt x="2" y="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73" name="Freeform 346">
                <a:extLst>
                  <a:ext uri="{FF2B5EF4-FFF2-40B4-BE49-F238E27FC236}">
                    <a16:creationId xmlns:a16="http://schemas.microsoft.com/office/drawing/2014/main" id="{5DCF17E4-786F-40A9-A53F-00AF4E85D126}"/>
                  </a:ext>
                </a:extLst>
              </p:cNvPr>
              <p:cNvSpPr>
                <a:spLocks/>
              </p:cNvSpPr>
              <p:nvPr/>
            </p:nvSpPr>
            <p:spPr bwMode="auto">
              <a:xfrm>
                <a:off x="5886451" y="2870200"/>
                <a:ext cx="6350" cy="4763"/>
              </a:xfrm>
              <a:custGeom>
                <a:avLst/>
                <a:gdLst/>
                <a:ahLst/>
                <a:cxnLst>
                  <a:cxn ang="0">
                    <a:pos x="0" y="0"/>
                  </a:cxn>
                  <a:cxn ang="0">
                    <a:pos x="3" y="2"/>
                  </a:cxn>
                </a:cxnLst>
                <a:rect l="0" t="0" r="r" b="b"/>
                <a:pathLst>
                  <a:path w="3" h="2">
                    <a:moveTo>
                      <a:pt x="0" y="0"/>
                    </a:moveTo>
                    <a:cubicBezTo>
                      <a:pt x="1" y="1"/>
                      <a:pt x="2" y="2"/>
                      <a:pt x="3" y="2"/>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74" name="Freeform 347">
                <a:extLst>
                  <a:ext uri="{FF2B5EF4-FFF2-40B4-BE49-F238E27FC236}">
                    <a16:creationId xmlns:a16="http://schemas.microsoft.com/office/drawing/2014/main" id="{F7C44B5E-10B9-4958-8813-369B3AD37EC2}"/>
                  </a:ext>
                </a:extLst>
              </p:cNvPr>
              <p:cNvSpPr>
                <a:spLocks/>
              </p:cNvSpPr>
              <p:nvPr/>
            </p:nvSpPr>
            <p:spPr bwMode="auto">
              <a:xfrm>
                <a:off x="5867401" y="2863850"/>
                <a:ext cx="3175" cy="4763"/>
              </a:xfrm>
              <a:custGeom>
                <a:avLst/>
                <a:gdLst/>
                <a:ahLst/>
                <a:cxnLst>
                  <a:cxn ang="0">
                    <a:pos x="2" y="0"/>
                  </a:cxn>
                  <a:cxn ang="0">
                    <a:pos x="0" y="3"/>
                  </a:cxn>
                </a:cxnLst>
                <a:rect l="0" t="0" r="r" b="b"/>
                <a:pathLst>
                  <a:path w="2" h="3">
                    <a:moveTo>
                      <a:pt x="2" y="0"/>
                    </a:moveTo>
                    <a:cubicBezTo>
                      <a:pt x="2" y="1"/>
                      <a:pt x="1" y="3"/>
                      <a:pt x="0" y="3"/>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75" name="Freeform 348">
                <a:extLst>
                  <a:ext uri="{FF2B5EF4-FFF2-40B4-BE49-F238E27FC236}">
                    <a16:creationId xmlns:a16="http://schemas.microsoft.com/office/drawing/2014/main" id="{C8748C20-49AC-406A-9C09-47B027AF8CEC}"/>
                  </a:ext>
                </a:extLst>
              </p:cNvPr>
              <p:cNvSpPr>
                <a:spLocks/>
              </p:cNvSpPr>
              <p:nvPr/>
            </p:nvSpPr>
            <p:spPr bwMode="auto">
              <a:xfrm>
                <a:off x="5867401" y="2868613"/>
                <a:ext cx="6350" cy="6350"/>
              </a:xfrm>
              <a:custGeom>
                <a:avLst/>
                <a:gdLst/>
                <a:ahLst/>
                <a:cxnLst>
                  <a:cxn ang="0">
                    <a:pos x="3" y="0"/>
                  </a:cxn>
                  <a:cxn ang="0">
                    <a:pos x="0" y="3"/>
                  </a:cxn>
                </a:cxnLst>
                <a:rect l="0" t="0" r="r" b="b"/>
                <a:pathLst>
                  <a:path w="3" h="3">
                    <a:moveTo>
                      <a:pt x="3" y="0"/>
                    </a:moveTo>
                    <a:cubicBezTo>
                      <a:pt x="2" y="1"/>
                      <a:pt x="2" y="3"/>
                      <a:pt x="0" y="3"/>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grpSp>
        <p:grpSp>
          <p:nvGrpSpPr>
            <p:cNvPr id="76" name="Groupe 664">
              <a:extLst>
                <a:ext uri="{FF2B5EF4-FFF2-40B4-BE49-F238E27FC236}">
                  <a16:creationId xmlns:a16="http://schemas.microsoft.com/office/drawing/2014/main" id="{96A75A88-8B59-492E-8A00-80E9335EC016}"/>
                </a:ext>
              </a:extLst>
            </p:cNvPr>
            <p:cNvGrpSpPr/>
            <p:nvPr/>
          </p:nvGrpSpPr>
          <p:grpSpPr>
            <a:xfrm>
              <a:off x="5557525" y="4822055"/>
              <a:ext cx="498475" cy="349250"/>
              <a:chOff x="3729038" y="2759075"/>
              <a:chExt cx="498475" cy="349250"/>
            </a:xfrm>
          </p:grpSpPr>
          <p:sp>
            <p:nvSpPr>
              <p:cNvPr id="77" name="Freeform 228">
                <a:extLst>
                  <a:ext uri="{FF2B5EF4-FFF2-40B4-BE49-F238E27FC236}">
                    <a16:creationId xmlns:a16="http://schemas.microsoft.com/office/drawing/2014/main" id="{946DBE42-2178-4D4F-B276-F14DF7927AA6}"/>
                  </a:ext>
                </a:extLst>
              </p:cNvPr>
              <p:cNvSpPr>
                <a:spLocks/>
              </p:cNvSpPr>
              <p:nvPr/>
            </p:nvSpPr>
            <p:spPr bwMode="auto">
              <a:xfrm>
                <a:off x="3795713" y="2759075"/>
                <a:ext cx="119063" cy="69850"/>
              </a:xfrm>
              <a:custGeom>
                <a:avLst/>
                <a:gdLst/>
                <a:ahLst/>
                <a:cxnLst>
                  <a:cxn ang="0">
                    <a:pos x="0" y="36"/>
                  </a:cxn>
                  <a:cxn ang="0">
                    <a:pos x="61" y="7"/>
                  </a:cxn>
                </a:cxnLst>
                <a:rect l="0" t="0" r="r" b="b"/>
                <a:pathLst>
                  <a:path w="61" h="36">
                    <a:moveTo>
                      <a:pt x="0" y="36"/>
                    </a:moveTo>
                    <a:cubicBezTo>
                      <a:pt x="0" y="36"/>
                      <a:pt x="18" y="0"/>
                      <a:pt x="61" y="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78" name="Freeform 229">
                <a:extLst>
                  <a:ext uri="{FF2B5EF4-FFF2-40B4-BE49-F238E27FC236}">
                    <a16:creationId xmlns:a16="http://schemas.microsoft.com/office/drawing/2014/main" id="{36A4D5AB-4FD1-49C0-A8A4-C05351A6ECC1}"/>
                  </a:ext>
                </a:extLst>
              </p:cNvPr>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79" name="Freeform 230">
                <a:extLst>
                  <a:ext uri="{FF2B5EF4-FFF2-40B4-BE49-F238E27FC236}">
                    <a16:creationId xmlns:a16="http://schemas.microsoft.com/office/drawing/2014/main" id="{C859A06B-C8B9-4BAF-8EBA-DC35AC0BE331}"/>
                  </a:ext>
                </a:extLst>
              </p:cNvPr>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80" name="Freeform 231">
                <a:extLst>
                  <a:ext uri="{FF2B5EF4-FFF2-40B4-BE49-F238E27FC236}">
                    <a16:creationId xmlns:a16="http://schemas.microsoft.com/office/drawing/2014/main" id="{3F9C727F-AB36-4BAE-82FD-1793EEE6DFB8}"/>
                  </a:ext>
                </a:extLst>
              </p:cNvPr>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81" name="Freeform 232">
                <a:extLst>
                  <a:ext uri="{FF2B5EF4-FFF2-40B4-BE49-F238E27FC236}">
                    <a16:creationId xmlns:a16="http://schemas.microsoft.com/office/drawing/2014/main" id="{2BC7A1B6-8E3D-48D5-8A5A-1DD85181D140}"/>
                  </a:ext>
                </a:extLst>
              </p:cNvPr>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82" name="Freeform 233">
                <a:extLst>
                  <a:ext uri="{FF2B5EF4-FFF2-40B4-BE49-F238E27FC236}">
                    <a16:creationId xmlns:a16="http://schemas.microsoft.com/office/drawing/2014/main" id="{4CE2E47B-9EA0-4F66-8A39-9A8C6D550CA6}"/>
                  </a:ext>
                </a:extLst>
              </p:cNvPr>
              <p:cNvSpPr>
                <a:spLocks/>
              </p:cNvSpPr>
              <p:nvPr/>
            </p:nvSpPr>
            <p:spPr bwMode="auto">
              <a:xfrm>
                <a:off x="4051301" y="2857500"/>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83" name="Freeform 234">
                <a:extLst>
                  <a:ext uri="{FF2B5EF4-FFF2-40B4-BE49-F238E27FC236}">
                    <a16:creationId xmlns:a16="http://schemas.microsoft.com/office/drawing/2014/main" id="{D070EAB4-DE30-48A9-9218-17DB619142BC}"/>
                  </a:ext>
                </a:extLst>
              </p:cNvPr>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84" name="Freeform 235">
                <a:extLst>
                  <a:ext uri="{FF2B5EF4-FFF2-40B4-BE49-F238E27FC236}">
                    <a16:creationId xmlns:a16="http://schemas.microsoft.com/office/drawing/2014/main" id="{7EDA8CC5-2A8C-4C1C-AA26-AE8859AE2EF1}"/>
                  </a:ext>
                </a:extLst>
              </p:cNvPr>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85" name="Freeform 236">
                <a:extLst>
                  <a:ext uri="{FF2B5EF4-FFF2-40B4-BE49-F238E27FC236}">
                    <a16:creationId xmlns:a16="http://schemas.microsoft.com/office/drawing/2014/main" id="{DA9DB31C-B9C5-4C3D-8613-D0434B4159A8}"/>
                  </a:ext>
                </a:extLst>
              </p:cNvPr>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86" name="Freeform 237">
                <a:extLst>
                  <a:ext uri="{FF2B5EF4-FFF2-40B4-BE49-F238E27FC236}">
                    <a16:creationId xmlns:a16="http://schemas.microsoft.com/office/drawing/2014/main" id="{39DF4F63-B9C0-4D14-9A5A-6E80329F0233}"/>
                  </a:ext>
                </a:extLst>
              </p:cNvPr>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87" name="Freeform 238">
                <a:extLst>
                  <a:ext uri="{FF2B5EF4-FFF2-40B4-BE49-F238E27FC236}">
                    <a16:creationId xmlns:a16="http://schemas.microsoft.com/office/drawing/2014/main" id="{9EC6FA1A-E364-4045-9B52-902B1B353636}"/>
                  </a:ext>
                </a:extLst>
              </p:cNvPr>
              <p:cNvSpPr>
                <a:spLocks/>
              </p:cNvSpPr>
              <p:nvPr/>
            </p:nvSpPr>
            <p:spPr bwMode="auto">
              <a:xfrm>
                <a:off x="3941763" y="2897188"/>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88" name="Freeform 239">
                <a:extLst>
                  <a:ext uri="{FF2B5EF4-FFF2-40B4-BE49-F238E27FC236}">
                    <a16:creationId xmlns:a16="http://schemas.microsoft.com/office/drawing/2014/main" id="{15D3FB96-3B4D-4274-A7F8-C958C980D490}"/>
                  </a:ext>
                </a:extLst>
              </p:cNvPr>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89" name="Freeform 240">
                <a:extLst>
                  <a:ext uri="{FF2B5EF4-FFF2-40B4-BE49-F238E27FC236}">
                    <a16:creationId xmlns:a16="http://schemas.microsoft.com/office/drawing/2014/main" id="{11E39B9C-E6A6-4371-8BC6-3CBA4CDC2551}"/>
                  </a:ext>
                </a:extLst>
              </p:cNvPr>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90" name="Freeform 241">
                <a:extLst>
                  <a:ext uri="{FF2B5EF4-FFF2-40B4-BE49-F238E27FC236}">
                    <a16:creationId xmlns:a16="http://schemas.microsoft.com/office/drawing/2014/main" id="{C1601D95-6AEB-46C9-ADBF-DA77C02163FC}"/>
                  </a:ext>
                </a:extLst>
              </p:cNvPr>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91" name="Freeform 242">
                <a:extLst>
                  <a:ext uri="{FF2B5EF4-FFF2-40B4-BE49-F238E27FC236}">
                    <a16:creationId xmlns:a16="http://schemas.microsoft.com/office/drawing/2014/main" id="{DC20C852-2027-4BEF-92C4-4EDF71DA6C0C}"/>
                  </a:ext>
                </a:extLst>
              </p:cNvPr>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92" name="Freeform 243">
                <a:extLst>
                  <a:ext uri="{FF2B5EF4-FFF2-40B4-BE49-F238E27FC236}">
                    <a16:creationId xmlns:a16="http://schemas.microsoft.com/office/drawing/2014/main" id="{6B70BA2B-3A6A-4503-ABBA-7F1CAE8EA729}"/>
                  </a:ext>
                </a:extLst>
              </p:cNvPr>
              <p:cNvSpPr>
                <a:spLocks/>
              </p:cNvSpPr>
              <p:nvPr/>
            </p:nvSpPr>
            <p:spPr bwMode="auto">
              <a:xfrm>
                <a:off x="3752851" y="2928938"/>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93" name="Freeform 244">
                <a:extLst>
                  <a:ext uri="{FF2B5EF4-FFF2-40B4-BE49-F238E27FC236}">
                    <a16:creationId xmlns:a16="http://schemas.microsoft.com/office/drawing/2014/main" id="{1BC9D3B5-B3A7-45DF-AA3F-734563069851}"/>
                  </a:ext>
                </a:extLst>
              </p:cNvPr>
              <p:cNvSpPr>
                <a:spLocks/>
              </p:cNvSpPr>
              <p:nvPr/>
            </p:nvSpPr>
            <p:spPr bwMode="auto">
              <a:xfrm>
                <a:off x="3729038" y="2928938"/>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94" name="Oval 245">
                <a:extLst>
                  <a:ext uri="{FF2B5EF4-FFF2-40B4-BE49-F238E27FC236}">
                    <a16:creationId xmlns:a16="http://schemas.microsoft.com/office/drawing/2014/main" id="{F2DCEAE8-45DF-40B5-AF2D-7A5DB949EE8D}"/>
                  </a:ext>
                </a:extLst>
              </p:cNvPr>
              <p:cNvSpPr>
                <a:spLocks noChangeArrowheads="1"/>
              </p:cNvSpPr>
              <p:nvPr/>
            </p:nvSpPr>
            <p:spPr bwMode="auto">
              <a:xfrm>
                <a:off x="3756026" y="2859088"/>
                <a:ext cx="61913" cy="762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95" name="Freeform 246">
                <a:extLst>
                  <a:ext uri="{FF2B5EF4-FFF2-40B4-BE49-F238E27FC236}">
                    <a16:creationId xmlns:a16="http://schemas.microsoft.com/office/drawing/2014/main" id="{0896DB8C-E4AD-40EB-A409-9C52BD825E2E}"/>
                  </a:ext>
                </a:extLst>
              </p:cNvPr>
              <p:cNvSpPr>
                <a:spLocks/>
              </p:cNvSpPr>
              <p:nvPr/>
            </p:nvSpPr>
            <p:spPr bwMode="auto">
              <a:xfrm>
                <a:off x="3944938" y="2828925"/>
                <a:ext cx="88900" cy="74613"/>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96" name="Freeform 247">
                <a:extLst>
                  <a:ext uri="{FF2B5EF4-FFF2-40B4-BE49-F238E27FC236}">
                    <a16:creationId xmlns:a16="http://schemas.microsoft.com/office/drawing/2014/main" id="{AD1C139B-DD64-4E3E-B9DD-5F31CA0E7FE9}"/>
                  </a:ext>
                </a:extLst>
              </p:cNvPr>
              <p:cNvSpPr>
                <a:spLocks/>
              </p:cNvSpPr>
              <p:nvPr/>
            </p:nvSpPr>
            <p:spPr bwMode="auto">
              <a:xfrm>
                <a:off x="3922713" y="2828925"/>
                <a:ext cx="36513" cy="74613"/>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97" name="Freeform 248">
                <a:extLst>
                  <a:ext uri="{FF2B5EF4-FFF2-40B4-BE49-F238E27FC236}">
                    <a16:creationId xmlns:a16="http://schemas.microsoft.com/office/drawing/2014/main" id="{DE06CBC6-5DD3-433E-997A-1E18991837C4}"/>
                  </a:ext>
                </a:extLst>
              </p:cNvPr>
              <p:cNvSpPr>
                <a:spLocks/>
              </p:cNvSpPr>
              <p:nvPr/>
            </p:nvSpPr>
            <p:spPr bwMode="auto">
              <a:xfrm>
                <a:off x="3949701" y="2759075"/>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98" name="Freeform 249">
                <a:extLst>
                  <a:ext uri="{FF2B5EF4-FFF2-40B4-BE49-F238E27FC236}">
                    <a16:creationId xmlns:a16="http://schemas.microsoft.com/office/drawing/2014/main" id="{E8CEA8E4-0B96-4386-824A-2DFAD1FD7ED9}"/>
                  </a:ext>
                </a:extLst>
              </p:cNvPr>
              <p:cNvSpPr>
                <a:spLocks/>
              </p:cNvSpPr>
              <p:nvPr/>
            </p:nvSpPr>
            <p:spPr bwMode="auto">
              <a:xfrm>
                <a:off x="4138613" y="2928938"/>
                <a:ext cx="88900" cy="79375"/>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99" name="Freeform 250">
                <a:extLst>
                  <a:ext uri="{FF2B5EF4-FFF2-40B4-BE49-F238E27FC236}">
                    <a16:creationId xmlns:a16="http://schemas.microsoft.com/office/drawing/2014/main" id="{290141FB-4D06-46EA-9ABD-FB0EEC50596B}"/>
                  </a:ext>
                </a:extLst>
              </p:cNvPr>
              <p:cNvSpPr>
                <a:spLocks/>
              </p:cNvSpPr>
              <p:nvPr/>
            </p:nvSpPr>
            <p:spPr bwMode="auto">
              <a:xfrm>
                <a:off x="4116388" y="293211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00" name="Freeform 251">
                <a:extLst>
                  <a:ext uri="{FF2B5EF4-FFF2-40B4-BE49-F238E27FC236}">
                    <a16:creationId xmlns:a16="http://schemas.microsoft.com/office/drawing/2014/main" id="{412AE217-757E-4986-9864-16BE9D2B9A25}"/>
                  </a:ext>
                </a:extLst>
              </p:cNvPr>
              <p:cNvSpPr>
                <a:spLocks/>
              </p:cNvSpPr>
              <p:nvPr/>
            </p:nvSpPr>
            <p:spPr bwMode="auto">
              <a:xfrm>
                <a:off x="4141788" y="2859088"/>
                <a:ext cx="61913" cy="79375"/>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01" name="Freeform 252">
                <a:extLst>
                  <a:ext uri="{FF2B5EF4-FFF2-40B4-BE49-F238E27FC236}">
                    <a16:creationId xmlns:a16="http://schemas.microsoft.com/office/drawing/2014/main" id="{A7507201-5B17-4BB7-8460-3FBD6F0B567F}"/>
                  </a:ext>
                </a:extLst>
              </p:cNvPr>
              <p:cNvSpPr>
                <a:spLocks/>
              </p:cNvSpPr>
              <p:nvPr/>
            </p:nvSpPr>
            <p:spPr bwMode="auto">
              <a:xfrm>
                <a:off x="4021138" y="3028950"/>
                <a:ext cx="88900" cy="74613"/>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02" name="Freeform 253">
                <a:extLst>
                  <a:ext uri="{FF2B5EF4-FFF2-40B4-BE49-F238E27FC236}">
                    <a16:creationId xmlns:a16="http://schemas.microsoft.com/office/drawing/2014/main" id="{E35F3F87-089F-4CCF-98A5-D7CE783B6E46}"/>
                  </a:ext>
                </a:extLst>
              </p:cNvPr>
              <p:cNvSpPr>
                <a:spLocks/>
              </p:cNvSpPr>
              <p:nvPr/>
            </p:nvSpPr>
            <p:spPr bwMode="auto">
              <a:xfrm>
                <a:off x="3997326" y="3028950"/>
                <a:ext cx="36513" cy="74613"/>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03" name="Freeform 254">
                <a:extLst>
                  <a:ext uri="{FF2B5EF4-FFF2-40B4-BE49-F238E27FC236}">
                    <a16:creationId xmlns:a16="http://schemas.microsoft.com/office/drawing/2014/main" id="{B1258258-CBC2-4A8D-A779-BB42A697E20A}"/>
                  </a:ext>
                </a:extLst>
              </p:cNvPr>
              <p:cNvSpPr>
                <a:spLocks/>
              </p:cNvSpPr>
              <p:nvPr/>
            </p:nvSpPr>
            <p:spPr bwMode="auto">
              <a:xfrm>
                <a:off x="4022726" y="2960688"/>
                <a:ext cx="60325" cy="73025"/>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04" name="Freeform 255">
                <a:extLst>
                  <a:ext uri="{FF2B5EF4-FFF2-40B4-BE49-F238E27FC236}">
                    <a16:creationId xmlns:a16="http://schemas.microsoft.com/office/drawing/2014/main" id="{31EB3582-2428-41B3-8374-6F8F0F44E2AD}"/>
                  </a:ext>
                </a:extLst>
              </p:cNvPr>
              <p:cNvSpPr>
                <a:spLocks/>
              </p:cNvSpPr>
              <p:nvPr/>
            </p:nvSpPr>
            <p:spPr bwMode="auto">
              <a:xfrm>
                <a:off x="3871913" y="3032125"/>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05" name="Freeform 256">
                <a:extLst>
                  <a:ext uri="{FF2B5EF4-FFF2-40B4-BE49-F238E27FC236}">
                    <a16:creationId xmlns:a16="http://schemas.microsoft.com/office/drawing/2014/main" id="{01465F06-858F-42A8-8F1E-1AE4DD428471}"/>
                  </a:ext>
                </a:extLst>
              </p:cNvPr>
              <p:cNvSpPr>
                <a:spLocks/>
              </p:cNvSpPr>
              <p:nvPr/>
            </p:nvSpPr>
            <p:spPr bwMode="auto">
              <a:xfrm>
                <a:off x="3846513" y="303212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06" name="Freeform 257">
                <a:extLst>
                  <a:ext uri="{FF2B5EF4-FFF2-40B4-BE49-F238E27FC236}">
                    <a16:creationId xmlns:a16="http://schemas.microsoft.com/office/drawing/2014/main" id="{61909ACC-D180-4D25-8A42-E4A9513911D2}"/>
                  </a:ext>
                </a:extLst>
              </p:cNvPr>
              <p:cNvSpPr>
                <a:spLocks/>
              </p:cNvSpPr>
              <p:nvPr/>
            </p:nvSpPr>
            <p:spPr bwMode="auto">
              <a:xfrm>
                <a:off x="3873501" y="2962275"/>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07" name="Freeform 258">
                <a:extLst>
                  <a:ext uri="{FF2B5EF4-FFF2-40B4-BE49-F238E27FC236}">
                    <a16:creationId xmlns:a16="http://schemas.microsoft.com/office/drawing/2014/main" id="{0C894854-0F35-4A5A-ACE5-5DF722691E2F}"/>
                  </a:ext>
                </a:extLst>
              </p:cNvPr>
              <p:cNvSpPr>
                <a:spLocks/>
              </p:cNvSpPr>
              <p:nvPr/>
            </p:nvSpPr>
            <p:spPr bwMode="auto">
              <a:xfrm>
                <a:off x="4048126" y="2759075"/>
                <a:ext cx="114300" cy="69850"/>
              </a:xfrm>
              <a:custGeom>
                <a:avLst/>
                <a:gdLst/>
                <a:ahLst/>
                <a:cxnLst>
                  <a:cxn ang="0">
                    <a:pos x="59" y="36"/>
                  </a:cxn>
                  <a:cxn ang="0">
                    <a:pos x="0" y="7"/>
                  </a:cxn>
                </a:cxnLst>
                <a:rect l="0" t="0" r="r" b="b"/>
                <a:pathLst>
                  <a:path w="59" h="36">
                    <a:moveTo>
                      <a:pt x="59" y="36"/>
                    </a:moveTo>
                    <a:cubicBezTo>
                      <a:pt x="59" y="36"/>
                      <a:pt x="42" y="0"/>
                      <a:pt x="0" y="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08" name="Freeform 259">
                <a:extLst>
                  <a:ext uri="{FF2B5EF4-FFF2-40B4-BE49-F238E27FC236}">
                    <a16:creationId xmlns:a16="http://schemas.microsoft.com/office/drawing/2014/main" id="{C4E98BFB-A785-43EF-A1F4-AD25E69E287A}"/>
                  </a:ext>
                </a:extLst>
              </p:cNvPr>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09" name="Freeform 260">
                <a:extLst>
                  <a:ext uri="{FF2B5EF4-FFF2-40B4-BE49-F238E27FC236}">
                    <a16:creationId xmlns:a16="http://schemas.microsoft.com/office/drawing/2014/main" id="{55207E04-05FB-49D9-ABE2-8BDE1158B76A}"/>
                  </a:ext>
                </a:extLst>
              </p:cNvPr>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10" name="Freeform 261">
                <a:extLst>
                  <a:ext uri="{FF2B5EF4-FFF2-40B4-BE49-F238E27FC236}">
                    <a16:creationId xmlns:a16="http://schemas.microsoft.com/office/drawing/2014/main" id="{E47F06BF-56C2-44B1-BB43-567AF12BE037}"/>
                  </a:ext>
                </a:extLst>
              </p:cNvPr>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11" name="Freeform 262">
                <a:extLst>
                  <a:ext uri="{FF2B5EF4-FFF2-40B4-BE49-F238E27FC236}">
                    <a16:creationId xmlns:a16="http://schemas.microsoft.com/office/drawing/2014/main" id="{04C20609-C39B-431D-9986-A11FFB1CF53A}"/>
                  </a:ext>
                </a:extLst>
              </p:cNvPr>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12" name="Freeform 263">
                <a:extLst>
                  <a:ext uri="{FF2B5EF4-FFF2-40B4-BE49-F238E27FC236}">
                    <a16:creationId xmlns:a16="http://schemas.microsoft.com/office/drawing/2014/main" id="{8E1FEC8D-1038-4F94-B0A5-84481CF398B2}"/>
                  </a:ext>
                </a:extLst>
              </p:cNvPr>
              <p:cNvSpPr>
                <a:spLocks/>
              </p:cNvSpPr>
              <p:nvPr/>
            </p:nvSpPr>
            <p:spPr bwMode="auto">
              <a:xfrm>
                <a:off x="3843338" y="2857500"/>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13" name="Freeform 264">
                <a:extLst>
                  <a:ext uri="{FF2B5EF4-FFF2-40B4-BE49-F238E27FC236}">
                    <a16:creationId xmlns:a16="http://schemas.microsoft.com/office/drawing/2014/main" id="{15CED047-C78A-4307-B058-03A5130EFDC2}"/>
                  </a:ext>
                </a:extLst>
              </p:cNvPr>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14" name="Freeform 265">
                <a:extLst>
                  <a:ext uri="{FF2B5EF4-FFF2-40B4-BE49-F238E27FC236}">
                    <a16:creationId xmlns:a16="http://schemas.microsoft.com/office/drawing/2014/main" id="{F2779EDF-883D-476D-AC06-355D6223B27F}"/>
                  </a:ext>
                </a:extLst>
              </p:cNvPr>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15" name="Freeform 266">
                <a:extLst>
                  <a:ext uri="{FF2B5EF4-FFF2-40B4-BE49-F238E27FC236}">
                    <a16:creationId xmlns:a16="http://schemas.microsoft.com/office/drawing/2014/main" id="{697FBD20-61DA-4F5D-AAC4-DD33B2BEEC5D}"/>
                  </a:ext>
                </a:extLst>
              </p:cNvPr>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16" name="Freeform 267">
                <a:extLst>
                  <a:ext uri="{FF2B5EF4-FFF2-40B4-BE49-F238E27FC236}">
                    <a16:creationId xmlns:a16="http://schemas.microsoft.com/office/drawing/2014/main" id="{C5CABCE6-AAFE-47DF-B9FC-7F72E1CCAF35}"/>
                  </a:ext>
                </a:extLst>
              </p:cNvPr>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Verdana"/>
                  <a:ea typeface="+mn-ea"/>
                  <a:cs typeface="Arial" pitchFamily="34" charset="0"/>
                </a:endParaRPr>
              </a:p>
            </p:txBody>
          </p:sp>
        </p:grpSp>
        <p:grpSp>
          <p:nvGrpSpPr>
            <p:cNvPr id="117" name="Groupe 299">
              <a:extLst>
                <a:ext uri="{FF2B5EF4-FFF2-40B4-BE49-F238E27FC236}">
                  <a16:creationId xmlns:a16="http://schemas.microsoft.com/office/drawing/2014/main" id="{C8352A97-FB98-461A-BFA1-ACA381450628}"/>
                </a:ext>
              </a:extLst>
            </p:cNvPr>
            <p:cNvGrpSpPr/>
            <p:nvPr/>
          </p:nvGrpSpPr>
          <p:grpSpPr>
            <a:xfrm>
              <a:off x="4696480" y="3765534"/>
              <a:ext cx="385763" cy="231775"/>
              <a:chOff x="4572000" y="4300538"/>
              <a:chExt cx="385763" cy="231775"/>
            </a:xfrm>
          </p:grpSpPr>
          <p:sp>
            <p:nvSpPr>
              <p:cNvPr id="118" name="Freeform 828">
                <a:extLst>
                  <a:ext uri="{FF2B5EF4-FFF2-40B4-BE49-F238E27FC236}">
                    <a16:creationId xmlns:a16="http://schemas.microsoft.com/office/drawing/2014/main" id="{34186393-10F4-403C-B8B7-6CBE10ED2F62}"/>
                  </a:ext>
                </a:extLst>
              </p:cNvPr>
              <p:cNvSpPr>
                <a:spLocks/>
              </p:cNvSpPr>
              <p:nvPr/>
            </p:nvSpPr>
            <p:spPr bwMode="auto">
              <a:xfrm>
                <a:off x="4572000" y="4306888"/>
                <a:ext cx="385763" cy="225425"/>
              </a:xfrm>
              <a:custGeom>
                <a:avLst/>
                <a:gdLst/>
                <a:ahLst/>
                <a:cxnLst>
                  <a:cxn ang="0">
                    <a:pos x="0" y="0"/>
                  </a:cxn>
                  <a:cxn ang="0">
                    <a:pos x="0" y="142"/>
                  </a:cxn>
                  <a:cxn ang="0">
                    <a:pos x="243" y="142"/>
                  </a:cxn>
                </a:cxnLst>
                <a:rect l="0" t="0" r="r" b="b"/>
                <a:pathLst>
                  <a:path w="243" h="142">
                    <a:moveTo>
                      <a:pt x="0" y="0"/>
                    </a:moveTo>
                    <a:lnTo>
                      <a:pt x="0" y="142"/>
                    </a:lnTo>
                    <a:lnTo>
                      <a:pt x="243" y="142"/>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19" name="Freeform 829">
                <a:extLst>
                  <a:ext uri="{FF2B5EF4-FFF2-40B4-BE49-F238E27FC236}">
                    <a16:creationId xmlns:a16="http://schemas.microsoft.com/office/drawing/2014/main" id="{BE280F3F-94BC-4C1B-9D1C-A06B62D47BD7}"/>
                  </a:ext>
                </a:extLst>
              </p:cNvPr>
              <p:cNvSpPr>
                <a:spLocks/>
              </p:cNvSpPr>
              <p:nvPr/>
            </p:nvSpPr>
            <p:spPr bwMode="auto">
              <a:xfrm>
                <a:off x="4611688" y="4337051"/>
                <a:ext cx="260350" cy="168275"/>
              </a:xfrm>
              <a:custGeom>
                <a:avLst/>
                <a:gdLst/>
                <a:ahLst/>
                <a:cxnLst>
                  <a:cxn ang="0">
                    <a:pos x="0" y="106"/>
                  </a:cxn>
                  <a:cxn ang="0">
                    <a:pos x="48" y="57"/>
                  </a:cxn>
                  <a:cxn ang="0">
                    <a:pos x="77" y="86"/>
                  </a:cxn>
                  <a:cxn ang="0">
                    <a:pos x="164" y="0"/>
                  </a:cxn>
                </a:cxnLst>
                <a:rect l="0" t="0" r="r" b="b"/>
                <a:pathLst>
                  <a:path w="164" h="106">
                    <a:moveTo>
                      <a:pt x="0" y="106"/>
                    </a:moveTo>
                    <a:lnTo>
                      <a:pt x="48" y="57"/>
                    </a:lnTo>
                    <a:lnTo>
                      <a:pt x="77" y="86"/>
                    </a:lnTo>
                    <a:lnTo>
                      <a:pt x="164"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20" name="Freeform 831">
                <a:extLst>
                  <a:ext uri="{FF2B5EF4-FFF2-40B4-BE49-F238E27FC236}">
                    <a16:creationId xmlns:a16="http://schemas.microsoft.com/office/drawing/2014/main" id="{7A7BBAE7-7208-4B9A-B4D4-63541770FD3E}"/>
                  </a:ext>
                </a:extLst>
              </p:cNvPr>
              <p:cNvSpPr>
                <a:spLocks/>
              </p:cNvSpPr>
              <p:nvPr/>
            </p:nvSpPr>
            <p:spPr bwMode="auto">
              <a:xfrm>
                <a:off x="4829175" y="4300538"/>
                <a:ext cx="74613" cy="77788"/>
              </a:xfrm>
              <a:custGeom>
                <a:avLst/>
                <a:gdLst/>
                <a:ahLst/>
                <a:cxnLst>
                  <a:cxn ang="0">
                    <a:pos x="0" y="0"/>
                  </a:cxn>
                  <a:cxn ang="0">
                    <a:pos x="47" y="0"/>
                  </a:cxn>
                  <a:cxn ang="0">
                    <a:pos x="47" y="49"/>
                  </a:cxn>
                </a:cxnLst>
                <a:rect l="0" t="0" r="r" b="b"/>
                <a:pathLst>
                  <a:path w="47" h="49">
                    <a:moveTo>
                      <a:pt x="0" y="0"/>
                    </a:moveTo>
                    <a:lnTo>
                      <a:pt x="47" y="0"/>
                    </a:lnTo>
                    <a:lnTo>
                      <a:pt x="47" y="49"/>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pic>
          <p:nvPicPr>
            <p:cNvPr id="121" name="Picture 120">
              <a:extLst>
                <a:ext uri="{FF2B5EF4-FFF2-40B4-BE49-F238E27FC236}">
                  <a16:creationId xmlns:a16="http://schemas.microsoft.com/office/drawing/2014/main" id="{09C2D5C4-E924-4DD4-87DF-CC1EC3B402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4885254" y="2136017"/>
              <a:ext cx="620567" cy="620567"/>
            </a:xfrm>
            <a:prstGeom prst="rect">
              <a:avLst/>
            </a:prstGeom>
          </p:spPr>
        </p:pic>
      </p:grpSp>
      <p:sp>
        <p:nvSpPr>
          <p:cNvPr id="127" name="TextBox 126">
            <a:extLst>
              <a:ext uri="{FF2B5EF4-FFF2-40B4-BE49-F238E27FC236}">
                <a16:creationId xmlns:a16="http://schemas.microsoft.com/office/drawing/2014/main" id="{BF0F8BB8-5117-4A0A-866A-C19E0A6EAC43}"/>
              </a:ext>
            </a:extLst>
          </p:cNvPr>
          <p:cNvSpPr txBox="1"/>
          <p:nvPr/>
        </p:nvSpPr>
        <p:spPr>
          <a:xfrm>
            <a:off x="9840416" y="2184266"/>
            <a:ext cx="2046282" cy="1477328"/>
          </a:xfrm>
          <a:prstGeom prst="rect">
            <a:avLst/>
          </a:prstGeom>
          <a:noFill/>
        </p:spPr>
        <p:txBody>
          <a:bodyPr wrap="square">
            <a:spAutoFit/>
          </a:bodyPr>
          <a:lstStyle/>
          <a:p>
            <a:pPr marL="342900" indent="-342900">
              <a:buFont typeface="Arial" panose="020B0604020202020204" pitchFamily="34" charset="0"/>
              <a:buChar char="•"/>
            </a:pPr>
            <a:r>
              <a:rPr lang="nb-NO" err="1"/>
              <a:t>Availability</a:t>
            </a:r>
            <a:endParaRPr lang="nb-NO"/>
          </a:p>
          <a:p>
            <a:pPr marL="342900" indent="-342900">
              <a:buFont typeface="Arial" panose="020B0604020202020204" pitchFamily="34" charset="0"/>
              <a:buChar char="•"/>
            </a:pPr>
            <a:r>
              <a:rPr lang="nb-NO" err="1"/>
              <a:t>Usability</a:t>
            </a:r>
            <a:endParaRPr lang="nb-NO"/>
          </a:p>
          <a:p>
            <a:pPr marL="342900" indent="-342900">
              <a:buFont typeface="Arial" panose="020B0604020202020204" pitchFamily="34" charset="0"/>
              <a:buChar char="•"/>
            </a:pPr>
            <a:r>
              <a:rPr lang="nb-NO" err="1"/>
              <a:t>Consistency</a:t>
            </a:r>
            <a:endParaRPr lang="nb-NO"/>
          </a:p>
          <a:p>
            <a:pPr marL="342900" indent="-342900">
              <a:buFont typeface="Arial" panose="020B0604020202020204" pitchFamily="34" charset="0"/>
              <a:buChar char="•"/>
            </a:pPr>
            <a:r>
              <a:rPr lang="nb-NO"/>
              <a:t>Data </a:t>
            </a:r>
            <a:r>
              <a:rPr lang="nb-NO" err="1"/>
              <a:t>Integrity</a:t>
            </a:r>
            <a:endParaRPr lang="nb-NO"/>
          </a:p>
          <a:p>
            <a:pPr marL="342900" indent="-342900">
              <a:buFont typeface="Arial" panose="020B0604020202020204" pitchFamily="34" charset="0"/>
              <a:buChar char="•"/>
            </a:pPr>
            <a:r>
              <a:rPr lang="nb-NO"/>
              <a:t>Data Security</a:t>
            </a:r>
          </a:p>
        </p:txBody>
      </p:sp>
      <p:sp>
        <p:nvSpPr>
          <p:cNvPr id="128" name="Rectangle 127">
            <a:extLst>
              <a:ext uri="{FF2B5EF4-FFF2-40B4-BE49-F238E27FC236}">
                <a16:creationId xmlns:a16="http://schemas.microsoft.com/office/drawing/2014/main" id="{1745E3A1-A8A4-405B-A930-C091FA38C872}"/>
              </a:ext>
            </a:extLst>
          </p:cNvPr>
          <p:cNvSpPr/>
          <p:nvPr/>
        </p:nvSpPr>
        <p:spPr>
          <a:xfrm>
            <a:off x="7828891" y="836712"/>
            <a:ext cx="2905679" cy="231558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Legg inn per </a:t>
            </a:r>
            <a:r>
              <a:rPr lang="en-US" sz="1600" err="1"/>
              <a:t>runde</a:t>
            </a:r>
            <a:r>
              <a:rPr lang="en-US" sz="1600"/>
              <a:t> – </a:t>
            </a:r>
            <a:r>
              <a:rPr lang="en-US" sz="1600" err="1"/>
              <a:t>så</a:t>
            </a:r>
            <a:r>
              <a:rPr lang="en-US" sz="1600"/>
              <a:t> det passer.</a:t>
            </a:r>
          </a:p>
          <a:p>
            <a:pPr algn="ctr"/>
            <a:r>
              <a:rPr lang="en-US" sz="1600" err="1"/>
              <a:t>Gjerne</a:t>
            </a:r>
            <a:r>
              <a:rPr lang="en-US" sz="1600"/>
              <a:t> </a:t>
            </a:r>
            <a:r>
              <a:rPr lang="en-US" sz="1600" err="1"/>
              <a:t>også</a:t>
            </a:r>
            <a:r>
              <a:rPr lang="en-US" sz="1600"/>
              <a:t> </a:t>
            </a:r>
            <a:r>
              <a:rPr lang="en-US" sz="1600" err="1"/>
              <a:t>diskusjon</a:t>
            </a:r>
            <a:r>
              <a:rPr lang="en-US" sz="1600"/>
              <a:t> </a:t>
            </a:r>
            <a:r>
              <a:rPr lang="en-US" sz="1600" err="1"/>
              <a:t>på</a:t>
            </a:r>
            <a:r>
              <a:rPr lang="en-US" sz="1600"/>
              <a:t> at den </a:t>
            </a:r>
            <a:r>
              <a:rPr lang="en-US" sz="1600" err="1"/>
              <a:t>kan</a:t>
            </a:r>
            <a:r>
              <a:rPr lang="en-US" sz="1600"/>
              <a:t> </a:t>
            </a:r>
            <a:r>
              <a:rPr lang="en-US" sz="1600" err="1"/>
              <a:t>være</a:t>
            </a:r>
            <a:r>
              <a:rPr lang="en-US" sz="1600"/>
              <a:t> </a:t>
            </a:r>
            <a:r>
              <a:rPr lang="en-US" sz="1600" err="1"/>
              <a:t>så</a:t>
            </a:r>
            <a:r>
              <a:rPr lang="en-US" sz="1600"/>
              <a:t> </a:t>
            </a:r>
            <a:r>
              <a:rPr lang="en-US" sz="1600" err="1"/>
              <a:t>mye</a:t>
            </a:r>
            <a:r>
              <a:rPr lang="en-US" sz="1600"/>
              <a:t>. </a:t>
            </a:r>
            <a:r>
              <a:rPr lang="en-US" sz="1600" err="1"/>
              <a:t>Først</a:t>
            </a:r>
            <a:r>
              <a:rPr lang="en-US" sz="1600"/>
              <a:t> en </a:t>
            </a:r>
            <a:r>
              <a:rPr lang="en-US" sz="1600" err="1"/>
              <a:t>liten</a:t>
            </a:r>
            <a:r>
              <a:rPr lang="en-US" sz="1600"/>
              <a:t>, </a:t>
            </a:r>
            <a:r>
              <a:rPr lang="en-US" sz="1600" err="1"/>
              <a:t>så</a:t>
            </a:r>
            <a:r>
              <a:rPr lang="en-US" sz="1600"/>
              <a:t> en </a:t>
            </a:r>
            <a:r>
              <a:rPr lang="en-US" sz="1600" err="1"/>
              <a:t>stor</a:t>
            </a:r>
            <a:endParaRPr lang="en-US" sz="1600"/>
          </a:p>
          <a:p>
            <a:pPr algn="ctr"/>
            <a:endParaRPr lang="en-US" sz="1600"/>
          </a:p>
          <a:p>
            <a:pPr algn="ctr"/>
            <a:r>
              <a:rPr lang="en-US" sz="1600" err="1"/>
              <a:t>Så</a:t>
            </a:r>
            <a:r>
              <a:rPr lang="en-US" sz="1600"/>
              <a:t> highlight det vi </a:t>
            </a:r>
            <a:r>
              <a:rPr lang="en-US" sz="1600" err="1"/>
              <a:t>skal</a:t>
            </a:r>
            <a:r>
              <a:rPr lang="en-US" sz="1600"/>
              <a:t> sake om I </a:t>
            </a:r>
            <a:r>
              <a:rPr lang="en-US" sz="1600" err="1"/>
              <a:t>adg</a:t>
            </a:r>
            <a:endParaRPr lang="en-US" sz="1600"/>
          </a:p>
        </p:txBody>
      </p:sp>
      <p:sp>
        <p:nvSpPr>
          <p:cNvPr id="129" name="Text Placeholder 2">
            <a:extLst>
              <a:ext uri="{FF2B5EF4-FFF2-40B4-BE49-F238E27FC236}">
                <a16:creationId xmlns:a16="http://schemas.microsoft.com/office/drawing/2014/main" id="{B37FDAB7-8D97-47E1-BF0B-3131104836E3}"/>
              </a:ext>
            </a:extLst>
          </p:cNvPr>
          <p:cNvSpPr>
            <a:spLocks noGrp="1"/>
          </p:cNvSpPr>
          <p:nvPr>
            <p:ph type="body" sz="quarter" idx="10"/>
          </p:nvPr>
        </p:nvSpPr>
        <p:spPr>
          <a:xfrm>
            <a:off x="1239680" y="2097080"/>
            <a:ext cx="4464496" cy="379884"/>
          </a:xfrm>
        </p:spPr>
        <p:txBody>
          <a:bodyPr>
            <a:normAutofit lnSpcReduction="10000"/>
          </a:bodyPr>
          <a:lstStyle/>
          <a:p>
            <a:r>
              <a:rPr lang="nb-NO"/>
              <a:t>Data Management</a:t>
            </a:r>
          </a:p>
          <a:p>
            <a:endParaRPr lang="nb-NO"/>
          </a:p>
        </p:txBody>
      </p:sp>
      <p:pic>
        <p:nvPicPr>
          <p:cNvPr id="130" name="Picture 129">
            <a:extLst>
              <a:ext uri="{FF2B5EF4-FFF2-40B4-BE49-F238E27FC236}">
                <a16:creationId xmlns:a16="http://schemas.microsoft.com/office/drawing/2014/main" id="{629710EC-056C-440C-B21D-4D18F31DE28C}"/>
              </a:ext>
            </a:extLst>
          </p:cNvPr>
          <p:cNvPicPr>
            <a:picLocks noChangeAspect="1"/>
          </p:cNvPicPr>
          <p:nvPr/>
        </p:nvPicPr>
        <p:blipFill>
          <a:blip r:embed="rId3"/>
          <a:stretch>
            <a:fillRect/>
          </a:stretch>
        </p:blipFill>
        <p:spPr>
          <a:xfrm>
            <a:off x="636326" y="5540497"/>
            <a:ext cx="495343" cy="441998"/>
          </a:xfrm>
          <a:prstGeom prst="rect">
            <a:avLst/>
          </a:prstGeom>
        </p:spPr>
      </p:pic>
      <p:pic>
        <p:nvPicPr>
          <p:cNvPr id="131" name="Picture 130">
            <a:extLst>
              <a:ext uri="{FF2B5EF4-FFF2-40B4-BE49-F238E27FC236}">
                <a16:creationId xmlns:a16="http://schemas.microsoft.com/office/drawing/2014/main" id="{797F1F1E-FF52-4561-ACD0-8DC229FAF874}"/>
              </a:ext>
            </a:extLst>
          </p:cNvPr>
          <p:cNvPicPr>
            <a:picLocks noChangeAspect="1"/>
          </p:cNvPicPr>
          <p:nvPr/>
        </p:nvPicPr>
        <p:blipFill>
          <a:blip r:embed="rId4"/>
          <a:stretch>
            <a:fillRect/>
          </a:stretch>
        </p:blipFill>
        <p:spPr>
          <a:xfrm>
            <a:off x="590602" y="3898075"/>
            <a:ext cx="541067" cy="624894"/>
          </a:xfrm>
          <a:prstGeom prst="rect">
            <a:avLst/>
          </a:prstGeom>
        </p:spPr>
      </p:pic>
      <p:sp>
        <p:nvSpPr>
          <p:cNvPr id="132" name="TextBox 131">
            <a:extLst>
              <a:ext uri="{FF2B5EF4-FFF2-40B4-BE49-F238E27FC236}">
                <a16:creationId xmlns:a16="http://schemas.microsoft.com/office/drawing/2014/main" id="{40414C16-EFBA-42C0-A1BA-4FF87B2B6BF4}"/>
              </a:ext>
            </a:extLst>
          </p:cNvPr>
          <p:cNvSpPr txBox="1"/>
          <p:nvPr/>
        </p:nvSpPr>
        <p:spPr>
          <a:xfrm>
            <a:off x="1131669" y="2675640"/>
            <a:ext cx="2085995" cy="646331"/>
          </a:xfrm>
          <a:prstGeom prst="rect">
            <a:avLst/>
          </a:prstGeom>
          <a:noFill/>
        </p:spPr>
        <p:txBody>
          <a:bodyPr wrap="square" rtlCol="0">
            <a:spAutoFit/>
          </a:bodyPr>
          <a:lstStyle/>
          <a:p>
            <a:r>
              <a:rPr lang="nb-NO"/>
              <a:t>Data Catalog</a:t>
            </a:r>
          </a:p>
          <a:p>
            <a:endParaRPr lang="nb-NO"/>
          </a:p>
        </p:txBody>
      </p:sp>
      <p:sp>
        <p:nvSpPr>
          <p:cNvPr id="133" name="TextBox 132">
            <a:extLst>
              <a:ext uri="{FF2B5EF4-FFF2-40B4-BE49-F238E27FC236}">
                <a16:creationId xmlns:a16="http://schemas.microsoft.com/office/drawing/2014/main" id="{0ECDA3FB-BD29-4270-AA66-D9E9D046B854}"/>
              </a:ext>
            </a:extLst>
          </p:cNvPr>
          <p:cNvSpPr txBox="1"/>
          <p:nvPr/>
        </p:nvSpPr>
        <p:spPr>
          <a:xfrm>
            <a:off x="1135861" y="3358281"/>
            <a:ext cx="2268252" cy="369332"/>
          </a:xfrm>
          <a:prstGeom prst="rect">
            <a:avLst/>
          </a:prstGeom>
          <a:noFill/>
        </p:spPr>
        <p:txBody>
          <a:bodyPr wrap="square" rtlCol="0">
            <a:spAutoFit/>
          </a:bodyPr>
          <a:lstStyle/>
          <a:p>
            <a:r>
              <a:rPr lang="nb-NO"/>
              <a:t>Business </a:t>
            </a:r>
            <a:r>
              <a:rPr lang="nb-NO" err="1"/>
              <a:t>Glossary</a:t>
            </a:r>
            <a:endParaRPr lang="nb-NO"/>
          </a:p>
        </p:txBody>
      </p:sp>
      <p:sp>
        <p:nvSpPr>
          <p:cNvPr id="134" name="TextBox 133">
            <a:extLst>
              <a:ext uri="{FF2B5EF4-FFF2-40B4-BE49-F238E27FC236}">
                <a16:creationId xmlns:a16="http://schemas.microsoft.com/office/drawing/2014/main" id="{065B4607-6A64-4F40-872A-6FC523FB5AF2}"/>
              </a:ext>
            </a:extLst>
          </p:cNvPr>
          <p:cNvSpPr txBox="1"/>
          <p:nvPr/>
        </p:nvSpPr>
        <p:spPr>
          <a:xfrm>
            <a:off x="1133825" y="4012718"/>
            <a:ext cx="2592288" cy="369332"/>
          </a:xfrm>
          <a:prstGeom prst="rect">
            <a:avLst/>
          </a:prstGeom>
          <a:noFill/>
        </p:spPr>
        <p:txBody>
          <a:bodyPr wrap="square" rtlCol="0">
            <a:spAutoFit/>
          </a:bodyPr>
          <a:lstStyle/>
          <a:p>
            <a:r>
              <a:rPr lang="nb-NO"/>
              <a:t>Data Quality</a:t>
            </a:r>
          </a:p>
        </p:txBody>
      </p:sp>
      <p:sp>
        <p:nvSpPr>
          <p:cNvPr id="135" name="TextBox 134">
            <a:extLst>
              <a:ext uri="{FF2B5EF4-FFF2-40B4-BE49-F238E27FC236}">
                <a16:creationId xmlns:a16="http://schemas.microsoft.com/office/drawing/2014/main" id="{6CC97737-3065-4F87-87CA-F89D9E7E86BD}"/>
              </a:ext>
            </a:extLst>
          </p:cNvPr>
          <p:cNvSpPr txBox="1"/>
          <p:nvPr/>
        </p:nvSpPr>
        <p:spPr>
          <a:xfrm>
            <a:off x="1203565" y="4756638"/>
            <a:ext cx="2880320" cy="369332"/>
          </a:xfrm>
          <a:prstGeom prst="rect">
            <a:avLst/>
          </a:prstGeom>
          <a:noFill/>
        </p:spPr>
        <p:txBody>
          <a:bodyPr wrap="square" rtlCol="0">
            <a:spAutoFit/>
          </a:bodyPr>
          <a:lstStyle/>
          <a:p>
            <a:r>
              <a:rPr lang="nb-NO"/>
              <a:t>Data </a:t>
            </a:r>
            <a:r>
              <a:rPr lang="nb-NO" err="1"/>
              <a:t>Lineage</a:t>
            </a:r>
            <a:endParaRPr lang="nb-NO"/>
          </a:p>
        </p:txBody>
      </p:sp>
      <p:pic>
        <p:nvPicPr>
          <p:cNvPr id="136" name="Picture 135">
            <a:extLst>
              <a:ext uri="{FF2B5EF4-FFF2-40B4-BE49-F238E27FC236}">
                <a16:creationId xmlns:a16="http://schemas.microsoft.com/office/drawing/2014/main" id="{A83D9A32-C3C6-43D8-962D-A3BC912CD865}"/>
              </a:ext>
            </a:extLst>
          </p:cNvPr>
          <p:cNvPicPr>
            <a:picLocks noChangeAspect="1"/>
          </p:cNvPicPr>
          <p:nvPr/>
        </p:nvPicPr>
        <p:blipFill>
          <a:blip r:embed="rId5"/>
          <a:stretch>
            <a:fillRect/>
          </a:stretch>
        </p:blipFill>
        <p:spPr>
          <a:xfrm>
            <a:off x="533039" y="4720054"/>
            <a:ext cx="647756" cy="502964"/>
          </a:xfrm>
          <a:prstGeom prst="rect">
            <a:avLst/>
          </a:prstGeom>
        </p:spPr>
      </p:pic>
      <p:pic>
        <p:nvPicPr>
          <p:cNvPr id="137" name="Picture 136">
            <a:extLst>
              <a:ext uri="{FF2B5EF4-FFF2-40B4-BE49-F238E27FC236}">
                <a16:creationId xmlns:a16="http://schemas.microsoft.com/office/drawing/2014/main" id="{FF9E0991-FC34-46BD-A00C-50615FBCBE35}"/>
              </a:ext>
            </a:extLst>
          </p:cNvPr>
          <p:cNvPicPr>
            <a:picLocks noChangeAspect="1"/>
          </p:cNvPicPr>
          <p:nvPr/>
        </p:nvPicPr>
        <p:blipFill>
          <a:blip r:embed="rId6"/>
          <a:stretch>
            <a:fillRect/>
          </a:stretch>
        </p:blipFill>
        <p:spPr>
          <a:xfrm>
            <a:off x="582161" y="2606681"/>
            <a:ext cx="640135" cy="518205"/>
          </a:xfrm>
          <a:prstGeom prst="rect">
            <a:avLst/>
          </a:prstGeom>
        </p:spPr>
      </p:pic>
      <p:sp>
        <p:nvSpPr>
          <p:cNvPr id="138" name="TextBox 137">
            <a:extLst>
              <a:ext uri="{FF2B5EF4-FFF2-40B4-BE49-F238E27FC236}">
                <a16:creationId xmlns:a16="http://schemas.microsoft.com/office/drawing/2014/main" id="{90380516-9C9C-4176-88A2-225F3967286A}"/>
              </a:ext>
            </a:extLst>
          </p:cNvPr>
          <p:cNvSpPr txBox="1"/>
          <p:nvPr/>
        </p:nvSpPr>
        <p:spPr>
          <a:xfrm>
            <a:off x="1239680" y="5574846"/>
            <a:ext cx="3024336" cy="369332"/>
          </a:xfrm>
          <a:prstGeom prst="rect">
            <a:avLst/>
          </a:prstGeom>
          <a:noFill/>
        </p:spPr>
        <p:txBody>
          <a:bodyPr wrap="square" rtlCol="0">
            <a:spAutoFit/>
          </a:bodyPr>
          <a:lstStyle/>
          <a:p>
            <a:r>
              <a:rPr lang="nb-NO"/>
              <a:t>Data </a:t>
            </a:r>
            <a:r>
              <a:rPr lang="nb-NO" err="1"/>
              <a:t>Privacy</a:t>
            </a:r>
            <a:endParaRPr lang="nb-NO"/>
          </a:p>
        </p:txBody>
      </p:sp>
      <p:pic>
        <p:nvPicPr>
          <p:cNvPr id="139" name="Picture 138">
            <a:extLst>
              <a:ext uri="{FF2B5EF4-FFF2-40B4-BE49-F238E27FC236}">
                <a16:creationId xmlns:a16="http://schemas.microsoft.com/office/drawing/2014/main" id="{3E50AF16-420A-4C68-B00A-0FAFA5C0AD72}"/>
              </a:ext>
            </a:extLst>
          </p:cNvPr>
          <p:cNvPicPr>
            <a:picLocks noChangeAspect="1"/>
          </p:cNvPicPr>
          <p:nvPr/>
        </p:nvPicPr>
        <p:blipFill>
          <a:blip r:embed="rId7">
            <a:duotone>
              <a:schemeClr val="accent2">
                <a:shade val="45000"/>
                <a:satMod val="135000"/>
              </a:schemeClr>
              <a:prstClr val="white"/>
            </a:duotone>
          </a:blip>
          <a:stretch>
            <a:fillRect/>
          </a:stretch>
        </p:blipFill>
        <p:spPr>
          <a:xfrm>
            <a:off x="608483" y="1954523"/>
            <a:ext cx="523186" cy="457787"/>
          </a:xfrm>
          <a:prstGeom prst="rect">
            <a:avLst/>
          </a:prstGeom>
        </p:spPr>
      </p:pic>
      <p:pic>
        <p:nvPicPr>
          <p:cNvPr id="140" name="Picture 139">
            <a:extLst>
              <a:ext uri="{FF2B5EF4-FFF2-40B4-BE49-F238E27FC236}">
                <a16:creationId xmlns:a16="http://schemas.microsoft.com/office/drawing/2014/main" id="{2B0047C3-5976-4EDE-B5D1-0FEE5B979D71}"/>
              </a:ext>
            </a:extLst>
          </p:cNvPr>
          <p:cNvPicPr>
            <a:picLocks noChangeAspect="1"/>
          </p:cNvPicPr>
          <p:nvPr/>
        </p:nvPicPr>
        <p:blipFill>
          <a:blip r:embed="rId8">
            <a:duotone>
              <a:schemeClr val="accent2">
                <a:shade val="45000"/>
                <a:satMod val="135000"/>
              </a:schemeClr>
              <a:prstClr val="white"/>
            </a:duotone>
          </a:blip>
          <a:stretch>
            <a:fillRect/>
          </a:stretch>
        </p:blipFill>
        <p:spPr>
          <a:xfrm>
            <a:off x="607367" y="3301912"/>
            <a:ext cx="557833" cy="502964"/>
          </a:xfrm>
          <a:prstGeom prst="rect">
            <a:avLst/>
          </a:prstGeom>
        </p:spPr>
      </p:pic>
      <p:pic>
        <p:nvPicPr>
          <p:cNvPr id="142" name="Picture 141">
            <a:extLst>
              <a:ext uri="{FF2B5EF4-FFF2-40B4-BE49-F238E27FC236}">
                <a16:creationId xmlns:a16="http://schemas.microsoft.com/office/drawing/2014/main" id="{FC046E40-E1EC-47F9-A93C-15BD3F62E920}"/>
              </a:ext>
            </a:extLst>
          </p:cNvPr>
          <p:cNvPicPr>
            <a:picLocks noChangeAspect="1"/>
          </p:cNvPicPr>
          <p:nvPr/>
        </p:nvPicPr>
        <p:blipFill>
          <a:blip r:embed="rId9"/>
          <a:stretch>
            <a:fillRect/>
          </a:stretch>
        </p:blipFill>
        <p:spPr>
          <a:xfrm>
            <a:off x="1305286" y="3781766"/>
            <a:ext cx="10353675" cy="2324100"/>
          </a:xfrm>
          <a:prstGeom prst="rect">
            <a:avLst/>
          </a:prstGeom>
        </p:spPr>
      </p:pic>
    </p:spTree>
    <p:extLst>
      <p:ext uri="{BB962C8B-B14F-4D97-AF65-F5344CB8AC3E}">
        <p14:creationId xmlns:p14="http://schemas.microsoft.com/office/powerpoint/2010/main" val="2301263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9">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3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build="p"/>
      <p:bldP spid="132" grpId="0"/>
      <p:bldP spid="133" grpId="0"/>
      <p:bldP spid="134" grpId="0"/>
      <p:bldP spid="135" grpId="0"/>
      <p:bldP spid="138"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44" name="Title 43"/>
          <p:cNvSpPr>
            <a:spLocks noGrp="1"/>
          </p:cNvSpPr>
          <p:nvPr>
            <p:ph type="title"/>
          </p:nvPr>
        </p:nvSpPr>
        <p:spPr>
          <a:xfrm>
            <a:off x="664755" y="2794465"/>
            <a:ext cx="5449404" cy="627904"/>
          </a:xfrm>
        </p:spPr>
        <p:txBody>
          <a:bodyPr/>
          <a:lstStyle/>
          <a:p>
            <a:r>
              <a:rPr lang="en-US" sz="3200" dirty="0">
                <a:solidFill>
                  <a:schemeClr val="bg1"/>
                </a:solidFill>
              </a:rPr>
              <a:t>Johan Ludvig </a:t>
            </a:r>
            <a:r>
              <a:rPr lang="en-US" sz="3200" dirty="0" err="1">
                <a:solidFill>
                  <a:schemeClr val="bg1"/>
                </a:solidFill>
              </a:rPr>
              <a:t>Brattås</a:t>
            </a:r>
            <a:endParaRPr lang="en-US" sz="3200" dirty="0">
              <a:solidFill>
                <a:schemeClr val="bg1"/>
              </a:solidFill>
            </a:endParaRPr>
          </a:p>
        </p:txBody>
      </p:sp>
      <p:sp>
        <p:nvSpPr>
          <p:cNvPr id="45" name="Text Placeholder 44"/>
          <p:cNvSpPr>
            <a:spLocks noGrp="1"/>
          </p:cNvSpPr>
          <p:nvPr>
            <p:ph type="body" sz="quarter" idx="10"/>
          </p:nvPr>
        </p:nvSpPr>
        <p:spPr>
          <a:xfrm>
            <a:off x="664755" y="3566939"/>
            <a:ext cx="5709151" cy="540913"/>
          </a:xfrm>
        </p:spPr>
        <p:txBody>
          <a:bodyPr>
            <a:normAutofit fontScale="85000" lnSpcReduction="10000"/>
          </a:bodyPr>
          <a:lstStyle/>
          <a:p>
            <a:r>
              <a:rPr lang="en-US" dirty="0">
                <a:solidFill>
                  <a:schemeClr val="bg1">
                    <a:lumMod val="85000"/>
                  </a:schemeClr>
                </a:solidFill>
              </a:rPr>
              <a:t>Principal Solutions Architect, Capgemini</a:t>
            </a:r>
          </a:p>
        </p:txBody>
      </p:sp>
      <p:sp>
        <p:nvSpPr>
          <p:cNvPr id="150" name="Text Placeholder 149"/>
          <p:cNvSpPr>
            <a:spLocks noGrp="1"/>
          </p:cNvSpPr>
          <p:nvPr>
            <p:ph type="body" sz="quarter" idx="11"/>
          </p:nvPr>
        </p:nvSpPr>
        <p:spPr>
          <a:xfrm>
            <a:off x="7518533" y="1514757"/>
            <a:ext cx="4170309" cy="358448"/>
          </a:xfrm>
        </p:spPr>
        <p:txBody>
          <a:bodyPr/>
          <a:lstStyle/>
          <a:p>
            <a:r>
              <a:rPr lang="en-US" dirty="0"/>
              <a:t>Chronic volunteer</a:t>
            </a:r>
          </a:p>
        </p:txBody>
      </p:sp>
      <p:sp>
        <p:nvSpPr>
          <p:cNvPr id="152" name="Text Placeholder 151"/>
          <p:cNvSpPr>
            <a:spLocks noGrp="1"/>
          </p:cNvSpPr>
          <p:nvPr>
            <p:ph type="body" sz="quarter" idx="13"/>
          </p:nvPr>
        </p:nvSpPr>
        <p:spPr>
          <a:xfrm>
            <a:off x="7518533" y="1873835"/>
            <a:ext cx="4170309" cy="909905"/>
          </a:xfrm>
        </p:spPr>
        <p:txBody>
          <a:bodyPr>
            <a:normAutofit lnSpcReduction="10000"/>
          </a:bodyPr>
          <a:lstStyle/>
          <a:p>
            <a:r>
              <a:rPr lang="en-US" dirty="0"/>
              <a:t>Co-organizer – </a:t>
            </a:r>
            <a:r>
              <a:rPr lang="en-US" dirty="0" err="1"/>
              <a:t>SQLSatOslo</a:t>
            </a:r>
            <a:r>
              <a:rPr lang="en-US" dirty="0"/>
              <a:t>/DataSaturday Oslo</a:t>
            </a:r>
            <a:br>
              <a:rPr lang="en-US" dirty="0"/>
            </a:br>
            <a:r>
              <a:rPr lang="en-US" dirty="0"/>
              <a:t>Board member – SQLSaturday</a:t>
            </a:r>
            <a:br>
              <a:rPr lang="en-US" dirty="0"/>
            </a:br>
            <a:r>
              <a:rPr lang="en-US" dirty="0"/>
              <a:t>Leader – MDPUG Oslo</a:t>
            </a:r>
            <a:br>
              <a:rPr lang="en-US" dirty="0"/>
            </a:br>
            <a:r>
              <a:rPr lang="en-US" dirty="0" err="1"/>
              <a:t>DataSaturdays</a:t>
            </a:r>
            <a:r>
              <a:rPr lang="en-US" dirty="0"/>
              <a:t> co-founder</a:t>
            </a:r>
            <a:br>
              <a:rPr lang="en-US" dirty="0"/>
            </a:br>
            <a:r>
              <a:rPr lang="en-US" dirty="0"/>
              <a:t>Frequent volunteer in general</a:t>
            </a:r>
          </a:p>
        </p:txBody>
      </p:sp>
      <p:sp>
        <p:nvSpPr>
          <p:cNvPr id="153" name="Text Placeholder 152"/>
          <p:cNvSpPr>
            <a:spLocks noGrp="1"/>
          </p:cNvSpPr>
          <p:nvPr>
            <p:ph type="body" sz="quarter" idx="14"/>
          </p:nvPr>
        </p:nvSpPr>
        <p:spPr>
          <a:xfrm>
            <a:off x="7518532" y="3008431"/>
            <a:ext cx="4673469" cy="358448"/>
          </a:xfrm>
        </p:spPr>
        <p:txBody>
          <a:bodyPr/>
          <a:lstStyle/>
          <a:p>
            <a:r>
              <a:rPr lang="en-US"/>
              <a:t>When not </a:t>
            </a:r>
            <a:r>
              <a:rPr lang="en-US" err="1"/>
              <a:t>geeking</a:t>
            </a:r>
            <a:r>
              <a:rPr lang="en-US"/>
              <a:t> out over new tech</a:t>
            </a:r>
          </a:p>
        </p:txBody>
      </p:sp>
      <p:sp>
        <p:nvSpPr>
          <p:cNvPr id="154" name="Text Placeholder 153"/>
          <p:cNvSpPr>
            <a:spLocks noGrp="1"/>
          </p:cNvSpPr>
          <p:nvPr>
            <p:ph type="body" sz="quarter" idx="15"/>
          </p:nvPr>
        </p:nvSpPr>
        <p:spPr>
          <a:xfrm>
            <a:off x="7518532" y="3367509"/>
            <a:ext cx="4170310" cy="890726"/>
          </a:xfrm>
        </p:spPr>
        <p:txBody>
          <a:bodyPr>
            <a:normAutofit/>
          </a:bodyPr>
          <a:lstStyle/>
          <a:p>
            <a:r>
              <a:rPr lang="en-US" dirty="0"/>
              <a:t>Teaching </a:t>
            </a:r>
            <a:r>
              <a:rPr lang="en-US" dirty="0" err="1"/>
              <a:t>coeliacs</a:t>
            </a:r>
            <a:r>
              <a:rPr lang="en-US" dirty="0"/>
              <a:t> how to bake gluten free</a:t>
            </a:r>
            <a:br>
              <a:rPr lang="en-US" dirty="0"/>
            </a:br>
            <a:r>
              <a:rPr lang="en-US" dirty="0"/>
              <a:t>Hiking</a:t>
            </a:r>
            <a:br>
              <a:rPr lang="en-US" dirty="0"/>
            </a:br>
            <a:r>
              <a:rPr lang="en-US" dirty="0"/>
              <a:t>Gardening</a:t>
            </a:r>
            <a:br>
              <a:rPr lang="en-US" dirty="0"/>
            </a:br>
            <a:endParaRPr lang="en-US" dirty="0"/>
          </a:p>
        </p:txBody>
      </p:sp>
      <p:sp>
        <p:nvSpPr>
          <p:cNvPr id="157" name="Text Placeholder 156"/>
          <p:cNvSpPr>
            <a:spLocks noGrp="1"/>
          </p:cNvSpPr>
          <p:nvPr>
            <p:ph type="body" sz="quarter" idx="18"/>
          </p:nvPr>
        </p:nvSpPr>
        <p:spPr>
          <a:xfrm>
            <a:off x="1176049" y="4920397"/>
            <a:ext cx="1383498" cy="349250"/>
          </a:xfrm>
        </p:spPr>
        <p:txBody>
          <a:bodyPr/>
          <a:lstStyle/>
          <a:p>
            <a:r>
              <a:rPr lang="en-US" dirty="0"/>
              <a:t>/</a:t>
            </a:r>
            <a:r>
              <a:rPr lang="en-US" dirty="0" err="1"/>
              <a:t>johanludvig</a:t>
            </a:r>
            <a:endParaRPr lang="en-US" dirty="0"/>
          </a:p>
        </p:txBody>
      </p:sp>
      <p:sp>
        <p:nvSpPr>
          <p:cNvPr id="158" name="Text Placeholder 157"/>
          <p:cNvSpPr>
            <a:spLocks noGrp="1"/>
          </p:cNvSpPr>
          <p:nvPr>
            <p:ph type="body" sz="quarter" idx="19"/>
          </p:nvPr>
        </p:nvSpPr>
        <p:spPr>
          <a:xfrm>
            <a:off x="1179337" y="5433235"/>
            <a:ext cx="1528352" cy="349250"/>
          </a:xfrm>
        </p:spPr>
        <p:txBody>
          <a:bodyPr/>
          <a:lstStyle/>
          <a:p>
            <a:r>
              <a:rPr lang="en-US"/>
              <a:t>@</a:t>
            </a:r>
            <a:r>
              <a:rPr lang="en-US" err="1"/>
              <a:t>intoleranse</a:t>
            </a:r>
            <a:endParaRPr lang="en-US"/>
          </a:p>
        </p:txBody>
      </p:sp>
      <p:grpSp>
        <p:nvGrpSpPr>
          <p:cNvPr id="91" name="Group 90"/>
          <p:cNvGrpSpPr/>
          <p:nvPr/>
        </p:nvGrpSpPr>
        <p:grpSpPr>
          <a:xfrm>
            <a:off x="806218" y="5456655"/>
            <a:ext cx="306133" cy="306133"/>
            <a:chOff x="5748554" y="5146675"/>
            <a:chExt cx="353832" cy="353832"/>
          </a:xfrm>
        </p:grpSpPr>
        <p:sp>
          <p:nvSpPr>
            <p:cNvPr id="92" name="Freeform 383"/>
            <p:cNvSpPr>
              <a:spLocks/>
            </p:cNvSpPr>
            <p:nvPr/>
          </p:nvSpPr>
          <p:spPr bwMode="auto">
            <a:xfrm>
              <a:off x="5852152" y="5257801"/>
              <a:ext cx="159335" cy="137931"/>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chemeClr val="bg2">
                <a:lumMod val="50000"/>
              </a:schemeClr>
            </a:solidFill>
            <a:ln>
              <a:noFill/>
            </a:ln>
          </p:spPr>
          <p:txBody>
            <a:bodyPr/>
            <a:lstStyle/>
            <a:p>
              <a:pPr defTabSz="806867"/>
              <a:endParaRPr lang="en-US" sz="2400">
                <a:solidFill>
                  <a:prstClr val="black"/>
                </a:solidFill>
                <a:latin typeface="Verdana"/>
              </a:endParaRPr>
            </a:p>
          </p:txBody>
        </p:sp>
        <p:sp>
          <p:nvSpPr>
            <p:cNvPr id="93" name="Rounded Rectangle 92"/>
            <p:cNvSpPr/>
            <p:nvPr/>
          </p:nvSpPr>
          <p:spPr>
            <a:xfrm>
              <a:off x="5748554" y="5146675"/>
              <a:ext cx="353832" cy="353832"/>
            </a:xfrm>
            <a:prstGeom prst="roundRect">
              <a:avLst/>
            </a:prstGeom>
            <a:no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867"/>
              <a:endParaRPr lang="en-US" sz="2400">
                <a:solidFill>
                  <a:srgbClr val="FFFFFF"/>
                </a:solidFill>
                <a:latin typeface="Verdana"/>
              </a:endParaRPr>
            </a:p>
          </p:txBody>
        </p:sp>
      </p:grpSp>
      <p:grpSp>
        <p:nvGrpSpPr>
          <p:cNvPr id="94" name="Group 93"/>
          <p:cNvGrpSpPr/>
          <p:nvPr/>
        </p:nvGrpSpPr>
        <p:grpSpPr>
          <a:xfrm>
            <a:off x="801086" y="4963170"/>
            <a:ext cx="306133" cy="306133"/>
            <a:chOff x="3348740" y="4138863"/>
            <a:chExt cx="229600" cy="229600"/>
          </a:xfrm>
        </p:grpSpPr>
        <p:sp>
          <p:nvSpPr>
            <p:cNvPr id="95" name="Rounded Rectangle 94"/>
            <p:cNvSpPr/>
            <p:nvPr/>
          </p:nvSpPr>
          <p:spPr>
            <a:xfrm>
              <a:off x="3348740" y="4138863"/>
              <a:ext cx="229600" cy="229600"/>
            </a:xfrm>
            <a:prstGeom prst="roundRect">
              <a:avLst/>
            </a:prstGeom>
            <a:no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867"/>
              <a:endParaRPr lang="en-US" sz="2400">
                <a:solidFill>
                  <a:srgbClr val="FFFFFF"/>
                </a:solidFill>
                <a:latin typeface="Verdana"/>
              </a:endParaRPr>
            </a:p>
          </p:txBody>
        </p:sp>
        <p:grpSp>
          <p:nvGrpSpPr>
            <p:cNvPr id="96" name="Group 1216"/>
            <p:cNvGrpSpPr>
              <a:grpSpLocks/>
            </p:cNvGrpSpPr>
            <p:nvPr/>
          </p:nvGrpSpPr>
          <p:grpSpPr bwMode="auto">
            <a:xfrm>
              <a:off x="3416337" y="4197351"/>
              <a:ext cx="101582" cy="101580"/>
              <a:chOff x="8400256" y="3573016"/>
              <a:chExt cx="423863" cy="422275"/>
            </a:xfrm>
            <a:solidFill>
              <a:schemeClr val="tx1"/>
            </a:solidFill>
          </p:grpSpPr>
          <p:sp>
            <p:nvSpPr>
              <p:cNvPr id="97" name="Oval 315"/>
              <p:cNvSpPr>
                <a:spLocks noChangeArrowheads="1"/>
              </p:cNvSpPr>
              <p:nvPr/>
            </p:nvSpPr>
            <p:spPr bwMode="auto">
              <a:xfrm>
                <a:off x="8400256" y="3573016"/>
                <a:ext cx="103188" cy="101600"/>
              </a:xfrm>
              <a:prstGeom prst="ellipse">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defTabSz="806867"/>
                <a:endParaRPr lang="en-AU" altLang="x-none" sz="2400">
                  <a:solidFill>
                    <a:prstClr val="black"/>
                  </a:solidFill>
                </a:endParaRPr>
              </a:p>
            </p:txBody>
          </p:sp>
          <p:sp>
            <p:nvSpPr>
              <p:cNvPr id="98" name="Rectangle 316"/>
              <p:cNvSpPr>
                <a:spLocks noChangeArrowheads="1"/>
              </p:cNvSpPr>
              <p:nvPr/>
            </p:nvSpPr>
            <p:spPr bwMode="auto">
              <a:xfrm>
                <a:off x="8408194" y="3714304"/>
                <a:ext cx="87313" cy="280987"/>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defTabSz="806867"/>
                <a:endParaRPr lang="en-AU" altLang="x-none" sz="2400">
                  <a:solidFill>
                    <a:prstClr val="black"/>
                  </a:solidFill>
                </a:endParaRPr>
              </a:p>
            </p:txBody>
          </p:sp>
          <p:sp>
            <p:nvSpPr>
              <p:cNvPr id="99" name="Freeform 317"/>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806867"/>
                <a:endParaRPr lang="en-US" sz="2400">
                  <a:solidFill>
                    <a:prstClr val="black"/>
                  </a:solidFill>
                  <a:latin typeface="Verdana"/>
                </a:endParaRPr>
              </a:p>
            </p:txBody>
          </p:sp>
        </p:grpSp>
      </p:grpSp>
      <p:pic>
        <p:nvPicPr>
          <p:cNvPr id="26" name="Picture 2">
            <a:extLst>
              <a:ext uri="{FF2B5EF4-FFF2-40B4-BE49-F238E27FC236}">
                <a16:creationId xmlns:a16="http://schemas.microsoft.com/office/drawing/2014/main" id="{91477015-5811-417C-914F-5B65C77F4BB4}"/>
              </a:ext>
            </a:extLst>
          </p:cNvPr>
          <p:cNvPicPr>
            <a:picLocks noGrp="1" noChangeAspect="1" noChangeArrowheads="1"/>
          </p:cNvPicPr>
          <p:nvPr>
            <p:ph type="pic" sz="quarter" idx="12"/>
          </p:nvPr>
        </p:nvPicPr>
        <p:blipFill rotWithShape="1">
          <a:blip r:embed="rId3">
            <a:extLst>
              <a:ext uri="{28A0092B-C50C-407E-A947-70E740481C1C}">
                <a14:useLocalDpi xmlns:a14="http://schemas.microsoft.com/office/drawing/2010/main" val="0"/>
              </a:ext>
            </a:extLst>
          </a:blip>
          <a:srcRect t="27479"/>
          <a:stretch/>
        </p:blipFill>
        <p:spPr bwMode="auto">
          <a:xfrm>
            <a:off x="923277" y="870013"/>
            <a:ext cx="1901850" cy="18694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157">
            <a:extLst>
              <a:ext uri="{FF2B5EF4-FFF2-40B4-BE49-F238E27FC236}">
                <a16:creationId xmlns:a16="http://schemas.microsoft.com/office/drawing/2014/main" id="{A76F531F-10B1-4D71-B78E-D1BD67E4BD10}"/>
              </a:ext>
            </a:extLst>
          </p:cNvPr>
          <p:cNvSpPr txBox="1">
            <a:spLocks/>
          </p:cNvSpPr>
          <p:nvPr/>
        </p:nvSpPr>
        <p:spPr>
          <a:xfrm>
            <a:off x="1179336" y="5859462"/>
            <a:ext cx="4140379" cy="349250"/>
          </a:xfrm>
        </p:spPr>
        <p:txBody>
          <a:bodyPr/>
          <a:lstStyle>
            <a:lvl1pPr marL="0" indent="0" algn="l" defTabSz="1381750" rtl="0" eaLnBrk="1" latinLnBrk="0" hangingPunct="1">
              <a:lnSpc>
                <a:spcPct val="90000"/>
              </a:lnSpc>
              <a:spcBef>
                <a:spcPts val="1133"/>
              </a:spcBef>
              <a:buFont typeface="Arial" panose="020B0604020202020204" pitchFamily="34" charset="0"/>
              <a:buNone/>
              <a:defRPr lang="en-US" sz="1662" kern="1200" dirty="0">
                <a:solidFill>
                  <a:schemeClr val="accent1"/>
                </a:solidFill>
                <a:latin typeface="+mn-lt"/>
                <a:ea typeface="+mn-ea"/>
                <a:cs typeface="+mn-cs"/>
              </a:defRPr>
            </a:lvl1pPr>
            <a:lvl2pPr marL="611699" indent="-203300" algn="l" defTabSz="1036290" rtl="0" eaLnBrk="1" latinLnBrk="0" hangingPunct="1">
              <a:lnSpc>
                <a:spcPct val="90000"/>
              </a:lnSpc>
              <a:spcBef>
                <a:spcPts val="567"/>
              </a:spcBef>
              <a:buClr>
                <a:schemeClr val="accent1"/>
              </a:buClr>
              <a:buFont typeface="Arial" panose="020B0604020202020204" pitchFamily="34" charset="0"/>
              <a:buChar char="•"/>
              <a:defRPr sz="2040" kern="1200">
                <a:solidFill>
                  <a:schemeClr val="tx1"/>
                </a:solidFill>
                <a:latin typeface="+mj-lt"/>
                <a:ea typeface="+mn-ea"/>
                <a:cs typeface="+mn-cs"/>
              </a:defRPr>
            </a:lvl2pPr>
            <a:lvl3pPr marL="1020098" indent="-203300" algn="l" defTabSz="1036290" rtl="0" eaLnBrk="1" latinLnBrk="0" hangingPunct="1">
              <a:lnSpc>
                <a:spcPct val="90000"/>
              </a:lnSpc>
              <a:spcBef>
                <a:spcPts val="567"/>
              </a:spcBef>
              <a:buClr>
                <a:schemeClr val="accent2"/>
              </a:buClr>
              <a:buFont typeface="Arial" panose="020B0604020202020204" pitchFamily="34" charset="0"/>
              <a:buChar char="•"/>
              <a:defRPr sz="1813" kern="1200">
                <a:solidFill>
                  <a:schemeClr val="tx1"/>
                </a:solidFill>
                <a:latin typeface="+mj-lt"/>
                <a:ea typeface="+mn-ea"/>
                <a:cs typeface="+mn-cs"/>
              </a:defRPr>
            </a:lvl3pPr>
            <a:lvl4pPr marL="1428496" indent="-203300" algn="l" defTabSz="1036290" rtl="0" eaLnBrk="1" latinLnBrk="0" hangingPunct="1">
              <a:lnSpc>
                <a:spcPct val="90000"/>
              </a:lnSpc>
              <a:spcBef>
                <a:spcPts val="567"/>
              </a:spcBef>
              <a:buClr>
                <a:schemeClr val="accent3"/>
              </a:buClr>
              <a:buFont typeface="Arial" panose="020B0604020202020204" pitchFamily="34" charset="0"/>
              <a:buChar char="•"/>
              <a:defRPr sz="1587" kern="1200">
                <a:solidFill>
                  <a:schemeClr val="tx1"/>
                </a:solidFill>
                <a:latin typeface="+mj-lt"/>
                <a:ea typeface="+mn-ea"/>
                <a:cs typeface="+mn-cs"/>
              </a:defRPr>
            </a:lvl4pPr>
            <a:lvl5pPr marL="1836896" indent="-203300" algn="l" defTabSz="1036290" rtl="0" eaLnBrk="1" latinLnBrk="0" hangingPunct="1">
              <a:lnSpc>
                <a:spcPct val="90000"/>
              </a:lnSpc>
              <a:spcBef>
                <a:spcPts val="567"/>
              </a:spcBef>
              <a:buClr>
                <a:schemeClr val="accent5"/>
              </a:buClr>
              <a:buFont typeface="Arial" panose="020B0604020202020204" pitchFamily="34" charset="0"/>
              <a:buChar char="•"/>
              <a:defRPr sz="1587" kern="1200">
                <a:solidFill>
                  <a:schemeClr val="tx1"/>
                </a:solidFill>
                <a:latin typeface="+mj-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defTabSz="1219256">
              <a:spcBef>
                <a:spcPts val="1000"/>
              </a:spcBef>
            </a:pPr>
            <a:r>
              <a:rPr lang="nb-NO" sz="1467">
                <a:solidFill>
                  <a:srgbClr val="0070AD"/>
                </a:solidFill>
                <a:latin typeface="Verdana"/>
              </a:rPr>
              <a:t>johan-ludvig.brattas@capgemini.com</a:t>
            </a:r>
          </a:p>
        </p:txBody>
      </p:sp>
      <p:pic>
        <p:nvPicPr>
          <p:cNvPr id="4" name="Graphic 3" descr="Envelope">
            <a:extLst>
              <a:ext uri="{FF2B5EF4-FFF2-40B4-BE49-F238E27FC236}">
                <a16:creationId xmlns:a16="http://schemas.microsoft.com/office/drawing/2014/main" id="{CE7DF72A-A166-4B3C-8765-0BE0A6996CA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5939" y="5832880"/>
            <a:ext cx="337677" cy="337677"/>
          </a:xfrm>
          <a:prstGeom prst="rect">
            <a:avLst/>
          </a:prstGeom>
        </p:spPr>
      </p:pic>
      <p:pic>
        <p:nvPicPr>
          <p:cNvPr id="3" name="Picture 2" descr="A picture containing application&#10;&#10;Description automatically generated">
            <a:extLst>
              <a:ext uri="{FF2B5EF4-FFF2-40B4-BE49-F238E27FC236}">
                <a16:creationId xmlns:a16="http://schemas.microsoft.com/office/drawing/2014/main" id="{26F2A0F1-0877-4AFB-ADDA-A6A8D4B0C4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77041" y="850409"/>
            <a:ext cx="548086" cy="548086"/>
          </a:xfrm>
          <a:prstGeom prst="rect">
            <a:avLst/>
          </a:prstGeom>
        </p:spPr>
      </p:pic>
    </p:spTree>
    <p:extLst>
      <p:ext uri="{BB962C8B-B14F-4D97-AF65-F5344CB8AC3E}">
        <p14:creationId xmlns:p14="http://schemas.microsoft.com/office/powerpoint/2010/main" val="12967711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Icons Collection </a:t>
            </a:r>
            <a:r>
              <a:rPr lang="en-US" sz="1800"/>
              <a:t>(non-exhaustive list)</a:t>
            </a:r>
            <a:endParaRPr lang="en-US"/>
          </a:p>
        </p:txBody>
      </p:sp>
      <p:sp>
        <p:nvSpPr>
          <p:cNvPr id="265" name="ZoneTexte 264"/>
          <p:cNvSpPr txBox="1"/>
          <p:nvPr/>
        </p:nvSpPr>
        <p:spPr>
          <a:xfrm>
            <a:off x="1479325" y="2289762"/>
            <a:ext cx="738723" cy="254067"/>
          </a:xfrm>
          <a:prstGeom prst="rect">
            <a:avLst/>
          </a:prstGeom>
          <a:noFill/>
        </p:spPr>
        <p:txBody>
          <a:bodyPr wrap="square" lIns="83969" tIns="41985" rIns="83969" bIns="41985" rtlCol="0">
            <a:spAutoFit/>
          </a:bodyPr>
          <a:lstStyle/>
          <a:p>
            <a:pPr algn="ctr"/>
            <a:r>
              <a:rPr lang="en-US" sz="1100">
                <a:solidFill>
                  <a:srgbClr val="494949"/>
                </a:solidFill>
              </a:rPr>
              <a:t>Arrows</a:t>
            </a:r>
          </a:p>
        </p:txBody>
      </p:sp>
      <p:sp>
        <p:nvSpPr>
          <p:cNvPr id="266" name="ZoneTexte 265"/>
          <p:cNvSpPr txBox="1"/>
          <p:nvPr/>
        </p:nvSpPr>
        <p:spPr>
          <a:xfrm>
            <a:off x="2211481" y="2289762"/>
            <a:ext cx="738723" cy="254067"/>
          </a:xfrm>
          <a:prstGeom prst="rect">
            <a:avLst/>
          </a:prstGeom>
          <a:noFill/>
        </p:spPr>
        <p:txBody>
          <a:bodyPr wrap="square" lIns="83969" tIns="41985" rIns="83969" bIns="41985" rtlCol="0">
            <a:spAutoFit/>
          </a:bodyPr>
          <a:lstStyle/>
          <a:p>
            <a:pPr algn="ctr"/>
            <a:r>
              <a:rPr lang="en-US" sz="1100">
                <a:solidFill>
                  <a:srgbClr val="494949"/>
                </a:solidFill>
              </a:rPr>
              <a:t>Balance</a:t>
            </a:r>
          </a:p>
        </p:txBody>
      </p:sp>
      <p:sp>
        <p:nvSpPr>
          <p:cNvPr id="267" name="ZoneTexte 266"/>
          <p:cNvSpPr txBox="1"/>
          <p:nvPr/>
        </p:nvSpPr>
        <p:spPr>
          <a:xfrm>
            <a:off x="3048696" y="2289762"/>
            <a:ext cx="738723" cy="254067"/>
          </a:xfrm>
          <a:prstGeom prst="rect">
            <a:avLst/>
          </a:prstGeom>
          <a:noFill/>
        </p:spPr>
        <p:txBody>
          <a:bodyPr wrap="square" lIns="83969" tIns="41985" rIns="83969" bIns="41985" rtlCol="0">
            <a:spAutoFit/>
          </a:bodyPr>
          <a:lstStyle/>
          <a:p>
            <a:pPr algn="ctr"/>
            <a:r>
              <a:rPr lang="en-US" sz="1100">
                <a:solidFill>
                  <a:srgbClr val="494949"/>
                </a:solidFill>
              </a:rPr>
              <a:t>Star</a:t>
            </a:r>
          </a:p>
        </p:txBody>
      </p:sp>
      <p:sp>
        <p:nvSpPr>
          <p:cNvPr id="268" name="ZoneTexte 267"/>
          <p:cNvSpPr txBox="1"/>
          <p:nvPr/>
        </p:nvSpPr>
        <p:spPr>
          <a:xfrm>
            <a:off x="3889202" y="2289762"/>
            <a:ext cx="738723" cy="254067"/>
          </a:xfrm>
          <a:prstGeom prst="rect">
            <a:avLst/>
          </a:prstGeom>
          <a:noFill/>
        </p:spPr>
        <p:txBody>
          <a:bodyPr wrap="square" lIns="83969" tIns="41985" rIns="83969" bIns="41985" rtlCol="0">
            <a:spAutoFit/>
          </a:bodyPr>
          <a:lstStyle/>
          <a:p>
            <a:pPr algn="ctr"/>
            <a:r>
              <a:rPr lang="en-US" sz="1100">
                <a:solidFill>
                  <a:srgbClr val="494949"/>
                </a:solidFill>
              </a:rPr>
              <a:t>Gears 1</a:t>
            </a:r>
          </a:p>
        </p:txBody>
      </p:sp>
      <p:sp>
        <p:nvSpPr>
          <p:cNvPr id="269" name="ZoneTexte 268"/>
          <p:cNvSpPr txBox="1"/>
          <p:nvPr/>
        </p:nvSpPr>
        <p:spPr>
          <a:xfrm>
            <a:off x="4736271" y="2289762"/>
            <a:ext cx="738723" cy="254067"/>
          </a:xfrm>
          <a:prstGeom prst="rect">
            <a:avLst/>
          </a:prstGeom>
          <a:noFill/>
        </p:spPr>
        <p:txBody>
          <a:bodyPr wrap="square" lIns="83969" tIns="41985" rIns="83969" bIns="41985" rtlCol="0">
            <a:spAutoFit/>
          </a:bodyPr>
          <a:lstStyle/>
          <a:p>
            <a:pPr algn="ctr"/>
            <a:r>
              <a:rPr lang="en-US" sz="1100">
                <a:solidFill>
                  <a:srgbClr val="494949"/>
                </a:solidFill>
              </a:rPr>
              <a:t>Gears 2</a:t>
            </a:r>
          </a:p>
        </p:txBody>
      </p:sp>
      <p:sp>
        <p:nvSpPr>
          <p:cNvPr id="270" name="ZoneTexte 269"/>
          <p:cNvSpPr txBox="1"/>
          <p:nvPr/>
        </p:nvSpPr>
        <p:spPr>
          <a:xfrm>
            <a:off x="6473089" y="2289762"/>
            <a:ext cx="738723" cy="254067"/>
          </a:xfrm>
          <a:prstGeom prst="rect">
            <a:avLst/>
          </a:prstGeom>
          <a:noFill/>
        </p:spPr>
        <p:txBody>
          <a:bodyPr wrap="square" lIns="83969" tIns="41985" rIns="83969" bIns="41985" rtlCol="0">
            <a:spAutoFit/>
          </a:bodyPr>
          <a:lstStyle/>
          <a:p>
            <a:pPr algn="ctr"/>
            <a:r>
              <a:rPr lang="en-US" sz="1100">
                <a:solidFill>
                  <a:srgbClr val="494949"/>
                </a:solidFill>
              </a:rPr>
              <a:t>Tools 1</a:t>
            </a:r>
          </a:p>
        </p:txBody>
      </p:sp>
      <p:sp>
        <p:nvSpPr>
          <p:cNvPr id="271" name="ZoneTexte 270"/>
          <p:cNvSpPr txBox="1"/>
          <p:nvPr/>
        </p:nvSpPr>
        <p:spPr>
          <a:xfrm>
            <a:off x="7536851" y="2289762"/>
            <a:ext cx="738723" cy="254067"/>
          </a:xfrm>
          <a:prstGeom prst="rect">
            <a:avLst/>
          </a:prstGeom>
          <a:noFill/>
        </p:spPr>
        <p:txBody>
          <a:bodyPr wrap="square" lIns="83969" tIns="41985" rIns="83969" bIns="41985" rtlCol="0">
            <a:spAutoFit/>
          </a:bodyPr>
          <a:lstStyle/>
          <a:p>
            <a:pPr algn="ctr"/>
            <a:r>
              <a:rPr lang="en-US" sz="1100">
                <a:solidFill>
                  <a:srgbClr val="494949"/>
                </a:solidFill>
              </a:rPr>
              <a:t>Tools 2</a:t>
            </a:r>
          </a:p>
        </p:txBody>
      </p:sp>
      <p:sp>
        <p:nvSpPr>
          <p:cNvPr id="272" name="ZoneTexte 271"/>
          <p:cNvSpPr txBox="1"/>
          <p:nvPr/>
        </p:nvSpPr>
        <p:spPr>
          <a:xfrm>
            <a:off x="8269007" y="2289762"/>
            <a:ext cx="738723" cy="254067"/>
          </a:xfrm>
          <a:prstGeom prst="rect">
            <a:avLst/>
          </a:prstGeom>
          <a:noFill/>
        </p:spPr>
        <p:txBody>
          <a:bodyPr wrap="square" lIns="83969" tIns="41985" rIns="83969" bIns="41985" rtlCol="0">
            <a:spAutoFit/>
          </a:bodyPr>
          <a:lstStyle/>
          <a:p>
            <a:pPr algn="ctr"/>
            <a:r>
              <a:rPr lang="en-US" sz="1100">
                <a:solidFill>
                  <a:srgbClr val="494949"/>
                </a:solidFill>
              </a:rPr>
              <a:t>Upload</a:t>
            </a:r>
          </a:p>
        </p:txBody>
      </p:sp>
      <p:sp>
        <p:nvSpPr>
          <p:cNvPr id="273" name="ZoneTexte 272"/>
          <p:cNvSpPr txBox="1"/>
          <p:nvPr/>
        </p:nvSpPr>
        <p:spPr>
          <a:xfrm>
            <a:off x="9125926" y="2289762"/>
            <a:ext cx="738723" cy="254067"/>
          </a:xfrm>
          <a:prstGeom prst="rect">
            <a:avLst/>
          </a:prstGeom>
          <a:noFill/>
        </p:spPr>
        <p:txBody>
          <a:bodyPr wrap="square" lIns="83969" tIns="41985" rIns="83969" bIns="41985" rtlCol="0">
            <a:spAutoFit/>
          </a:bodyPr>
          <a:lstStyle/>
          <a:p>
            <a:pPr algn="ctr"/>
            <a:r>
              <a:rPr lang="en-US" sz="1100">
                <a:solidFill>
                  <a:srgbClr val="494949"/>
                </a:solidFill>
              </a:rPr>
              <a:t>Chain</a:t>
            </a:r>
          </a:p>
        </p:txBody>
      </p:sp>
      <p:sp>
        <p:nvSpPr>
          <p:cNvPr id="274" name="ZoneTexte 273"/>
          <p:cNvSpPr txBox="1"/>
          <p:nvPr/>
        </p:nvSpPr>
        <p:spPr>
          <a:xfrm>
            <a:off x="9858082" y="2289762"/>
            <a:ext cx="738723" cy="254067"/>
          </a:xfrm>
          <a:prstGeom prst="rect">
            <a:avLst/>
          </a:prstGeom>
          <a:noFill/>
        </p:spPr>
        <p:txBody>
          <a:bodyPr wrap="square" lIns="83969" tIns="41985" rIns="83969" bIns="41985" rtlCol="0">
            <a:spAutoFit/>
          </a:bodyPr>
          <a:lstStyle/>
          <a:p>
            <a:pPr algn="ctr"/>
            <a:r>
              <a:rPr lang="en-US" sz="1100">
                <a:solidFill>
                  <a:srgbClr val="494949"/>
                </a:solidFill>
              </a:rPr>
              <a:t>Music</a:t>
            </a:r>
          </a:p>
        </p:txBody>
      </p:sp>
      <p:sp>
        <p:nvSpPr>
          <p:cNvPr id="275" name="ZoneTexte 274"/>
          <p:cNvSpPr txBox="1"/>
          <p:nvPr/>
        </p:nvSpPr>
        <p:spPr>
          <a:xfrm>
            <a:off x="1436636" y="3501645"/>
            <a:ext cx="738723" cy="254067"/>
          </a:xfrm>
          <a:prstGeom prst="rect">
            <a:avLst/>
          </a:prstGeom>
          <a:noFill/>
        </p:spPr>
        <p:txBody>
          <a:bodyPr wrap="square" lIns="83969" tIns="41985" rIns="83969" bIns="41985" rtlCol="0">
            <a:spAutoFit/>
          </a:bodyPr>
          <a:lstStyle/>
          <a:p>
            <a:pPr algn="ctr"/>
            <a:r>
              <a:rPr lang="en-US" sz="1100">
                <a:solidFill>
                  <a:srgbClr val="494949"/>
                </a:solidFill>
              </a:rPr>
              <a:t>DNA</a:t>
            </a:r>
          </a:p>
        </p:txBody>
      </p:sp>
      <p:sp>
        <p:nvSpPr>
          <p:cNvPr id="282" name="ZoneTexte 281"/>
          <p:cNvSpPr txBox="1"/>
          <p:nvPr/>
        </p:nvSpPr>
        <p:spPr>
          <a:xfrm>
            <a:off x="5527526" y="2289762"/>
            <a:ext cx="738723" cy="254067"/>
          </a:xfrm>
          <a:prstGeom prst="rect">
            <a:avLst/>
          </a:prstGeom>
          <a:noFill/>
        </p:spPr>
        <p:txBody>
          <a:bodyPr wrap="square" lIns="83969" tIns="41985" rIns="83969" bIns="41985" rtlCol="0">
            <a:spAutoFit/>
          </a:bodyPr>
          <a:lstStyle/>
          <a:p>
            <a:pPr algn="ctr"/>
            <a:r>
              <a:rPr lang="en-US" sz="1100">
                <a:solidFill>
                  <a:srgbClr val="494949"/>
                </a:solidFill>
              </a:rPr>
              <a:t>Vision</a:t>
            </a:r>
          </a:p>
        </p:txBody>
      </p:sp>
      <p:sp>
        <p:nvSpPr>
          <p:cNvPr id="283" name="ZoneTexte 282"/>
          <p:cNvSpPr txBox="1"/>
          <p:nvPr/>
        </p:nvSpPr>
        <p:spPr>
          <a:xfrm>
            <a:off x="2158950" y="3501645"/>
            <a:ext cx="916009" cy="254067"/>
          </a:xfrm>
          <a:prstGeom prst="rect">
            <a:avLst/>
          </a:prstGeom>
          <a:noFill/>
        </p:spPr>
        <p:txBody>
          <a:bodyPr wrap="square" lIns="83969" tIns="41985" rIns="83969" bIns="41985" rtlCol="0">
            <a:spAutoFit/>
          </a:bodyPr>
          <a:lstStyle/>
          <a:p>
            <a:pPr algn="ctr"/>
            <a:r>
              <a:rPr lang="en-US" sz="1100">
                <a:solidFill>
                  <a:srgbClr val="494949"/>
                </a:solidFill>
              </a:rPr>
              <a:t>Wins</a:t>
            </a:r>
          </a:p>
        </p:txBody>
      </p:sp>
      <p:sp>
        <p:nvSpPr>
          <p:cNvPr id="284" name="ZoneTexte 283"/>
          <p:cNvSpPr txBox="1"/>
          <p:nvPr/>
        </p:nvSpPr>
        <p:spPr>
          <a:xfrm>
            <a:off x="3094655" y="3501645"/>
            <a:ext cx="738723" cy="254067"/>
          </a:xfrm>
          <a:prstGeom prst="rect">
            <a:avLst/>
          </a:prstGeom>
          <a:noFill/>
        </p:spPr>
        <p:txBody>
          <a:bodyPr wrap="square" lIns="83969" tIns="41985" rIns="83969" bIns="41985" rtlCol="0">
            <a:spAutoFit/>
          </a:bodyPr>
          <a:lstStyle/>
          <a:p>
            <a:pPr algn="ctr"/>
            <a:r>
              <a:rPr lang="en-US" sz="1100">
                <a:solidFill>
                  <a:srgbClr val="494949"/>
                </a:solidFill>
              </a:rPr>
              <a:t>Idea</a:t>
            </a:r>
          </a:p>
        </p:txBody>
      </p:sp>
      <p:sp>
        <p:nvSpPr>
          <p:cNvPr id="285" name="ZoneTexte 284"/>
          <p:cNvSpPr txBox="1"/>
          <p:nvPr/>
        </p:nvSpPr>
        <p:spPr>
          <a:xfrm>
            <a:off x="4021732" y="3501645"/>
            <a:ext cx="738723" cy="254067"/>
          </a:xfrm>
          <a:prstGeom prst="rect">
            <a:avLst/>
          </a:prstGeom>
          <a:noFill/>
        </p:spPr>
        <p:txBody>
          <a:bodyPr wrap="square" lIns="83969" tIns="41985" rIns="83969" bIns="41985" rtlCol="0">
            <a:spAutoFit/>
          </a:bodyPr>
          <a:lstStyle/>
          <a:p>
            <a:pPr algn="ctr"/>
            <a:r>
              <a:rPr lang="en-US" sz="1100">
                <a:solidFill>
                  <a:srgbClr val="494949"/>
                </a:solidFill>
              </a:rPr>
              <a:t>Time 1</a:t>
            </a:r>
          </a:p>
        </p:txBody>
      </p:sp>
      <p:sp>
        <p:nvSpPr>
          <p:cNvPr id="286" name="ZoneTexte 285"/>
          <p:cNvSpPr txBox="1"/>
          <p:nvPr/>
        </p:nvSpPr>
        <p:spPr>
          <a:xfrm>
            <a:off x="4930202" y="3501645"/>
            <a:ext cx="738723" cy="254067"/>
          </a:xfrm>
          <a:prstGeom prst="rect">
            <a:avLst/>
          </a:prstGeom>
          <a:noFill/>
        </p:spPr>
        <p:txBody>
          <a:bodyPr wrap="square" lIns="83969" tIns="41985" rIns="83969" bIns="41985" rtlCol="0">
            <a:spAutoFit/>
          </a:bodyPr>
          <a:lstStyle/>
          <a:p>
            <a:pPr algn="ctr"/>
            <a:r>
              <a:rPr lang="en-US" sz="1100">
                <a:solidFill>
                  <a:srgbClr val="494949"/>
                </a:solidFill>
              </a:rPr>
              <a:t>Time 2</a:t>
            </a:r>
          </a:p>
        </p:txBody>
      </p:sp>
      <p:sp>
        <p:nvSpPr>
          <p:cNvPr id="287" name="ZoneTexte 286"/>
          <p:cNvSpPr txBox="1"/>
          <p:nvPr/>
        </p:nvSpPr>
        <p:spPr>
          <a:xfrm>
            <a:off x="5755497" y="3501645"/>
            <a:ext cx="738723" cy="254067"/>
          </a:xfrm>
          <a:prstGeom prst="rect">
            <a:avLst/>
          </a:prstGeom>
          <a:noFill/>
        </p:spPr>
        <p:txBody>
          <a:bodyPr wrap="square" lIns="83969" tIns="41985" rIns="83969" bIns="41985" rtlCol="0">
            <a:spAutoFit/>
          </a:bodyPr>
          <a:lstStyle/>
          <a:p>
            <a:pPr algn="ctr"/>
            <a:r>
              <a:rPr lang="en-US" sz="1100">
                <a:solidFill>
                  <a:srgbClr val="494949"/>
                </a:solidFill>
              </a:rPr>
              <a:t>Time 3</a:t>
            </a:r>
          </a:p>
        </p:txBody>
      </p:sp>
      <p:sp>
        <p:nvSpPr>
          <p:cNvPr id="288" name="ZoneTexte 287"/>
          <p:cNvSpPr txBox="1"/>
          <p:nvPr/>
        </p:nvSpPr>
        <p:spPr>
          <a:xfrm>
            <a:off x="6408852" y="3501645"/>
            <a:ext cx="1086755" cy="254067"/>
          </a:xfrm>
          <a:prstGeom prst="rect">
            <a:avLst/>
          </a:prstGeom>
          <a:noFill/>
        </p:spPr>
        <p:txBody>
          <a:bodyPr wrap="square" lIns="83969" tIns="41985" rIns="83969" bIns="41985" rtlCol="0">
            <a:spAutoFit/>
          </a:bodyPr>
          <a:lstStyle/>
          <a:p>
            <a:pPr algn="ctr"/>
            <a:r>
              <a:rPr lang="en-US" sz="1100">
                <a:solidFill>
                  <a:srgbClr val="494949"/>
                </a:solidFill>
              </a:rPr>
              <a:t>Right Time</a:t>
            </a:r>
          </a:p>
        </p:txBody>
      </p:sp>
      <p:sp>
        <p:nvSpPr>
          <p:cNvPr id="289" name="ZoneTexte 288"/>
          <p:cNvSpPr txBox="1"/>
          <p:nvPr/>
        </p:nvSpPr>
        <p:spPr>
          <a:xfrm>
            <a:off x="7740400" y="3501645"/>
            <a:ext cx="738723" cy="254067"/>
          </a:xfrm>
          <a:prstGeom prst="rect">
            <a:avLst/>
          </a:prstGeom>
          <a:noFill/>
        </p:spPr>
        <p:txBody>
          <a:bodyPr wrap="square" lIns="83969" tIns="41985" rIns="83969" bIns="41985" rtlCol="0">
            <a:spAutoFit/>
          </a:bodyPr>
          <a:lstStyle/>
          <a:p>
            <a:pPr algn="ctr"/>
            <a:r>
              <a:rPr lang="en-US" sz="1100">
                <a:solidFill>
                  <a:srgbClr val="494949"/>
                </a:solidFill>
              </a:rPr>
              <a:t>Flow</a:t>
            </a:r>
          </a:p>
        </p:txBody>
      </p:sp>
      <p:sp>
        <p:nvSpPr>
          <p:cNvPr id="290" name="ZoneTexte 289"/>
          <p:cNvSpPr txBox="1"/>
          <p:nvPr/>
        </p:nvSpPr>
        <p:spPr>
          <a:xfrm>
            <a:off x="1160647" y="4713529"/>
            <a:ext cx="972036" cy="254067"/>
          </a:xfrm>
          <a:prstGeom prst="rect">
            <a:avLst/>
          </a:prstGeom>
          <a:noFill/>
        </p:spPr>
        <p:txBody>
          <a:bodyPr wrap="square" lIns="83969" tIns="41985" rIns="83969" bIns="41985" rtlCol="0">
            <a:spAutoFit/>
          </a:bodyPr>
          <a:lstStyle/>
          <a:p>
            <a:pPr algn="ctr"/>
            <a:r>
              <a:rPr lang="en-US" sz="1100">
                <a:solidFill>
                  <a:srgbClr val="494949"/>
                </a:solidFill>
              </a:rPr>
              <a:t>Smartphone</a:t>
            </a:r>
          </a:p>
        </p:txBody>
      </p:sp>
      <p:sp>
        <p:nvSpPr>
          <p:cNvPr id="291" name="ZoneTexte 290"/>
          <p:cNvSpPr txBox="1"/>
          <p:nvPr/>
        </p:nvSpPr>
        <p:spPr>
          <a:xfrm>
            <a:off x="2011207" y="4713529"/>
            <a:ext cx="1007943" cy="592621"/>
          </a:xfrm>
          <a:prstGeom prst="rect">
            <a:avLst/>
          </a:prstGeom>
          <a:noFill/>
        </p:spPr>
        <p:txBody>
          <a:bodyPr wrap="square" lIns="83969" tIns="41985" rIns="83969" bIns="41985" rtlCol="0">
            <a:spAutoFit/>
          </a:bodyPr>
          <a:lstStyle/>
          <a:p>
            <a:pPr algn="ctr"/>
            <a:r>
              <a:rPr lang="en-US" sz="1100">
                <a:solidFill>
                  <a:srgbClr val="494949"/>
                </a:solidFill>
              </a:rPr>
              <a:t>Mobile</a:t>
            </a:r>
          </a:p>
          <a:p>
            <a:pPr algn="ctr"/>
            <a:r>
              <a:rPr lang="en-US" sz="1100">
                <a:solidFill>
                  <a:srgbClr val="494949"/>
                </a:solidFill>
              </a:rPr>
              <a:t>Conversation</a:t>
            </a:r>
          </a:p>
        </p:txBody>
      </p:sp>
      <p:sp>
        <p:nvSpPr>
          <p:cNvPr id="292" name="ZoneTexte 291"/>
          <p:cNvSpPr txBox="1"/>
          <p:nvPr/>
        </p:nvSpPr>
        <p:spPr>
          <a:xfrm>
            <a:off x="2953463" y="4713528"/>
            <a:ext cx="1014541" cy="423344"/>
          </a:xfrm>
          <a:prstGeom prst="rect">
            <a:avLst/>
          </a:prstGeom>
          <a:noFill/>
        </p:spPr>
        <p:txBody>
          <a:bodyPr wrap="square" lIns="83969" tIns="41985" rIns="83969" bIns="41985" rtlCol="0">
            <a:spAutoFit/>
          </a:bodyPr>
          <a:lstStyle/>
          <a:p>
            <a:pPr algn="ctr"/>
            <a:r>
              <a:rPr lang="en-US" sz="1100">
                <a:solidFill>
                  <a:srgbClr val="494949"/>
                </a:solidFill>
              </a:rPr>
              <a:t>Smartphone 1</a:t>
            </a:r>
          </a:p>
        </p:txBody>
      </p:sp>
      <p:sp>
        <p:nvSpPr>
          <p:cNvPr id="293" name="ZoneTexte 292"/>
          <p:cNvSpPr txBox="1"/>
          <p:nvPr/>
        </p:nvSpPr>
        <p:spPr>
          <a:xfrm>
            <a:off x="3912158" y="4713528"/>
            <a:ext cx="1014541" cy="423344"/>
          </a:xfrm>
          <a:prstGeom prst="rect">
            <a:avLst/>
          </a:prstGeom>
          <a:noFill/>
        </p:spPr>
        <p:txBody>
          <a:bodyPr wrap="square" lIns="83969" tIns="41985" rIns="83969" bIns="41985" rtlCol="0">
            <a:spAutoFit/>
          </a:bodyPr>
          <a:lstStyle/>
          <a:p>
            <a:pPr algn="ctr"/>
            <a:r>
              <a:rPr lang="en-US" sz="1100">
                <a:solidFill>
                  <a:srgbClr val="494949"/>
                </a:solidFill>
              </a:rPr>
              <a:t>Smartphone 2</a:t>
            </a:r>
          </a:p>
        </p:txBody>
      </p:sp>
      <p:sp>
        <p:nvSpPr>
          <p:cNvPr id="294" name="ZoneTexte 293"/>
          <p:cNvSpPr txBox="1"/>
          <p:nvPr/>
        </p:nvSpPr>
        <p:spPr>
          <a:xfrm>
            <a:off x="4936546" y="4713529"/>
            <a:ext cx="738723" cy="254067"/>
          </a:xfrm>
          <a:prstGeom prst="rect">
            <a:avLst/>
          </a:prstGeom>
          <a:noFill/>
        </p:spPr>
        <p:txBody>
          <a:bodyPr wrap="square" lIns="83969" tIns="41985" rIns="83969" bIns="41985" rtlCol="0">
            <a:spAutoFit/>
          </a:bodyPr>
          <a:lstStyle/>
          <a:p>
            <a:pPr algn="ctr"/>
            <a:r>
              <a:rPr lang="en-US" sz="1100">
                <a:solidFill>
                  <a:srgbClr val="494949"/>
                </a:solidFill>
              </a:rPr>
              <a:t>Tablet</a:t>
            </a:r>
          </a:p>
        </p:txBody>
      </p:sp>
      <p:sp>
        <p:nvSpPr>
          <p:cNvPr id="295" name="ZoneTexte 294"/>
          <p:cNvSpPr txBox="1"/>
          <p:nvPr/>
        </p:nvSpPr>
        <p:spPr>
          <a:xfrm>
            <a:off x="6870390" y="4713529"/>
            <a:ext cx="738723" cy="254067"/>
          </a:xfrm>
          <a:prstGeom prst="rect">
            <a:avLst/>
          </a:prstGeom>
          <a:noFill/>
        </p:spPr>
        <p:txBody>
          <a:bodyPr wrap="square" lIns="83969" tIns="41985" rIns="83969" bIns="41985" rtlCol="0">
            <a:spAutoFit/>
          </a:bodyPr>
          <a:lstStyle/>
          <a:p>
            <a:pPr algn="ctr"/>
            <a:r>
              <a:rPr lang="en-US" sz="1100">
                <a:solidFill>
                  <a:srgbClr val="494949"/>
                </a:solidFill>
              </a:rPr>
              <a:t>Mouse</a:t>
            </a:r>
          </a:p>
        </p:txBody>
      </p:sp>
      <p:sp>
        <p:nvSpPr>
          <p:cNvPr id="296" name="ZoneTexte 295"/>
          <p:cNvSpPr txBox="1"/>
          <p:nvPr/>
        </p:nvSpPr>
        <p:spPr>
          <a:xfrm>
            <a:off x="9904043" y="3501645"/>
            <a:ext cx="843790" cy="254067"/>
          </a:xfrm>
          <a:prstGeom prst="rect">
            <a:avLst/>
          </a:prstGeom>
          <a:noFill/>
        </p:spPr>
        <p:txBody>
          <a:bodyPr wrap="square" lIns="83969" tIns="41985" rIns="83969" bIns="41985" rtlCol="0">
            <a:spAutoFit/>
          </a:bodyPr>
          <a:lstStyle/>
          <a:p>
            <a:pPr algn="ctr"/>
            <a:r>
              <a:rPr lang="en-US" sz="1100">
                <a:solidFill>
                  <a:srgbClr val="494949"/>
                </a:solidFill>
              </a:rPr>
              <a:t>Camera</a:t>
            </a:r>
          </a:p>
        </p:txBody>
      </p:sp>
      <p:sp>
        <p:nvSpPr>
          <p:cNvPr id="297" name="ZoneTexte 296"/>
          <p:cNvSpPr txBox="1"/>
          <p:nvPr/>
        </p:nvSpPr>
        <p:spPr>
          <a:xfrm>
            <a:off x="7783094" y="4713529"/>
            <a:ext cx="1145837" cy="254067"/>
          </a:xfrm>
          <a:prstGeom prst="rect">
            <a:avLst/>
          </a:prstGeom>
          <a:noFill/>
        </p:spPr>
        <p:txBody>
          <a:bodyPr wrap="square" lIns="83969" tIns="41985" rIns="83969" bIns="41985" rtlCol="0">
            <a:spAutoFit/>
          </a:bodyPr>
          <a:lstStyle/>
          <a:p>
            <a:pPr algn="ctr"/>
            <a:r>
              <a:rPr lang="en-US" sz="1100">
                <a:solidFill>
                  <a:srgbClr val="494949"/>
                </a:solidFill>
              </a:rPr>
              <a:t>Right place</a:t>
            </a:r>
          </a:p>
        </p:txBody>
      </p:sp>
      <p:sp>
        <p:nvSpPr>
          <p:cNvPr id="298" name="ZoneTexte 297"/>
          <p:cNvSpPr txBox="1"/>
          <p:nvPr/>
        </p:nvSpPr>
        <p:spPr>
          <a:xfrm>
            <a:off x="8912516" y="4713529"/>
            <a:ext cx="738723" cy="254067"/>
          </a:xfrm>
          <a:prstGeom prst="rect">
            <a:avLst/>
          </a:prstGeom>
          <a:noFill/>
        </p:spPr>
        <p:txBody>
          <a:bodyPr wrap="square" lIns="83969" tIns="41985" rIns="83969" bIns="41985" rtlCol="0">
            <a:spAutoFit/>
          </a:bodyPr>
          <a:lstStyle/>
          <a:p>
            <a:pPr algn="ctr"/>
            <a:r>
              <a:rPr lang="en-US" sz="1100">
                <a:solidFill>
                  <a:srgbClr val="494949"/>
                </a:solidFill>
              </a:rPr>
              <a:t>World 1</a:t>
            </a:r>
          </a:p>
        </p:txBody>
      </p:sp>
      <p:sp>
        <p:nvSpPr>
          <p:cNvPr id="299" name="ZoneTexte 298"/>
          <p:cNvSpPr txBox="1"/>
          <p:nvPr/>
        </p:nvSpPr>
        <p:spPr>
          <a:xfrm>
            <a:off x="9861365" y="4713529"/>
            <a:ext cx="738723" cy="254067"/>
          </a:xfrm>
          <a:prstGeom prst="rect">
            <a:avLst/>
          </a:prstGeom>
          <a:noFill/>
        </p:spPr>
        <p:txBody>
          <a:bodyPr wrap="square" lIns="83969" tIns="41985" rIns="83969" bIns="41985" rtlCol="0">
            <a:spAutoFit/>
          </a:bodyPr>
          <a:lstStyle/>
          <a:p>
            <a:pPr algn="ctr"/>
            <a:r>
              <a:rPr lang="en-US" sz="1100">
                <a:solidFill>
                  <a:srgbClr val="494949"/>
                </a:solidFill>
              </a:rPr>
              <a:t>World 2</a:t>
            </a:r>
          </a:p>
        </p:txBody>
      </p:sp>
      <p:sp>
        <p:nvSpPr>
          <p:cNvPr id="300" name="ZoneTexte 299"/>
          <p:cNvSpPr txBox="1"/>
          <p:nvPr/>
        </p:nvSpPr>
        <p:spPr>
          <a:xfrm>
            <a:off x="5655572" y="4713529"/>
            <a:ext cx="1080174" cy="254067"/>
          </a:xfrm>
          <a:prstGeom prst="rect">
            <a:avLst/>
          </a:prstGeom>
          <a:noFill/>
        </p:spPr>
        <p:txBody>
          <a:bodyPr wrap="square" lIns="83969" tIns="41985" rIns="83969" bIns="41985" rtlCol="0">
            <a:spAutoFit/>
          </a:bodyPr>
          <a:lstStyle/>
          <a:p>
            <a:pPr algn="ctr"/>
            <a:r>
              <a:rPr lang="en-US" sz="1100">
                <a:solidFill>
                  <a:srgbClr val="494949"/>
                </a:solidFill>
              </a:rPr>
              <a:t>Computer</a:t>
            </a:r>
          </a:p>
        </p:txBody>
      </p:sp>
      <p:sp>
        <p:nvSpPr>
          <p:cNvPr id="308" name="ZoneTexte 307"/>
          <p:cNvSpPr txBox="1"/>
          <p:nvPr/>
        </p:nvSpPr>
        <p:spPr>
          <a:xfrm>
            <a:off x="8912513" y="3501645"/>
            <a:ext cx="843790" cy="254067"/>
          </a:xfrm>
          <a:prstGeom prst="rect">
            <a:avLst/>
          </a:prstGeom>
          <a:noFill/>
        </p:spPr>
        <p:txBody>
          <a:bodyPr wrap="square" lIns="83969" tIns="41985" rIns="83969" bIns="41985" rtlCol="0">
            <a:spAutoFit/>
          </a:bodyPr>
          <a:lstStyle/>
          <a:p>
            <a:pPr algn="ctr"/>
            <a:r>
              <a:rPr lang="en-US" sz="1100">
                <a:solidFill>
                  <a:srgbClr val="494949"/>
                </a:solidFill>
              </a:rPr>
              <a:t>Video</a:t>
            </a:r>
          </a:p>
        </p:txBody>
      </p:sp>
      <p:sp>
        <p:nvSpPr>
          <p:cNvPr id="309" name="ZoneTexte 308"/>
          <p:cNvSpPr txBox="1"/>
          <p:nvPr/>
        </p:nvSpPr>
        <p:spPr>
          <a:xfrm>
            <a:off x="1381636" y="5908738"/>
            <a:ext cx="738723" cy="254067"/>
          </a:xfrm>
          <a:prstGeom prst="rect">
            <a:avLst/>
          </a:prstGeom>
          <a:noFill/>
        </p:spPr>
        <p:txBody>
          <a:bodyPr wrap="square" lIns="83969" tIns="41985" rIns="83969" bIns="41985" rtlCol="0">
            <a:spAutoFit/>
          </a:bodyPr>
          <a:lstStyle/>
          <a:p>
            <a:pPr algn="ctr"/>
            <a:r>
              <a:rPr lang="en-US" sz="1100">
                <a:solidFill>
                  <a:srgbClr val="494949"/>
                </a:solidFill>
              </a:rPr>
              <a:t>Hands 1</a:t>
            </a:r>
          </a:p>
        </p:txBody>
      </p:sp>
      <p:sp>
        <p:nvSpPr>
          <p:cNvPr id="311" name="ZoneTexte 310"/>
          <p:cNvSpPr txBox="1"/>
          <p:nvPr/>
        </p:nvSpPr>
        <p:spPr>
          <a:xfrm>
            <a:off x="2062394" y="5908738"/>
            <a:ext cx="738723" cy="254067"/>
          </a:xfrm>
          <a:prstGeom prst="rect">
            <a:avLst/>
          </a:prstGeom>
          <a:noFill/>
        </p:spPr>
        <p:txBody>
          <a:bodyPr wrap="square" lIns="83969" tIns="41985" rIns="83969" bIns="41985" rtlCol="0">
            <a:spAutoFit/>
          </a:bodyPr>
          <a:lstStyle/>
          <a:p>
            <a:pPr algn="ctr"/>
            <a:r>
              <a:rPr lang="en-US" sz="1100">
                <a:solidFill>
                  <a:srgbClr val="494949"/>
                </a:solidFill>
              </a:rPr>
              <a:t>Hand</a:t>
            </a:r>
          </a:p>
        </p:txBody>
      </p:sp>
      <p:sp>
        <p:nvSpPr>
          <p:cNvPr id="312" name="ZoneTexte 311"/>
          <p:cNvSpPr txBox="1"/>
          <p:nvPr/>
        </p:nvSpPr>
        <p:spPr>
          <a:xfrm>
            <a:off x="3653117" y="5908738"/>
            <a:ext cx="1034210" cy="254067"/>
          </a:xfrm>
          <a:prstGeom prst="rect">
            <a:avLst/>
          </a:prstGeom>
          <a:noFill/>
        </p:spPr>
        <p:txBody>
          <a:bodyPr wrap="square" lIns="83969" tIns="41985" rIns="83969" bIns="41985" rtlCol="0">
            <a:spAutoFit/>
          </a:bodyPr>
          <a:lstStyle/>
          <a:p>
            <a:pPr algn="ctr"/>
            <a:r>
              <a:rPr lang="en-US" sz="1100">
                <a:solidFill>
                  <a:srgbClr val="494949"/>
                </a:solidFill>
              </a:rPr>
              <a:t>Collaboration</a:t>
            </a:r>
          </a:p>
        </p:txBody>
      </p:sp>
      <p:sp>
        <p:nvSpPr>
          <p:cNvPr id="313" name="ZoneTexte 312"/>
          <p:cNvSpPr txBox="1"/>
          <p:nvPr/>
        </p:nvSpPr>
        <p:spPr>
          <a:xfrm>
            <a:off x="4701989" y="5908738"/>
            <a:ext cx="521824" cy="254067"/>
          </a:xfrm>
          <a:prstGeom prst="rect">
            <a:avLst/>
          </a:prstGeom>
          <a:noFill/>
        </p:spPr>
        <p:txBody>
          <a:bodyPr wrap="square" lIns="83969" tIns="41985" rIns="83969" bIns="41985" rtlCol="0">
            <a:spAutoFit/>
          </a:bodyPr>
          <a:lstStyle/>
          <a:p>
            <a:pPr algn="ctr"/>
            <a:r>
              <a:rPr lang="en-US" sz="1100">
                <a:solidFill>
                  <a:srgbClr val="494949"/>
                </a:solidFill>
              </a:rPr>
              <a:t>Man</a:t>
            </a:r>
          </a:p>
        </p:txBody>
      </p:sp>
      <p:sp>
        <p:nvSpPr>
          <p:cNvPr id="314" name="ZoneTexte 313"/>
          <p:cNvSpPr txBox="1"/>
          <p:nvPr/>
        </p:nvSpPr>
        <p:spPr>
          <a:xfrm>
            <a:off x="6660346" y="5908738"/>
            <a:ext cx="942271" cy="254067"/>
          </a:xfrm>
          <a:prstGeom prst="rect">
            <a:avLst/>
          </a:prstGeom>
          <a:noFill/>
        </p:spPr>
        <p:txBody>
          <a:bodyPr wrap="square" lIns="83969" tIns="41985" rIns="83969" bIns="41985" rtlCol="0">
            <a:spAutoFit/>
          </a:bodyPr>
          <a:lstStyle/>
          <a:p>
            <a:pPr algn="ctr"/>
            <a:r>
              <a:rPr lang="en-US" sz="1100">
                <a:solidFill>
                  <a:srgbClr val="494949"/>
                </a:solidFill>
              </a:rPr>
              <a:t>Speaking</a:t>
            </a:r>
          </a:p>
        </p:txBody>
      </p:sp>
      <p:sp>
        <p:nvSpPr>
          <p:cNvPr id="315" name="ZoneTexte 314"/>
          <p:cNvSpPr txBox="1"/>
          <p:nvPr/>
        </p:nvSpPr>
        <p:spPr>
          <a:xfrm>
            <a:off x="7544557" y="5908738"/>
            <a:ext cx="738723" cy="254067"/>
          </a:xfrm>
          <a:prstGeom prst="rect">
            <a:avLst/>
          </a:prstGeom>
          <a:noFill/>
        </p:spPr>
        <p:txBody>
          <a:bodyPr wrap="square" lIns="83969" tIns="41985" rIns="83969" bIns="41985" rtlCol="0">
            <a:spAutoFit/>
          </a:bodyPr>
          <a:lstStyle/>
          <a:p>
            <a:pPr algn="ctr"/>
            <a:r>
              <a:rPr lang="en-US" sz="1100">
                <a:solidFill>
                  <a:srgbClr val="494949"/>
                </a:solidFill>
              </a:rPr>
              <a:t>People 1</a:t>
            </a:r>
          </a:p>
        </p:txBody>
      </p:sp>
      <p:sp>
        <p:nvSpPr>
          <p:cNvPr id="316" name="ZoneTexte 315"/>
          <p:cNvSpPr txBox="1"/>
          <p:nvPr/>
        </p:nvSpPr>
        <p:spPr>
          <a:xfrm>
            <a:off x="8305478" y="5908738"/>
            <a:ext cx="738723" cy="254067"/>
          </a:xfrm>
          <a:prstGeom prst="rect">
            <a:avLst/>
          </a:prstGeom>
          <a:noFill/>
        </p:spPr>
        <p:txBody>
          <a:bodyPr wrap="square" lIns="83969" tIns="41985" rIns="83969" bIns="41985" rtlCol="0">
            <a:spAutoFit/>
          </a:bodyPr>
          <a:lstStyle/>
          <a:p>
            <a:pPr algn="ctr"/>
            <a:r>
              <a:rPr lang="en-US" sz="1100">
                <a:solidFill>
                  <a:srgbClr val="494949"/>
                </a:solidFill>
              </a:rPr>
              <a:t>People 2</a:t>
            </a:r>
          </a:p>
        </p:txBody>
      </p:sp>
      <p:sp>
        <p:nvSpPr>
          <p:cNvPr id="317" name="ZoneTexte 316"/>
          <p:cNvSpPr txBox="1"/>
          <p:nvPr/>
        </p:nvSpPr>
        <p:spPr>
          <a:xfrm>
            <a:off x="9131080" y="5908738"/>
            <a:ext cx="738723" cy="254067"/>
          </a:xfrm>
          <a:prstGeom prst="rect">
            <a:avLst/>
          </a:prstGeom>
          <a:noFill/>
        </p:spPr>
        <p:txBody>
          <a:bodyPr wrap="square" lIns="83969" tIns="41985" rIns="83969" bIns="41985" rtlCol="0">
            <a:spAutoFit/>
          </a:bodyPr>
          <a:lstStyle/>
          <a:p>
            <a:pPr algn="ctr"/>
            <a:r>
              <a:rPr lang="en-US" sz="1100">
                <a:solidFill>
                  <a:srgbClr val="494949"/>
                </a:solidFill>
              </a:rPr>
              <a:t>People 3</a:t>
            </a:r>
          </a:p>
        </p:txBody>
      </p:sp>
      <p:sp>
        <p:nvSpPr>
          <p:cNvPr id="327" name="ZoneTexte 326"/>
          <p:cNvSpPr txBox="1"/>
          <p:nvPr/>
        </p:nvSpPr>
        <p:spPr>
          <a:xfrm>
            <a:off x="5842111" y="5917376"/>
            <a:ext cx="925445" cy="423344"/>
          </a:xfrm>
          <a:prstGeom prst="rect">
            <a:avLst/>
          </a:prstGeom>
          <a:noFill/>
        </p:spPr>
        <p:txBody>
          <a:bodyPr wrap="square" lIns="83969" tIns="41985" rIns="83969" bIns="41985" rtlCol="0">
            <a:spAutoFit/>
          </a:bodyPr>
          <a:lstStyle/>
          <a:p>
            <a:pPr algn="ctr"/>
            <a:r>
              <a:rPr lang="en-US" sz="1100">
                <a:solidFill>
                  <a:srgbClr val="494949"/>
                </a:solidFill>
              </a:rPr>
              <a:t>Connecting people</a:t>
            </a:r>
          </a:p>
        </p:txBody>
      </p:sp>
      <p:sp>
        <p:nvSpPr>
          <p:cNvPr id="324" name="Freeform 599"/>
          <p:cNvSpPr>
            <a:spLocks noChangeAspect="1" noEditPoints="1"/>
          </p:cNvSpPr>
          <p:nvPr/>
        </p:nvSpPr>
        <p:spPr bwMode="auto">
          <a:xfrm>
            <a:off x="1686104" y="1633359"/>
            <a:ext cx="347412" cy="540000"/>
          </a:xfrm>
          <a:custGeom>
            <a:avLst/>
            <a:gdLst/>
            <a:ahLst/>
            <a:cxnLst>
              <a:cxn ang="0">
                <a:pos x="57" y="97"/>
              </a:cxn>
              <a:cxn ang="0">
                <a:pos x="109" y="133"/>
              </a:cxn>
              <a:cxn ang="0">
                <a:pos x="57" y="170"/>
              </a:cxn>
              <a:cxn ang="0">
                <a:pos x="57" y="149"/>
              </a:cxn>
              <a:cxn ang="0">
                <a:pos x="37" y="149"/>
              </a:cxn>
              <a:cxn ang="0">
                <a:pos x="0" y="115"/>
              </a:cxn>
              <a:cxn ang="0">
                <a:pos x="22" y="78"/>
              </a:cxn>
              <a:cxn ang="0">
                <a:pos x="21" y="104"/>
              </a:cxn>
              <a:cxn ang="0">
                <a:pos x="40" y="118"/>
              </a:cxn>
              <a:cxn ang="0">
                <a:pos x="57" y="118"/>
              </a:cxn>
              <a:cxn ang="0">
                <a:pos x="52" y="73"/>
              </a:cxn>
              <a:cxn ang="0">
                <a:pos x="0" y="37"/>
              </a:cxn>
              <a:cxn ang="0">
                <a:pos x="52" y="0"/>
              </a:cxn>
              <a:cxn ang="0">
                <a:pos x="52" y="21"/>
              </a:cxn>
              <a:cxn ang="0">
                <a:pos x="72" y="21"/>
              </a:cxn>
              <a:cxn ang="0">
                <a:pos x="109" y="55"/>
              </a:cxn>
              <a:cxn ang="0">
                <a:pos x="87" y="92"/>
              </a:cxn>
              <a:cxn ang="0">
                <a:pos x="88" y="66"/>
              </a:cxn>
              <a:cxn ang="0">
                <a:pos x="69" y="52"/>
              </a:cxn>
              <a:cxn ang="0">
                <a:pos x="52" y="52"/>
              </a:cxn>
            </a:cxnLst>
            <a:rect l="0" t="0" r="r" b="b"/>
            <a:pathLst>
              <a:path w="109" h="170">
                <a:moveTo>
                  <a:pt x="57" y="97"/>
                </a:moveTo>
                <a:cubicBezTo>
                  <a:pt x="109" y="133"/>
                  <a:pt x="109" y="133"/>
                  <a:pt x="109" y="133"/>
                </a:cubicBezTo>
                <a:cubicBezTo>
                  <a:pt x="57" y="170"/>
                  <a:pt x="57" y="170"/>
                  <a:pt x="57" y="170"/>
                </a:cubicBezTo>
                <a:cubicBezTo>
                  <a:pt x="57" y="149"/>
                  <a:pt x="57" y="149"/>
                  <a:pt x="57" y="149"/>
                </a:cubicBezTo>
                <a:cubicBezTo>
                  <a:pt x="57" y="149"/>
                  <a:pt x="48" y="149"/>
                  <a:pt x="37" y="149"/>
                </a:cubicBezTo>
                <a:cubicBezTo>
                  <a:pt x="24" y="149"/>
                  <a:pt x="0" y="138"/>
                  <a:pt x="0" y="115"/>
                </a:cubicBezTo>
                <a:cubicBezTo>
                  <a:pt x="0" y="98"/>
                  <a:pt x="14" y="81"/>
                  <a:pt x="22" y="78"/>
                </a:cubicBezTo>
                <a:cubicBezTo>
                  <a:pt x="22" y="78"/>
                  <a:pt x="20" y="100"/>
                  <a:pt x="21" y="104"/>
                </a:cubicBezTo>
                <a:cubicBezTo>
                  <a:pt x="22" y="106"/>
                  <a:pt x="23" y="117"/>
                  <a:pt x="40" y="118"/>
                </a:cubicBezTo>
                <a:cubicBezTo>
                  <a:pt x="57" y="118"/>
                  <a:pt x="57" y="118"/>
                  <a:pt x="57" y="118"/>
                </a:cubicBezTo>
                <a:moveTo>
                  <a:pt x="52" y="73"/>
                </a:moveTo>
                <a:cubicBezTo>
                  <a:pt x="0" y="37"/>
                  <a:pt x="0" y="37"/>
                  <a:pt x="0" y="37"/>
                </a:cubicBezTo>
                <a:cubicBezTo>
                  <a:pt x="52" y="0"/>
                  <a:pt x="52" y="0"/>
                  <a:pt x="52" y="0"/>
                </a:cubicBezTo>
                <a:cubicBezTo>
                  <a:pt x="52" y="21"/>
                  <a:pt x="52" y="21"/>
                  <a:pt x="52" y="21"/>
                </a:cubicBezTo>
                <a:cubicBezTo>
                  <a:pt x="52" y="21"/>
                  <a:pt x="61" y="21"/>
                  <a:pt x="72" y="21"/>
                </a:cubicBezTo>
                <a:cubicBezTo>
                  <a:pt x="85" y="21"/>
                  <a:pt x="109" y="32"/>
                  <a:pt x="109" y="55"/>
                </a:cubicBezTo>
                <a:cubicBezTo>
                  <a:pt x="109" y="72"/>
                  <a:pt x="95" y="89"/>
                  <a:pt x="87" y="92"/>
                </a:cubicBezTo>
                <a:cubicBezTo>
                  <a:pt x="87" y="92"/>
                  <a:pt x="89" y="70"/>
                  <a:pt x="88" y="66"/>
                </a:cubicBezTo>
                <a:cubicBezTo>
                  <a:pt x="87" y="64"/>
                  <a:pt x="86" y="53"/>
                  <a:pt x="69" y="52"/>
                </a:cubicBezTo>
                <a:cubicBezTo>
                  <a:pt x="52" y="52"/>
                  <a:pt x="52" y="52"/>
                  <a:pt x="52" y="5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601"/>
          <p:cNvSpPr>
            <a:spLocks noChangeAspect="1" noEditPoints="1"/>
          </p:cNvSpPr>
          <p:nvPr/>
        </p:nvSpPr>
        <p:spPr bwMode="auto">
          <a:xfrm>
            <a:off x="2328089" y="1733220"/>
            <a:ext cx="540000" cy="400104"/>
          </a:xfrm>
          <a:custGeom>
            <a:avLst/>
            <a:gdLst/>
            <a:ahLst/>
            <a:cxnLst>
              <a:cxn ang="0">
                <a:pos x="191" y="80"/>
              </a:cxn>
              <a:cxn ang="0">
                <a:pos x="193" y="90"/>
              </a:cxn>
              <a:cxn ang="0">
                <a:pos x="188" y="98"/>
              </a:cxn>
              <a:cxn ang="0">
                <a:pos x="179" y="104"/>
              </a:cxn>
              <a:cxn ang="0">
                <a:pos x="168" y="107"/>
              </a:cxn>
              <a:cxn ang="0">
                <a:pos x="154" y="107"/>
              </a:cxn>
              <a:cxn ang="0">
                <a:pos x="144" y="104"/>
              </a:cxn>
              <a:cxn ang="0">
                <a:pos x="134" y="98"/>
              </a:cxn>
              <a:cxn ang="0">
                <a:pos x="131" y="90"/>
              </a:cxn>
              <a:cxn ang="0">
                <a:pos x="131" y="79"/>
              </a:cxn>
              <a:cxn ang="0">
                <a:pos x="141" y="52"/>
              </a:cxn>
              <a:cxn ang="0">
                <a:pos x="150" y="11"/>
              </a:cxn>
              <a:cxn ang="0">
                <a:pos x="133" y="5"/>
              </a:cxn>
              <a:cxn ang="0">
                <a:pos x="115" y="5"/>
              </a:cxn>
              <a:cxn ang="0">
                <a:pos x="104" y="3"/>
              </a:cxn>
              <a:cxn ang="0">
                <a:pos x="97" y="0"/>
              </a:cxn>
              <a:cxn ang="0">
                <a:pos x="88" y="0"/>
              </a:cxn>
              <a:cxn ang="0">
                <a:pos x="82" y="3"/>
              </a:cxn>
              <a:cxn ang="0">
                <a:pos x="71" y="5"/>
              </a:cxn>
              <a:cxn ang="0">
                <a:pos x="53" y="5"/>
              </a:cxn>
              <a:cxn ang="0">
                <a:pos x="36" y="11"/>
              </a:cxn>
              <a:cxn ang="0">
                <a:pos x="14" y="52"/>
              </a:cxn>
              <a:cxn ang="0">
                <a:pos x="2" y="79"/>
              </a:cxn>
              <a:cxn ang="0">
                <a:pos x="2" y="90"/>
              </a:cxn>
              <a:cxn ang="0">
                <a:pos x="6" y="98"/>
              </a:cxn>
              <a:cxn ang="0">
                <a:pos x="14" y="104"/>
              </a:cxn>
              <a:cxn ang="0">
                <a:pos x="26" y="107"/>
              </a:cxn>
              <a:cxn ang="0">
                <a:pos x="39" y="107"/>
              </a:cxn>
              <a:cxn ang="0">
                <a:pos x="51" y="104"/>
              </a:cxn>
              <a:cxn ang="0">
                <a:pos x="59" y="98"/>
              </a:cxn>
              <a:cxn ang="0">
                <a:pos x="63" y="90"/>
              </a:cxn>
              <a:cxn ang="0">
                <a:pos x="63" y="80"/>
              </a:cxn>
              <a:cxn ang="0">
                <a:pos x="78" y="20"/>
              </a:cxn>
              <a:cxn ang="0">
                <a:pos x="79" y="24"/>
              </a:cxn>
              <a:cxn ang="0">
                <a:pos x="83" y="30"/>
              </a:cxn>
              <a:cxn ang="0">
                <a:pos x="86" y="109"/>
              </a:cxn>
              <a:cxn ang="0">
                <a:pos x="77" y="115"/>
              </a:cxn>
              <a:cxn ang="0">
                <a:pos x="74" y="123"/>
              </a:cxn>
              <a:cxn ang="0">
                <a:pos x="51" y="125"/>
              </a:cxn>
              <a:cxn ang="0">
                <a:pos x="136" y="143"/>
              </a:cxn>
            </a:cxnLst>
            <a:rect l="0" t="0" r="r" b="b"/>
            <a:pathLst>
              <a:path w="193" h="143">
                <a:moveTo>
                  <a:pt x="148" y="80"/>
                </a:moveTo>
                <a:lnTo>
                  <a:pt x="191" y="80"/>
                </a:lnTo>
                <a:lnTo>
                  <a:pt x="193" y="86"/>
                </a:lnTo>
                <a:lnTo>
                  <a:pt x="193" y="90"/>
                </a:lnTo>
                <a:lnTo>
                  <a:pt x="190" y="94"/>
                </a:lnTo>
                <a:lnTo>
                  <a:pt x="188" y="98"/>
                </a:lnTo>
                <a:lnTo>
                  <a:pt x="183" y="101"/>
                </a:lnTo>
                <a:lnTo>
                  <a:pt x="179" y="104"/>
                </a:lnTo>
                <a:lnTo>
                  <a:pt x="173" y="106"/>
                </a:lnTo>
                <a:lnTo>
                  <a:pt x="168" y="107"/>
                </a:lnTo>
                <a:lnTo>
                  <a:pt x="162" y="108"/>
                </a:lnTo>
                <a:lnTo>
                  <a:pt x="154" y="107"/>
                </a:lnTo>
                <a:lnTo>
                  <a:pt x="148" y="106"/>
                </a:lnTo>
                <a:lnTo>
                  <a:pt x="144" y="104"/>
                </a:lnTo>
                <a:lnTo>
                  <a:pt x="139" y="101"/>
                </a:lnTo>
                <a:lnTo>
                  <a:pt x="134" y="98"/>
                </a:lnTo>
                <a:lnTo>
                  <a:pt x="131" y="94"/>
                </a:lnTo>
                <a:lnTo>
                  <a:pt x="131" y="90"/>
                </a:lnTo>
                <a:lnTo>
                  <a:pt x="130" y="86"/>
                </a:lnTo>
                <a:lnTo>
                  <a:pt x="131" y="79"/>
                </a:lnTo>
                <a:lnTo>
                  <a:pt x="133" y="72"/>
                </a:lnTo>
                <a:lnTo>
                  <a:pt x="141" y="52"/>
                </a:lnTo>
                <a:lnTo>
                  <a:pt x="157" y="18"/>
                </a:lnTo>
                <a:lnTo>
                  <a:pt x="150" y="11"/>
                </a:lnTo>
                <a:lnTo>
                  <a:pt x="141" y="8"/>
                </a:lnTo>
                <a:lnTo>
                  <a:pt x="133" y="5"/>
                </a:lnTo>
                <a:lnTo>
                  <a:pt x="123" y="5"/>
                </a:lnTo>
                <a:lnTo>
                  <a:pt x="115" y="5"/>
                </a:lnTo>
                <a:lnTo>
                  <a:pt x="107" y="7"/>
                </a:lnTo>
                <a:lnTo>
                  <a:pt x="104" y="3"/>
                </a:lnTo>
                <a:lnTo>
                  <a:pt x="100" y="1"/>
                </a:lnTo>
                <a:lnTo>
                  <a:pt x="97" y="0"/>
                </a:lnTo>
                <a:lnTo>
                  <a:pt x="94" y="0"/>
                </a:lnTo>
                <a:lnTo>
                  <a:pt x="88" y="0"/>
                </a:lnTo>
                <a:lnTo>
                  <a:pt x="85" y="1"/>
                </a:lnTo>
                <a:lnTo>
                  <a:pt x="82" y="3"/>
                </a:lnTo>
                <a:lnTo>
                  <a:pt x="79" y="7"/>
                </a:lnTo>
                <a:lnTo>
                  <a:pt x="71" y="5"/>
                </a:lnTo>
                <a:lnTo>
                  <a:pt x="62" y="5"/>
                </a:lnTo>
                <a:lnTo>
                  <a:pt x="53" y="5"/>
                </a:lnTo>
                <a:lnTo>
                  <a:pt x="45" y="8"/>
                </a:lnTo>
                <a:lnTo>
                  <a:pt x="36" y="11"/>
                </a:lnTo>
                <a:lnTo>
                  <a:pt x="29" y="18"/>
                </a:lnTo>
                <a:lnTo>
                  <a:pt x="14" y="52"/>
                </a:lnTo>
                <a:lnTo>
                  <a:pt x="5" y="72"/>
                </a:lnTo>
                <a:lnTo>
                  <a:pt x="2" y="79"/>
                </a:lnTo>
                <a:lnTo>
                  <a:pt x="0" y="86"/>
                </a:lnTo>
                <a:lnTo>
                  <a:pt x="2" y="90"/>
                </a:lnTo>
                <a:lnTo>
                  <a:pt x="3" y="94"/>
                </a:lnTo>
                <a:lnTo>
                  <a:pt x="6" y="98"/>
                </a:lnTo>
                <a:lnTo>
                  <a:pt x="9" y="101"/>
                </a:lnTo>
                <a:lnTo>
                  <a:pt x="14" y="104"/>
                </a:lnTo>
                <a:lnTo>
                  <a:pt x="20" y="106"/>
                </a:lnTo>
                <a:lnTo>
                  <a:pt x="26" y="107"/>
                </a:lnTo>
                <a:lnTo>
                  <a:pt x="32" y="108"/>
                </a:lnTo>
                <a:lnTo>
                  <a:pt x="39" y="107"/>
                </a:lnTo>
                <a:lnTo>
                  <a:pt x="45" y="106"/>
                </a:lnTo>
                <a:lnTo>
                  <a:pt x="51" y="104"/>
                </a:lnTo>
                <a:lnTo>
                  <a:pt x="55" y="101"/>
                </a:lnTo>
                <a:lnTo>
                  <a:pt x="59" y="98"/>
                </a:lnTo>
                <a:lnTo>
                  <a:pt x="62" y="94"/>
                </a:lnTo>
                <a:lnTo>
                  <a:pt x="63" y="90"/>
                </a:lnTo>
                <a:lnTo>
                  <a:pt x="63" y="86"/>
                </a:lnTo>
                <a:lnTo>
                  <a:pt x="63" y="80"/>
                </a:lnTo>
                <a:lnTo>
                  <a:pt x="20" y="80"/>
                </a:lnTo>
                <a:moveTo>
                  <a:pt x="78" y="20"/>
                </a:moveTo>
                <a:lnTo>
                  <a:pt x="78" y="20"/>
                </a:lnTo>
                <a:lnTo>
                  <a:pt x="79" y="24"/>
                </a:lnTo>
                <a:lnTo>
                  <a:pt x="80" y="27"/>
                </a:lnTo>
                <a:lnTo>
                  <a:pt x="83" y="30"/>
                </a:lnTo>
                <a:lnTo>
                  <a:pt x="86" y="31"/>
                </a:lnTo>
                <a:lnTo>
                  <a:pt x="86" y="109"/>
                </a:lnTo>
                <a:lnTo>
                  <a:pt x="82" y="112"/>
                </a:lnTo>
                <a:lnTo>
                  <a:pt x="77" y="115"/>
                </a:lnTo>
                <a:lnTo>
                  <a:pt x="74" y="119"/>
                </a:lnTo>
                <a:lnTo>
                  <a:pt x="74" y="123"/>
                </a:lnTo>
                <a:lnTo>
                  <a:pt x="74" y="125"/>
                </a:lnTo>
                <a:lnTo>
                  <a:pt x="51" y="125"/>
                </a:lnTo>
                <a:lnTo>
                  <a:pt x="51" y="143"/>
                </a:lnTo>
                <a:lnTo>
                  <a:pt x="136" y="143"/>
                </a:ln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674"/>
          <p:cNvSpPr>
            <a:spLocks noChangeAspect="1"/>
          </p:cNvSpPr>
          <p:nvPr/>
        </p:nvSpPr>
        <p:spPr bwMode="auto">
          <a:xfrm>
            <a:off x="7710449" y="1809135"/>
            <a:ext cx="360000" cy="360000"/>
          </a:xfrm>
          <a:custGeom>
            <a:avLst/>
            <a:gdLst/>
            <a:ahLst/>
            <a:cxnLst>
              <a:cxn ang="0">
                <a:pos x="81" y="84"/>
              </a:cxn>
              <a:cxn ang="0">
                <a:pos x="102" y="68"/>
              </a:cxn>
              <a:cxn ang="0">
                <a:pos x="110" y="68"/>
              </a:cxn>
              <a:cxn ang="0">
                <a:pos x="116" y="68"/>
              </a:cxn>
              <a:cxn ang="0">
                <a:pos x="123" y="66"/>
              </a:cxn>
              <a:cxn ang="0">
                <a:pos x="128" y="63"/>
              </a:cxn>
              <a:cxn ang="0">
                <a:pos x="134" y="59"/>
              </a:cxn>
              <a:cxn ang="0">
                <a:pos x="138" y="53"/>
              </a:cxn>
              <a:cxn ang="0">
                <a:pos x="140" y="48"/>
              </a:cxn>
              <a:cxn ang="0">
                <a:pos x="143" y="41"/>
              </a:cxn>
              <a:cxn ang="0">
                <a:pos x="143" y="35"/>
              </a:cxn>
              <a:cxn ang="0">
                <a:pos x="143" y="30"/>
              </a:cxn>
              <a:cxn ang="0">
                <a:pos x="111" y="48"/>
              </a:cxn>
              <a:cxn ang="0">
                <a:pos x="99" y="25"/>
              </a:cxn>
              <a:cxn ang="0">
                <a:pos x="131" y="8"/>
              </a:cxn>
              <a:cxn ang="0">
                <a:pos x="127" y="5"/>
              </a:cxn>
              <a:cxn ang="0">
                <a:pos x="122" y="3"/>
              </a:cxn>
              <a:cxn ang="0">
                <a:pos x="115" y="1"/>
              </a:cxn>
              <a:cxn ang="0">
                <a:pos x="110" y="0"/>
              </a:cxn>
              <a:cxn ang="0">
                <a:pos x="103" y="1"/>
              </a:cxn>
              <a:cxn ang="0">
                <a:pos x="96" y="3"/>
              </a:cxn>
              <a:cxn ang="0">
                <a:pos x="90" y="7"/>
              </a:cxn>
              <a:cxn ang="0">
                <a:pos x="86" y="11"/>
              </a:cxn>
              <a:cxn ang="0">
                <a:pos x="80" y="16"/>
              </a:cxn>
              <a:cxn ang="0">
                <a:pos x="77" y="21"/>
              </a:cxn>
              <a:cxn ang="0">
                <a:pos x="76" y="28"/>
              </a:cxn>
              <a:cxn ang="0">
                <a:pos x="75" y="35"/>
              </a:cxn>
              <a:cxn ang="0">
                <a:pos x="76" y="43"/>
              </a:cxn>
              <a:cxn ang="0">
                <a:pos x="79" y="50"/>
              </a:cxn>
              <a:cxn ang="0">
                <a:pos x="45" y="78"/>
              </a:cxn>
              <a:cxn ang="0">
                <a:pos x="40" y="76"/>
              </a:cxn>
              <a:cxn ang="0">
                <a:pos x="35" y="75"/>
              </a:cxn>
              <a:cxn ang="0">
                <a:pos x="28" y="76"/>
              </a:cxn>
              <a:cxn ang="0">
                <a:pos x="22" y="78"/>
              </a:cxn>
              <a:cxn ang="0">
                <a:pos x="15" y="82"/>
              </a:cxn>
              <a:cxn ang="0">
                <a:pos x="11" y="86"/>
              </a:cxn>
              <a:cxn ang="0">
                <a:pos x="6" y="89"/>
              </a:cxn>
              <a:cxn ang="0">
                <a:pos x="2" y="96"/>
              </a:cxn>
              <a:cxn ang="0">
                <a:pos x="1" y="103"/>
              </a:cxn>
              <a:cxn ang="0">
                <a:pos x="0" y="110"/>
              </a:cxn>
              <a:cxn ang="0">
                <a:pos x="0" y="111"/>
              </a:cxn>
              <a:cxn ang="0">
                <a:pos x="35" y="94"/>
              </a:cxn>
              <a:cxn ang="0">
                <a:pos x="45" y="116"/>
              </a:cxn>
              <a:cxn ang="0">
                <a:pos x="11" y="135"/>
              </a:cxn>
              <a:cxn ang="0">
                <a:pos x="16" y="138"/>
              </a:cxn>
              <a:cxn ang="0">
                <a:pos x="22" y="142"/>
              </a:cxn>
              <a:cxn ang="0">
                <a:pos x="28" y="143"/>
              </a:cxn>
              <a:cxn ang="0">
                <a:pos x="35" y="143"/>
              </a:cxn>
              <a:cxn ang="0">
                <a:pos x="41" y="143"/>
              </a:cxn>
              <a:cxn ang="0">
                <a:pos x="48" y="141"/>
              </a:cxn>
              <a:cxn ang="0">
                <a:pos x="54" y="138"/>
              </a:cxn>
              <a:cxn ang="0">
                <a:pos x="59" y="134"/>
              </a:cxn>
              <a:cxn ang="0">
                <a:pos x="63" y="128"/>
              </a:cxn>
              <a:cxn ang="0">
                <a:pos x="65" y="123"/>
              </a:cxn>
              <a:cxn ang="0">
                <a:pos x="68" y="116"/>
              </a:cxn>
              <a:cxn ang="0">
                <a:pos x="68" y="110"/>
              </a:cxn>
              <a:cxn ang="0">
                <a:pos x="68" y="103"/>
              </a:cxn>
              <a:cxn ang="0">
                <a:pos x="67" y="98"/>
              </a:cxn>
            </a:cxnLst>
            <a:rect l="0" t="0" r="r" b="b"/>
            <a:pathLst>
              <a:path w="143" h="143">
                <a:moveTo>
                  <a:pt x="81" y="84"/>
                </a:moveTo>
                <a:lnTo>
                  <a:pt x="102" y="68"/>
                </a:lnTo>
                <a:lnTo>
                  <a:pt x="110" y="68"/>
                </a:lnTo>
                <a:lnTo>
                  <a:pt x="116" y="68"/>
                </a:lnTo>
                <a:lnTo>
                  <a:pt x="123" y="66"/>
                </a:lnTo>
                <a:lnTo>
                  <a:pt x="128" y="63"/>
                </a:lnTo>
                <a:lnTo>
                  <a:pt x="134" y="59"/>
                </a:lnTo>
                <a:lnTo>
                  <a:pt x="138" y="53"/>
                </a:lnTo>
                <a:lnTo>
                  <a:pt x="140" y="48"/>
                </a:lnTo>
                <a:lnTo>
                  <a:pt x="143" y="41"/>
                </a:lnTo>
                <a:lnTo>
                  <a:pt x="143" y="35"/>
                </a:lnTo>
                <a:lnTo>
                  <a:pt x="143" y="30"/>
                </a:lnTo>
                <a:lnTo>
                  <a:pt x="111" y="48"/>
                </a:lnTo>
                <a:lnTo>
                  <a:pt x="99" y="25"/>
                </a:lnTo>
                <a:lnTo>
                  <a:pt x="131" y="8"/>
                </a:lnTo>
                <a:lnTo>
                  <a:pt x="127" y="5"/>
                </a:lnTo>
                <a:lnTo>
                  <a:pt x="122" y="3"/>
                </a:lnTo>
                <a:lnTo>
                  <a:pt x="115" y="1"/>
                </a:lnTo>
                <a:lnTo>
                  <a:pt x="110" y="0"/>
                </a:lnTo>
                <a:lnTo>
                  <a:pt x="103" y="1"/>
                </a:lnTo>
                <a:lnTo>
                  <a:pt x="96" y="3"/>
                </a:lnTo>
                <a:lnTo>
                  <a:pt x="90" y="7"/>
                </a:lnTo>
                <a:lnTo>
                  <a:pt x="86" y="11"/>
                </a:lnTo>
                <a:lnTo>
                  <a:pt x="80" y="16"/>
                </a:lnTo>
                <a:lnTo>
                  <a:pt x="77" y="21"/>
                </a:lnTo>
                <a:lnTo>
                  <a:pt x="76" y="28"/>
                </a:lnTo>
                <a:lnTo>
                  <a:pt x="75" y="35"/>
                </a:lnTo>
                <a:lnTo>
                  <a:pt x="76" y="43"/>
                </a:lnTo>
                <a:lnTo>
                  <a:pt x="79" y="50"/>
                </a:lnTo>
                <a:lnTo>
                  <a:pt x="45" y="78"/>
                </a:lnTo>
                <a:lnTo>
                  <a:pt x="40" y="76"/>
                </a:lnTo>
                <a:lnTo>
                  <a:pt x="35" y="75"/>
                </a:lnTo>
                <a:lnTo>
                  <a:pt x="28" y="76"/>
                </a:lnTo>
                <a:lnTo>
                  <a:pt x="22" y="78"/>
                </a:lnTo>
                <a:lnTo>
                  <a:pt x="15" y="82"/>
                </a:lnTo>
                <a:lnTo>
                  <a:pt x="11" y="86"/>
                </a:lnTo>
                <a:lnTo>
                  <a:pt x="6" y="89"/>
                </a:lnTo>
                <a:lnTo>
                  <a:pt x="2" y="96"/>
                </a:lnTo>
                <a:lnTo>
                  <a:pt x="1" y="103"/>
                </a:lnTo>
                <a:lnTo>
                  <a:pt x="0" y="110"/>
                </a:lnTo>
                <a:lnTo>
                  <a:pt x="0" y="111"/>
                </a:lnTo>
                <a:lnTo>
                  <a:pt x="35" y="94"/>
                </a:lnTo>
                <a:lnTo>
                  <a:pt x="45" y="116"/>
                </a:lnTo>
                <a:lnTo>
                  <a:pt x="11" y="135"/>
                </a:lnTo>
                <a:lnTo>
                  <a:pt x="16" y="138"/>
                </a:lnTo>
                <a:lnTo>
                  <a:pt x="22" y="142"/>
                </a:lnTo>
                <a:lnTo>
                  <a:pt x="28" y="143"/>
                </a:lnTo>
                <a:lnTo>
                  <a:pt x="35" y="143"/>
                </a:lnTo>
                <a:lnTo>
                  <a:pt x="41" y="143"/>
                </a:lnTo>
                <a:lnTo>
                  <a:pt x="48" y="141"/>
                </a:lnTo>
                <a:lnTo>
                  <a:pt x="54" y="138"/>
                </a:lnTo>
                <a:lnTo>
                  <a:pt x="59" y="134"/>
                </a:lnTo>
                <a:lnTo>
                  <a:pt x="63" y="128"/>
                </a:lnTo>
                <a:lnTo>
                  <a:pt x="65" y="123"/>
                </a:lnTo>
                <a:lnTo>
                  <a:pt x="68" y="116"/>
                </a:lnTo>
                <a:lnTo>
                  <a:pt x="68" y="110"/>
                </a:lnTo>
                <a:lnTo>
                  <a:pt x="68" y="103"/>
                </a:lnTo>
                <a:lnTo>
                  <a:pt x="67" y="98"/>
                </a:ln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678"/>
          <p:cNvSpPr>
            <a:spLocks noChangeAspect="1"/>
          </p:cNvSpPr>
          <p:nvPr/>
        </p:nvSpPr>
        <p:spPr bwMode="auto">
          <a:xfrm>
            <a:off x="3154631" y="1633639"/>
            <a:ext cx="540000" cy="521878"/>
          </a:xfrm>
          <a:custGeom>
            <a:avLst/>
            <a:gdLst/>
            <a:ahLst/>
            <a:cxnLst>
              <a:cxn ang="0">
                <a:pos x="111" y="91"/>
              </a:cxn>
              <a:cxn ang="0">
                <a:pos x="141" y="69"/>
              </a:cxn>
              <a:cxn ang="0">
                <a:pos x="144" y="64"/>
              </a:cxn>
              <a:cxn ang="0">
                <a:pos x="148" y="61"/>
              </a:cxn>
              <a:cxn ang="0">
                <a:pos x="149" y="58"/>
              </a:cxn>
              <a:cxn ang="0">
                <a:pos x="149" y="54"/>
              </a:cxn>
              <a:cxn ang="0">
                <a:pos x="147" y="52"/>
              </a:cxn>
              <a:cxn ang="0">
                <a:pos x="144" y="51"/>
              </a:cxn>
              <a:cxn ang="0">
                <a:pos x="139" y="49"/>
              </a:cxn>
              <a:cxn ang="0">
                <a:pos x="134" y="48"/>
              </a:cxn>
              <a:cxn ang="0">
                <a:pos x="96" y="48"/>
              </a:cxn>
              <a:cxn ang="0">
                <a:pos x="84" y="12"/>
              </a:cxn>
              <a:cxn ang="0">
                <a:pos x="83" y="8"/>
              </a:cxn>
              <a:cxn ang="0">
                <a:pos x="80" y="3"/>
              </a:cxn>
              <a:cxn ang="0">
                <a:pos x="77" y="2"/>
              </a:cxn>
              <a:cxn ang="0">
                <a:pos x="75" y="0"/>
              </a:cxn>
              <a:cxn ang="0">
                <a:pos x="71" y="2"/>
              </a:cxn>
              <a:cxn ang="0">
                <a:pos x="69" y="3"/>
              </a:cxn>
              <a:cxn ang="0">
                <a:pos x="67" y="8"/>
              </a:cxn>
              <a:cxn ang="0">
                <a:pos x="64" y="12"/>
              </a:cxn>
              <a:cxn ang="0">
                <a:pos x="53" y="48"/>
              </a:cxn>
              <a:cxn ang="0">
                <a:pos x="14" y="48"/>
              </a:cxn>
              <a:cxn ang="0">
                <a:pos x="9" y="49"/>
              </a:cxn>
              <a:cxn ang="0">
                <a:pos x="4" y="51"/>
              </a:cxn>
              <a:cxn ang="0">
                <a:pos x="1" y="52"/>
              </a:cxn>
              <a:cxn ang="0">
                <a:pos x="0" y="54"/>
              </a:cxn>
              <a:cxn ang="0">
                <a:pos x="0" y="58"/>
              </a:cxn>
              <a:cxn ang="0">
                <a:pos x="1" y="61"/>
              </a:cxn>
              <a:cxn ang="0">
                <a:pos x="4" y="64"/>
              </a:cxn>
              <a:cxn ang="0">
                <a:pos x="9" y="69"/>
              </a:cxn>
              <a:cxn ang="0">
                <a:pos x="38" y="91"/>
              </a:cxn>
              <a:cxn ang="0">
                <a:pos x="27" y="127"/>
              </a:cxn>
              <a:cxn ang="0">
                <a:pos x="26" y="133"/>
              </a:cxn>
              <a:cxn ang="0">
                <a:pos x="26" y="137"/>
              </a:cxn>
              <a:cxn ang="0">
                <a:pos x="27" y="140"/>
              </a:cxn>
              <a:cxn ang="0">
                <a:pos x="28" y="143"/>
              </a:cxn>
              <a:cxn ang="0">
                <a:pos x="31" y="144"/>
              </a:cxn>
              <a:cxn ang="0">
                <a:pos x="34" y="143"/>
              </a:cxn>
              <a:cxn ang="0">
                <a:pos x="38" y="142"/>
              </a:cxn>
              <a:cxn ang="0">
                <a:pos x="43" y="139"/>
              </a:cxn>
              <a:cxn ang="0">
                <a:pos x="75" y="117"/>
              </a:cxn>
              <a:cxn ang="0">
                <a:pos x="105" y="139"/>
              </a:cxn>
              <a:cxn ang="0">
                <a:pos x="110" y="142"/>
              </a:cxn>
              <a:cxn ang="0">
                <a:pos x="114" y="143"/>
              </a:cxn>
              <a:cxn ang="0">
                <a:pos x="117" y="144"/>
              </a:cxn>
              <a:cxn ang="0">
                <a:pos x="120" y="143"/>
              </a:cxn>
              <a:cxn ang="0">
                <a:pos x="123" y="140"/>
              </a:cxn>
              <a:cxn ang="0">
                <a:pos x="123" y="137"/>
              </a:cxn>
              <a:cxn ang="0">
                <a:pos x="123" y="133"/>
              </a:cxn>
              <a:cxn ang="0">
                <a:pos x="121" y="127"/>
              </a:cxn>
              <a:cxn ang="0">
                <a:pos x="117" y="112"/>
              </a:cxn>
            </a:cxnLst>
            <a:rect l="0" t="0" r="r" b="b"/>
            <a:pathLst>
              <a:path w="149" h="144">
                <a:moveTo>
                  <a:pt x="111" y="91"/>
                </a:moveTo>
                <a:lnTo>
                  <a:pt x="141" y="69"/>
                </a:lnTo>
                <a:lnTo>
                  <a:pt x="144" y="64"/>
                </a:lnTo>
                <a:lnTo>
                  <a:pt x="148" y="61"/>
                </a:lnTo>
                <a:lnTo>
                  <a:pt x="149" y="58"/>
                </a:lnTo>
                <a:lnTo>
                  <a:pt x="149" y="54"/>
                </a:lnTo>
                <a:lnTo>
                  <a:pt x="147" y="52"/>
                </a:lnTo>
                <a:lnTo>
                  <a:pt x="144" y="51"/>
                </a:lnTo>
                <a:lnTo>
                  <a:pt x="139" y="49"/>
                </a:lnTo>
                <a:lnTo>
                  <a:pt x="134" y="48"/>
                </a:lnTo>
                <a:lnTo>
                  <a:pt x="96" y="48"/>
                </a:lnTo>
                <a:lnTo>
                  <a:pt x="84" y="12"/>
                </a:lnTo>
                <a:lnTo>
                  <a:pt x="83" y="8"/>
                </a:lnTo>
                <a:lnTo>
                  <a:pt x="80" y="3"/>
                </a:lnTo>
                <a:lnTo>
                  <a:pt x="77" y="2"/>
                </a:lnTo>
                <a:lnTo>
                  <a:pt x="75" y="0"/>
                </a:lnTo>
                <a:lnTo>
                  <a:pt x="71" y="2"/>
                </a:lnTo>
                <a:lnTo>
                  <a:pt x="69" y="3"/>
                </a:lnTo>
                <a:lnTo>
                  <a:pt x="67" y="8"/>
                </a:lnTo>
                <a:lnTo>
                  <a:pt x="64" y="12"/>
                </a:lnTo>
                <a:lnTo>
                  <a:pt x="53" y="48"/>
                </a:lnTo>
                <a:lnTo>
                  <a:pt x="14" y="48"/>
                </a:lnTo>
                <a:lnTo>
                  <a:pt x="9" y="49"/>
                </a:lnTo>
                <a:lnTo>
                  <a:pt x="4" y="51"/>
                </a:lnTo>
                <a:lnTo>
                  <a:pt x="1" y="52"/>
                </a:lnTo>
                <a:lnTo>
                  <a:pt x="0" y="54"/>
                </a:lnTo>
                <a:lnTo>
                  <a:pt x="0" y="58"/>
                </a:lnTo>
                <a:lnTo>
                  <a:pt x="1" y="61"/>
                </a:lnTo>
                <a:lnTo>
                  <a:pt x="4" y="64"/>
                </a:lnTo>
                <a:lnTo>
                  <a:pt x="9" y="69"/>
                </a:lnTo>
                <a:lnTo>
                  <a:pt x="38" y="91"/>
                </a:lnTo>
                <a:lnTo>
                  <a:pt x="27" y="127"/>
                </a:lnTo>
                <a:lnTo>
                  <a:pt x="26" y="133"/>
                </a:lnTo>
                <a:lnTo>
                  <a:pt x="26" y="137"/>
                </a:lnTo>
                <a:lnTo>
                  <a:pt x="27" y="140"/>
                </a:lnTo>
                <a:lnTo>
                  <a:pt x="28" y="143"/>
                </a:lnTo>
                <a:lnTo>
                  <a:pt x="31" y="144"/>
                </a:lnTo>
                <a:lnTo>
                  <a:pt x="34" y="143"/>
                </a:lnTo>
                <a:lnTo>
                  <a:pt x="38" y="142"/>
                </a:lnTo>
                <a:lnTo>
                  <a:pt x="43" y="139"/>
                </a:lnTo>
                <a:lnTo>
                  <a:pt x="75" y="117"/>
                </a:lnTo>
                <a:lnTo>
                  <a:pt x="105" y="139"/>
                </a:lnTo>
                <a:lnTo>
                  <a:pt x="110" y="142"/>
                </a:lnTo>
                <a:lnTo>
                  <a:pt x="114" y="143"/>
                </a:lnTo>
                <a:lnTo>
                  <a:pt x="117" y="144"/>
                </a:lnTo>
                <a:lnTo>
                  <a:pt x="120" y="143"/>
                </a:lnTo>
                <a:lnTo>
                  <a:pt x="123" y="140"/>
                </a:lnTo>
                <a:lnTo>
                  <a:pt x="123" y="137"/>
                </a:lnTo>
                <a:lnTo>
                  <a:pt x="123" y="133"/>
                </a:lnTo>
                <a:lnTo>
                  <a:pt x="121" y="127"/>
                </a:lnTo>
                <a:lnTo>
                  <a:pt x="117" y="112"/>
                </a:ln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679"/>
          <p:cNvSpPr>
            <a:spLocks noChangeAspect="1" noEditPoints="1"/>
          </p:cNvSpPr>
          <p:nvPr/>
        </p:nvSpPr>
        <p:spPr bwMode="auto">
          <a:xfrm>
            <a:off x="6544170" y="1815771"/>
            <a:ext cx="708866" cy="360000"/>
          </a:xfrm>
          <a:custGeom>
            <a:avLst/>
            <a:gdLst/>
            <a:ahLst/>
            <a:cxnLst>
              <a:cxn ang="0">
                <a:pos x="10" y="85"/>
              </a:cxn>
              <a:cxn ang="0">
                <a:pos x="21" y="89"/>
              </a:cxn>
              <a:cxn ang="0">
                <a:pos x="34" y="86"/>
              </a:cxn>
              <a:cxn ang="0">
                <a:pos x="41" y="77"/>
              </a:cxn>
              <a:cxn ang="0">
                <a:pos x="45" y="65"/>
              </a:cxn>
              <a:cxn ang="0">
                <a:pos x="77" y="45"/>
              </a:cxn>
              <a:cxn ang="0">
                <a:pos x="89" y="46"/>
              </a:cxn>
              <a:cxn ang="0">
                <a:pos x="100" y="39"/>
              </a:cxn>
              <a:cxn ang="0">
                <a:pos x="105" y="28"/>
              </a:cxn>
              <a:cxn ang="0">
                <a:pos x="89" y="32"/>
              </a:cxn>
              <a:cxn ang="0">
                <a:pos x="97" y="5"/>
              </a:cxn>
              <a:cxn ang="0">
                <a:pos x="84" y="1"/>
              </a:cxn>
              <a:cxn ang="0">
                <a:pos x="73" y="3"/>
              </a:cxn>
              <a:cxn ang="0">
                <a:pos x="64" y="12"/>
              </a:cxn>
              <a:cxn ang="0">
                <a:pos x="62" y="25"/>
              </a:cxn>
              <a:cxn ang="0">
                <a:pos x="29" y="44"/>
              </a:cxn>
              <a:cxn ang="0">
                <a:pos x="17" y="44"/>
              </a:cxn>
              <a:cxn ang="0">
                <a:pos x="6" y="50"/>
              </a:cxn>
              <a:cxn ang="0">
                <a:pos x="0" y="60"/>
              </a:cxn>
              <a:cxn ang="0">
                <a:pos x="19" y="56"/>
              </a:cxn>
              <a:cxn ang="0">
                <a:pos x="153" y="22"/>
              </a:cxn>
              <a:cxn ang="0">
                <a:pos x="179" y="31"/>
              </a:cxn>
              <a:cxn ang="0">
                <a:pos x="153" y="22"/>
              </a:cxn>
              <a:cxn ang="0">
                <a:pos x="142" y="27"/>
              </a:cxn>
              <a:cxn ang="0">
                <a:pos x="141" y="20"/>
              </a:cxn>
              <a:cxn ang="0">
                <a:pos x="144" y="15"/>
              </a:cxn>
              <a:cxn ang="0">
                <a:pos x="163" y="0"/>
              </a:cxn>
              <a:cxn ang="0">
                <a:pos x="170" y="1"/>
              </a:cxn>
              <a:cxn ang="0">
                <a:pos x="190" y="26"/>
              </a:cxn>
              <a:cxn ang="0">
                <a:pos x="191" y="32"/>
              </a:cxn>
              <a:cxn ang="0">
                <a:pos x="188" y="39"/>
              </a:cxn>
              <a:cxn ang="0">
                <a:pos x="169" y="54"/>
              </a:cxn>
              <a:cxn ang="0">
                <a:pos x="162" y="53"/>
              </a:cxn>
              <a:cxn ang="0">
                <a:pos x="142" y="27"/>
              </a:cxn>
              <a:cxn ang="0">
                <a:pos x="63" y="86"/>
              </a:cxn>
              <a:cxn ang="0">
                <a:pos x="159" y="50"/>
              </a:cxn>
              <a:cxn ang="0">
                <a:pos x="142" y="66"/>
              </a:cxn>
              <a:cxn ang="0">
                <a:pos x="126" y="77"/>
              </a:cxn>
              <a:cxn ang="0">
                <a:pos x="110" y="87"/>
              </a:cxn>
            </a:cxnLst>
            <a:rect l="0" t="0" r="r" b="b"/>
            <a:pathLst>
              <a:path w="191" h="97">
                <a:moveTo>
                  <a:pt x="10" y="85"/>
                </a:moveTo>
                <a:lnTo>
                  <a:pt x="10" y="85"/>
                </a:lnTo>
                <a:lnTo>
                  <a:pt x="15" y="87"/>
                </a:lnTo>
                <a:lnTo>
                  <a:pt x="21" y="89"/>
                </a:lnTo>
                <a:lnTo>
                  <a:pt x="28" y="88"/>
                </a:lnTo>
                <a:lnTo>
                  <a:pt x="34" y="86"/>
                </a:lnTo>
                <a:lnTo>
                  <a:pt x="39" y="82"/>
                </a:lnTo>
                <a:lnTo>
                  <a:pt x="41" y="77"/>
                </a:lnTo>
                <a:lnTo>
                  <a:pt x="43" y="71"/>
                </a:lnTo>
                <a:lnTo>
                  <a:pt x="45" y="65"/>
                </a:lnTo>
                <a:lnTo>
                  <a:pt x="72" y="44"/>
                </a:lnTo>
                <a:lnTo>
                  <a:pt x="77" y="45"/>
                </a:lnTo>
                <a:lnTo>
                  <a:pt x="83" y="46"/>
                </a:lnTo>
                <a:lnTo>
                  <a:pt x="89" y="46"/>
                </a:lnTo>
                <a:lnTo>
                  <a:pt x="94" y="44"/>
                </a:lnTo>
                <a:lnTo>
                  <a:pt x="100" y="39"/>
                </a:lnTo>
                <a:lnTo>
                  <a:pt x="104" y="34"/>
                </a:lnTo>
                <a:lnTo>
                  <a:pt x="105" y="28"/>
                </a:lnTo>
                <a:lnTo>
                  <a:pt x="106" y="22"/>
                </a:lnTo>
                <a:lnTo>
                  <a:pt x="89" y="32"/>
                </a:lnTo>
                <a:lnTo>
                  <a:pt x="78" y="15"/>
                </a:lnTo>
                <a:lnTo>
                  <a:pt x="97" y="5"/>
                </a:lnTo>
                <a:lnTo>
                  <a:pt x="92" y="2"/>
                </a:lnTo>
                <a:lnTo>
                  <a:pt x="84" y="1"/>
                </a:lnTo>
                <a:lnTo>
                  <a:pt x="78" y="2"/>
                </a:lnTo>
                <a:lnTo>
                  <a:pt x="73" y="3"/>
                </a:lnTo>
                <a:lnTo>
                  <a:pt x="68" y="7"/>
                </a:lnTo>
                <a:lnTo>
                  <a:pt x="64" y="12"/>
                </a:lnTo>
                <a:lnTo>
                  <a:pt x="62" y="18"/>
                </a:lnTo>
                <a:lnTo>
                  <a:pt x="62" y="25"/>
                </a:lnTo>
                <a:lnTo>
                  <a:pt x="35" y="46"/>
                </a:lnTo>
                <a:lnTo>
                  <a:pt x="29" y="44"/>
                </a:lnTo>
                <a:lnTo>
                  <a:pt x="23" y="42"/>
                </a:lnTo>
                <a:lnTo>
                  <a:pt x="17" y="44"/>
                </a:lnTo>
                <a:lnTo>
                  <a:pt x="11" y="45"/>
                </a:lnTo>
                <a:lnTo>
                  <a:pt x="6" y="50"/>
                </a:lnTo>
                <a:lnTo>
                  <a:pt x="2" y="55"/>
                </a:lnTo>
                <a:lnTo>
                  <a:pt x="0" y="60"/>
                </a:lnTo>
                <a:lnTo>
                  <a:pt x="0" y="68"/>
                </a:lnTo>
                <a:lnTo>
                  <a:pt x="19" y="56"/>
                </a:lnTo>
                <a:lnTo>
                  <a:pt x="29" y="73"/>
                </a:lnTo>
                <a:moveTo>
                  <a:pt x="153" y="22"/>
                </a:moveTo>
                <a:lnTo>
                  <a:pt x="165" y="12"/>
                </a:lnTo>
                <a:lnTo>
                  <a:pt x="179" y="31"/>
                </a:lnTo>
                <a:lnTo>
                  <a:pt x="167" y="40"/>
                </a:lnTo>
                <a:lnTo>
                  <a:pt x="153" y="22"/>
                </a:lnTo>
                <a:moveTo>
                  <a:pt x="142" y="27"/>
                </a:moveTo>
                <a:lnTo>
                  <a:pt x="142" y="27"/>
                </a:lnTo>
                <a:lnTo>
                  <a:pt x="141" y="24"/>
                </a:lnTo>
                <a:lnTo>
                  <a:pt x="141" y="20"/>
                </a:lnTo>
                <a:lnTo>
                  <a:pt x="142" y="17"/>
                </a:lnTo>
                <a:lnTo>
                  <a:pt x="144" y="15"/>
                </a:lnTo>
                <a:lnTo>
                  <a:pt x="160" y="2"/>
                </a:lnTo>
                <a:lnTo>
                  <a:pt x="163" y="0"/>
                </a:lnTo>
                <a:lnTo>
                  <a:pt x="168" y="0"/>
                </a:lnTo>
                <a:lnTo>
                  <a:pt x="170" y="1"/>
                </a:lnTo>
                <a:lnTo>
                  <a:pt x="173" y="2"/>
                </a:lnTo>
                <a:lnTo>
                  <a:pt x="190" y="26"/>
                </a:lnTo>
                <a:lnTo>
                  <a:pt x="191" y="29"/>
                </a:lnTo>
                <a:lnTo>
                  <a:pt x="191" y="32"/>
                </a:lnTo>
                <a:lnTo>
                  <a:pt x="190" y="35"/>
                </a:lnTo>
                <a:lnTo>
                  <a:pt x="188" y="39"/>
                </a:lnTo>
                <a:lnTo>
                  <a:pt x="171" y="51"/>
                </a:lnTo>
                <a:lnTo>
                  <a:pt x="169" y="54"/>
                </a:lnTo>
                <a:lnTo>
                  <a:pt x="164" y="54"/>
                </a:lnTo>
                <a:lnTo>
                  <a:pt x="162" y="53"/>
                </a:lnTo>
                <a:lnTo>
                  <a:pt x="159" y="50"/>
                </a:lnTo>
                <a:lnTo>
                  <a:pt x="142" y="27"/>
                </a:lnTo>
                <a:moveTo>
                  <a:pt x="70" y="97"/>
                </a:moveTo>
                <a:lnTo>
                  <a:pt x="63" y="86"/>
                </a:lnTo>
                <a:lnTo>
                  <a:pt x="141" y="25"/>
                </a:lnTo>
                <a:lnTo>
                  <a:pt x="159" y="50"/>
                </a:lnTo>
                <a:lnTo>
                  <a:pt x="137" y="55"/>
                </a:lnTo>
                <a:lnTo>
                  <a:pt x="142" y="66"/>
                </a:lnTo>
                <a:lnTo>
                  <a:pt x="119" y="66"/>
                </a:lnTo>
                <a:lnTo>
                  <a:pt x="126" y="77"/>
                </a:lnTo>
                <a:lnTo>
                  <a:pt x="104" y="76"/>
                </a:lnTo>
                <a:lnTo>
                  <a:pt x="110" y="87"/>
                </a:lnTo>
                <a:lnTo>
                  <a:pt x="86" y="86"/>
                </a:ln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e 336"/>
          <p:cNvGrpSpPr>
            <a:grpSpLocks noChangeAspect="1"/>
          </p:cNvGrpSpPr>
          <p:nvPr/>
        </p:nvGrpSpPr>
        <p:grpSpPr>
          <a:xfrm>
            <a:off x="5659070" y="1870772"/>
            <a:ext cx="540000" cy="314724"/>
            <a:chOff x="3448051" y="1468438"/>
            <a:chExt cx="258763" cy="150813"/>
          </a:xfrm>
        </p:grpSpPr>
        <p:sp>
          <p:nvSpPr>
            <p:cNvPr id="338" name="Oval 680"/>
            <p:cNvSpPr>
              <a:spLocks noChangeArrowheads="1"/>
            </p:cNvSpPr>
            <p:nvPr/>
          </p:nvSpPr>
          <p:spPr bwMode="auto">
            <a:xfrm>
              <a:off x="3611563" y="1520826"/>
              <a:ext cx="74613" cy="74613"/>
            </a:xfrm>
            <a:prstGeom prst="ellips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9" name="Oval 681"/>
            <p:cNvSpPr>
              <a:spLocks noChangeArrowheads="1"/>
            </p:cNvSpPr>
            <p:nvPr/>
          </p:nvSpPr>
          <p:spPr bwMode="auto">
            <a:xfrm>
              <a:off x="3468688" y="1520826"/>
              <a:ext cx="74613" cy="74613"/>
            </a:xfrm>
            <a:prstGeom prst="ellips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682"/>
            <p:cNvSpPr>
              <a:spLocks/>
            </p:cNvSpPr>
            <p:nvPr/>
          </p:nvSpPr>
          <p:spPr bwMode="auto">
            <a:xfrm>
              <a:off x="3448051" y="1468438"/>
              <a:ext cx="258763" cy="150813"/>
            </a:xfrm>
            <a:custGeom>
              <a:avLst/>
              <a:gdLst/>
              <a:ahLst/>
              <a:cxnLst>
                <a:cxn ang="0">
                  <a:pos x="109" y="78"/>
                </a:cxn>
                <a:cxn ang="0">
                  <a:pos x="152" y="112"/>
                </a:cxn>
                <a:cxn ang="0">
                  <a:pos x="150" y="112"/>
                </a:cxn>
                <a:cxn ang="0">
                  <a:pos x="193" y="65"/>
                </a:cxn>
                <a:cxn ang="0">
                  <a:pos x="134" y="14"/>
                </a:cxn>
                <a:cxn ang="0">
                  <a:pos x="133" y="14"/>
                </a:cxn>
                <a:cxn ang="0">
                  <a:pos x="119" y="0"/>
                </a:cxn>
                <a:cxn ang="0">
                  <a:pos x="105" y="14"/>
                </a:cxn>
                <a:cxn ang="0">
                  <a:pos x="87" y="14"/>
                </a:cxn>
                <a:cxn ang="0">
                  <a:pos x="73" y="0"/>
                </a:cxn>
                <a:cxn ang="0">
                  <a:pos x="60" y="14"/>
                </a:cxn>
                <a:cxn ang="0">
                  <a:pos x="60" y="13"/>
                </a:cxn>
                <a:cxn ang="0">
                  <a:pos x="0" y="66"/>
                </a:cxn>
                <a:cxn ang="0">
                  <a:pos x="42" y="113"/>
                </a:cxn>
                <a:cxn ang="0">
                  <a:pos x="40" y="113"/>
                </a:cxn>
                <a:cxn ang="0">
                  <a:pos x="84" y="80"/>
                </a:cxn>
              </a:cxnLst>
              <a:rect l="0" t="0" r="r" b="b"/>
              <a:pathLst>
                <a:path w="193" h="113">
                  <a:moveTo>
                    <a:pt x="109" y="78"/>
                  </a:moveTo>
                  <a:cubicBezTo>
                    <a:pt x="109" y="97"/>
                    <a:pt x="128" y="112"/>
                    <a:pt x="152" y="112"/>
                  </a:cubicBezTo>
                  <a:cubicBezTo>
                    <a:pt x="150" y="112"/>
                    <a:pt x="150" y="112"/>
                    <a:pt x="150" y="112"/>
                  </a:cubicBezTo>
                  <a:cubicBezTo>
                    <a:pt x="174" y="112"/>
                    <a:pt x="193" y="91"/>
                    <a:pt x="193" y="65"/>
                  </a:cubicBezTo>
                  <a:cubicBezTo>
                    <a:pt x="193" y="39"/>
                    <a:pt x="154" y="17"/>
                    <a:pt x="134" y="14"/>
                  </a:cubicBezTo>
                  <a:cubicBezTo>
                    <a:pt x="133" y="14"/>
                    <a:pt x="133" y="14"/>
                    <a:pt x="133" y="14"/>
                  </a:cubicBezTo>
                  <a:cubicBezTo>
                    <a:pt x="133" y="6"/>
                    <a:pt x="126" y="0"/>
                    <a:pt x="119" y="0"/>
                  </a:cubicBezTo>
                  <a:cubicBezTo>
                    <a:pt x="111" y="0"/>
                    <a:pt x="105" y="6"/>
                    <a:pt x="105" y="14"/>
                  </a:cubicBezTo>
                  <a:cubicBezTo>
                    <a:pt x="87" y="14"/>
                    <a:pt x="87" y="14"/>
                    <a:pt x="87" y="14"/>
                  </a:cubicBezTo>
                  <a:cubicBezTo>
                    <a:pt x="87" y="6"/>
                    <a:pt x="81" y="0"/>
                    <a:pt x="73" y="0"/>
                  </a:cubicBezTo>
                  <a:cubicBezTo>
                    <a:pt x="66" y="0"/>
                    <a:pt x="60" y="6"/>
                    <a:pt x="60" y="14"/>
                  </a:cubicBezTo>
                  <a:cubicBezTo>
                    <a:pt x="60" y="13"/>
                    <a:pt x="60" y="13"/>
                    <a:pt x="60" y="13"/>
                  </a:cubicBezTo>
                  <a:cubicBezTo>
                    <a:pt x="39" y="17"/>
                    <a:pt x="0" y="40"/>
                    <a:pt x="0" y="66"/>
                  </a:cubicBezTo>
                  <a:cubicBezTo>
                    <a:pt x="0" y="92"/>
                    <a:pt x="19" y="113"/>
                    <a:pt x="42" y="113"/>
                  </a:cubicBezTo>
                  <a:cubicBezTo>
                    <a:pt x="40" y="113"/>
                    <a:pt x="40" y="113"/>
                    <a:pt x="40" y="113"/>
                  </a:cubicBezTo>
                  <a:cubicBezTo>
                    <a:pt x="64" y="113"/>
                    <a:pt x="84" y="98"/>
                    <a:pt x="84" y="80"/>
                  </a:cubicBez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683"/>
            <p:cNvSpPr>
              <a:spLocks/>
            </p:cNvSpPr>
            <p:nvPr/>
          </p:nvSpPr>
          <p:spPr bwMode="auto">
            <a:xfrm>
              <a:off x="3557588" y="1519238"/>
              <a:ext cx="39688" cy="36513"/>
            </a:xfrm>
            <a:custGeom>
              <a:avLst/>
              <a:gdLst/>
              <a:ahLst/>
              <a:cxnLst>
                <a:cxn ang="0">
                  <a:pos x="25" y="27"/>
                </a:cxn>
                <a:cxn ang="0">
                  <a:pos x="3" y="27"/>
                </a:cxn>
                <a:cxn ang="0">
                  <a:pos x="0" y="14"/>
                </a:cxn>
                <a:cxn ang="0">
                  <a:pos x="0" y="14"/>
                </a:cxn>
                <a:cxn ang="0">
                  <a:pos x="14" y="0"/>
                </a:cxn>
                <a:cxn ang="0">
                  <a:pos x="29" y="14"/>
                </a:cxn>
                <a:cxn ang="0">
                  <a:pos x="29" y="14"/>
                </a:cxn>
                <a:cxn ang="0">
                  <a:pos x="26" y="27"/>
                </a:cxn>
              </a:cxnLst>
              <a:rect l="0" t="0" r="r" b="b"/>
              <a:pathLst>
                <a:path w="29" h="27">
                  <a:moveTo>
                    <a:pt x="25" y="27"/>
                  </a:moveTo>
                  <a:cubicBezTo>
                    <a:pt x="3" y="27"/>
                    <a:pt x="3" y="27"/>
                    <a:pt x="3" y="27"/>
                  </a:cubicBezTo>
                  <a:cubicBezTo>
                    <a:pt x="0" y="14"/>
                    <a:pt x="0" y="14"/>
                    <a:pt x="0" y="14"/>
                  </a:cubicBezTo>
                  <a:cubicBezTo>
                    <a:pt x="0" y="14"/>
                    <a:pt x="0" y="14"/>
                    <a:pt x="0" y="14"/>
                  </a:cubicBezTo>
                  <a:cubicBezTo>
                    <a:pt x="0" y="2"/>
                    <a:pt x="6" y="0"/>
                    <a:pt x="14" y="0"/>
                  </a:cubicBezTo>
                  <a:cubicBezTo>
                    <a:pt x="22" y="0"/>
                    <a:pt x="29" y="2"/>
                    <a:pt x="29" y="14"/>
                  </a:cubicBezTo>
                  <a:cubicBezTo>
                    <a:pt x="29" y="14"/>
                    <a:pt x="29" y="14"/>
                    <a:pt x="29" y="14"/>
                  </a:cubicBezTo>
                  <a:cubicBezTo>
                    <a:pt x="26" y="27"/>
                    <a:pt x="26" y="27"/>
                    <a:pt x="26" y="27"/>
                  </a:cubicBez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42" name="Freeform 676"/>
          <p:cNvSpPr>
            <a:spLocks noChangeAspect="1" noEditPoints="1"/>
          </p:cNvSpPr>
          <p:nvPr/>
        </p:nvSpPr>
        <p:spPr bwMode="auto">
          <a:xfrm>
            <a:off x="3219490" y="2820974"/>
            <a:ext cx="456923" cy="540000"/>
          </a:xfrm>
          <a:custGeom>
            <a:avLst/>
            <a:gdLst/>
            <a:ahLst/>
            <a:cxnLst>
              <a:cxn ang="0">
                <a:pos x="118" y="56"/>
              </a:cxn>
              <a:cxn ang="0">
                <a:pos x="143" y="42"/>
              </a:cxn>
              <a:cxn ang="0">
                <a:pos x="117" y="109"/>
              </a:cxn>
              <a:cxn ang="0">
                <a:pos x="141" y="123"/>
              </a:cxn>
              <a:cxn ang="0">
                <a:pos x="25" y="107"/>
              </a:cxn>
              <a:cxn ang="0">
                <a:pos x="0" y="121"/>
              </a:cxn>
              <a:cxn ang="0">
                <a:pos x="26" y="54"/>
              </a:cxn>
              <a:cxn ang="0">
                <a:pos x="2" y="39"/>
              </a:cxn>
              <a:cxn ang="0">
                <a:pos x="73" y="28"/>
              </a:cxn>
              <a:cxn ang="0">
                <a:pos x="73" y="0"/>
              </a:cxn>
              <a:cxn ang="0">
                <a:pos x="49" y="83"/>
              </a:cxn>
              <a:cxn ang="0">
                <a:pos x="76" y="56"/>
              </a:cxn>
              <a:cxn ang="0">
                <a:pos x="91" y="115"/>
              </a:cxn>
              <a:cxn ang="0">
                <a:pos x="111" y="81"/>
              </a:cxn>
              <a:cxn ang="0">
                <a:pos x="73" y="42"/>
              </a:cxn>
              <a:cxn ang="0">
                <a:pos x="34" y="81"/>
              </a:cxn>
              <a:cxn ang="0">
                <a:pos x="54" y="115"/>
              </a:cxn>
              <a:cxn ang="0">
                <a:pos x="54" y="134"/>
              </a:cxn>
              <a:cxn ang="0">
                <a:pos x="91" y="134"/>
              </a:cxn>
              <a:cxn ang="0">
                <a:pos x="91" y="154"/>
              </a:cxn>
              <a:cxn ang="0">
                <a:pos x="83" y="163"/>
              </a:cxn>
              <a:cxn ang="0">
                <a:pos x="83" y="163"/>
              </a:cxn>
              <a:cxn ang="0">
                <a:pos x="73" y="170"/>
              </a:cxn>
              <a:cxn ang="0">
                <a:pos x="62" y="163"/>
              </a:cxn>
              <a:cxn ang="0">
                <a:pos x="62" y="163"/>
              </a:cxn>
              <a:cxn ang="0">
                <a:pos x="54" y="154"/>
              </a:cxn>
              <a:cxn ang="0">
                <a:pos x="54" y="147"/>
              </a:cxn>
            </a:cxnLst>
            <a:rect l="0" t="0" r="r" b="b"/>
            <a:pathLst>
              <a:path w="143" h="170">
                <a:moveTo>
                  <a:pt x="118" y="56"/>
                </a:moveTo>
                <a:cubicBezTo>
                  <a:pt x="143" y="42"/>
                  <a:pt x="143" y="42"/>
                  <a:pt x="143" y="42"/>
                </a:cubicBezTo>
                <a:moveTo>
                  <a:pt x="117" y="109"/>
                </a:moveTo>
                <a:cubicBezTo>
                  <a:pt x="141" y="123"/>
                  <a:pt x="141" y="123"/>
                  <a:pt x="141" y="123"/>
                </a:cubicBezTo>
                <a:moveTo>
                  <a:pt x="25" y="107"/>
                </a:moveTo>
                <a:cubicBezTo>
                  <a:pt x="0" y="121"/>
                  <a:pt x="0" y="121"/>
                  <a:pt x="0" y="121"/>
                </a:cubicBezTo>
                <a:moveTo>
                  <a:pt x="26" y="54"/>
                </a:moveTo>
                <a:cubicBezTo>
                  <a:pt x="2" y="39"/>
                  <a:pt x="2" y="39"/>
                  <a:pt x="2" y="39"/>
                </a:cubicBezTo>
                <a:moveTo>
                  <a:pt x="73" y="28"/>
                </a:moveTo>
                <a:cubicBezTo>
                  <a:pt x="73" y="0"/>
                  <a:pt x="73" y="0"/>
                  <a:pt x="73" y="0"/>
                </a:cubicBezTo>
                <a:moveTo>
                  <a:pt x="49" y="83"/>
                </a:moveTo>
                <a:cubicBezTo>
                  <a:pt x="49" y="68"/>
                  <a:pt x="61" y="56"/>
                  <a:pt x="76" y="56"/>
                </a:cubicBezTo>
                <a:moveTo>
                  <a:pt x="91" y="115"/>
                </a:moveTo>
                <a:cubicBezTo>
                  <a:pt x="103" y="109"/>
                  <a:pt x="111" y="96"/>
                  <a:pt x="111" y="81"/>
                </a:cubicBezTo>
                <a:cubicBezTo>
                  <a:pt x="111" y="60"/>
                  <a:pt x="94" y="42"/>
                  <a:pt x="73" y="42"/>
                </a:cubicBezTo>
                <a:cubicBezTo>
                  <a:pt x="51" y="42"/>
                  <a:pt x="34" y="60"/>
                  <a:pt x="34" y="81"/>
                </a:cubicBezTo>
                <a:cubicBezTo>
                  <a:pt x="34" y="96"/>
                  <a:pt x="42" y="109"/>
                  <a:pt x="54" y="115"/>
                </a:cubicBezTo>
                <a:cubicBezTo>
                  <a:pt x="54" y="134"/>
                  <a:pt x="54" y="134"/>
                  <a:pt x="54" y="134"/>
                </a:cubicBezTo>
                <a:cubicBezTo>
                  <a:pt x="91" y="134"/>
                  <a:pt x="91" y="134"/>
                  <a:pt x="91" y="134"/>
                </a:cubicBezTo>
                <a:cubicBezTo>
                  <a:pt x="91" y="154"/>
                  <a:pt x="91" y="154"/>
                  <a:pt x="91" y="154"/>
                </a:cubicBezTo>
                <a:cubicBezTo>
                  <a:pt x="91" y="158"/>
                  <a:pt x="88" y="161"/>
                  <a:pt x="83" y="163"/>
                </a:cubicBezTo>
                <a:cubicBezTo>
                  <a:pt x="83" y="163"/>
                  <a:pt x="83" y="163"/>
                  <a:pt x="83" y="163"/>
                </a:cubicBezTo>
                <a:cubicBezTo>
                  <a:pt x="83" y="167"/>
                  <a:pt x="78" y="170"/>
                  <a:pt x="73" y="170"/>
                </a:cubicBezTo>
                <a:cubicBezTo>
                  <a:pt x="67" y="170"/>
                  <a:pt x="62" y="167"/>
                  <a:pt x="62" y="163"/>
                </a:cubicBezTo>
                <a:cubicBezTo>
                  <a:pt x="62" y="163"/>
                  <a:pt x="62" y="163"/>
                  <a:pt x="62" y="163"/>
                </a:cubicBezTo>
                <a:cubicBezTo>
                  <a:pt x="57" y="161"/>
                  <a:pt x="54" y="158"/>
                  <a:pt x="54" y="154"/>
                </a:cubicBezTo>
                <a:cubicBezTo>
                  <a:pt x="54" y="147"/>
                  <a:pt x="54" y="147"/>
                  <a:pt x="54" y="1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708"/>
          <p:cNvSpPr>
            <a:spLocks noChangeAspect="1" noEditPoints="1"/>
          </p:cNvSpPr>
          <p:nvPr/>
        </p:nvSpPr>
        <p:spPr bwMode="auto">
          <a:xfrm>
            <a:off x="3950654" y="1774293"/>
            <a:ext cx="612000" cy="438660"/>
          </a:xfrm>
          <a:custGeom>
            <a:avLst/>
            <a:gdLst/>
            <a:ahLst/>
            <a:cxnLst>
              <a:cxn ang="0">
                <a:pos x="149" y="45"/>
              </a:cxn>
              <a:cxn ang="0">
                <a:pos x="169" y="94"/>
              </a:cxn>
              <a:cxn ang="0">
                <a:pos x="151" y="95"/>
              </a:cxn>
              <a:cxn ang="0">
                <a:pos x="176" y="48"/>
              </a:cxn>
              <a:cxn ang="0">
                <a:pos x="191" y="44"/>
              </a:cxn>
              <a:cxn ang="0">
                <a:pos x="179" y="28"/>
              </a:cxn>
              <a:cxn ang="0">
                <a:pos x="172" y="18"/>
              </a:cxn>
              <a:cxn ang="0">
                <a:pos x="164" y="0"/>
              </a:cxn>
              <a:cxn ang="0">
                <a:pos x="146" y="1"/>
              </a:cxn>
              <a:cxn ang="0">
                <a:pos x="139" y="19"/>
              </a:cxn>
              <a:cxn ang="0">
                <a:pos x="134" y="30"/>
              </a:cxn>
              <a:cxn ang="0">
                <a:pos x="122" y="46"/>
              </a:cxn>
              <a:cxn ang="0">
                <a:pos x="132" y="61"/>
              </a:cxn>
              <a:cxn ang="0">
                <a:pos x="151" y="58"/>
              </a:cxn>
              <a:cxn ang="0">
                <a:pos x="165" y="59"/>
              </a:cxn>
              <a:cxn ang="0">
                <a:pos x="177" y="76"/>
              </a:cxn>
              <a:cxn ang="0">
                <a:pos x="186" y="83"/>
              </a:cxn>
              <a:cxn ang="0">
                <a:pos x="204" y="92"/>
              </a:cxn>
              <a:cxn ang="0">
                <a:pos x="205" y="108"/>
              </a:cxn>
              <a:cxn ang="0">
                <a:pos x="189" y="119"/>
              </a:cxn>
              <a:cxn ang="0">
                <a:pos x="181" y="128"/>
              </a:cxn>
              <a:cxn ang="0">
                <a:pos x="173" y="146"/>
              </a:cxn>
              <a:cxn ang="0">
                <a:pos x="157" y="148"/>
              </a:cxn>
              <a:cxn ang="0">
                <a:pos x="145" y="131"/>
              </a:cxn>
              <a:cxn ang="0">
                <a:pos x="136" y="124"/>
              </a:cxn>
              <a:cxn ang="0">
                <a:pos x="118" y="115"/>
              </a:cxn>
              <a:cxn ang="0">
                <a:pos x="117" y="99"/>
              </a:cxn>
              <a:cxn ang="0">
                <a:pos x="132" y="86"/>
              </a:cxn>
              <a:cxn ang="0">
                <a:pos x="128" y="64"/>
              </a:cxn>
              <a:cxn ang="0">
                <a:pos x="105" y="46"/>
              </a:cxn>
              <a:cxn ang="0">
                <a:pos x="95" y="33"/>
              </a:cxn>
              <a:cxn ang="0">
                <a:pos x="82" y="7"/>
              </a:cxn>
              <a:cxn ang="0">
                <a:pos x="59" y="4"/>
              </a:cxn>
              <a:cxn ang="0">
                <a:pos x="42" y="28"/>
              </a:cxn>
              <a:cxn ang="0">
                <a:pos x="29" y="38"/>
              </a:cxn>
              <a:cxn ang="0">
                <a:pos x="2" y="50"/>
              </a:cxn>
              <a:cxn ang="0">
                <a:pos x="0" y="74"/>
              </a:cxn>
              <a:cxn ang="0">
                <a:pos x="23" y="91"/>
              </a:cxn>
              <a:cxn ang="0">
                <a:pos x="34" y="104"/>
              </a:cxn>
              <a:cxn ang="0">
                <a:pos x="46" y="130"/>
              </a:cxn>
              <a:cxn ang="0">
                <a:pos x="69" y="133"/>
              </a:cxn>
              <a:cxn ang="0">
                <a:pos x="87" y="110"/>
              </a:cxn>
              <a:cxn ang="0">
                <a:pos x="100" y="99"/>
              </a:cxn>
              <a:cxn ang="0">
                <a:pos x="61" y="51"/>
              </a:cxn>
            </a:cxnLst>
            <a:rect l="0" t="0" r="r" b="b"/>
            <a:pathLst>
              <a:path w="205" h="148">
                <a:moveTo>
                  <a:pt x="164" y="27"/>
                </a:moveTo>
                <a:cubicBezTo>
                  <a:pt x="169" y="31"/>
                  <a:pt x="169" y="38"/>
                  <a:pt x="165" y="43"/>
                </a:cubicBezTo>
                <a:cubicBezTo>
                  <a:pt x="161" y="48"/>
                  <a:pt x="154" y="49"/>
                  <a:pt x="149" y="45"/>
                </a:cubicBezTo>
                <a:cubicBezTo>
                  <a:pt x="144" y="40"/>
                  <a:pt x="143" y="33"/>
                  <a:pt x="147" y="28"/>
                </a:cubicBezTo>
                <a:cubicBezTo>
                  <a:pt x="151" y="23"/>
                  <a:pt x="159" y="23"/>
                  <a:pt x="164" y="27"/>
                </a:cubicBezTo>
                <a:close/>
                <a:moveTo>
                  <a:pt x="169" y="94"/>
                </a:moveTo>
                <a:cubicBezTo>
                  <a:pt x="174" y="98"/>
                  <a:pt x="175" y="106"/>
                  <a:pt x="171" y="112"/>
                </a:cubicBezTo>
                <a:cubicBezTo>
                  <a:pt x="166" y="117"/>
                  <a:pt x="158" y="118"/>
                  <a:pt x="153" y="113"/>
                </a:cubicBezTo>
                <a:cubicBezTo>
                  <a:pt x="147" y="109"/>
                  <a:pt x="147" y="101"/>
                  <a:pt x="151" y="95"/>
                </a:cubicBezTo>
                <a:cubicBezTo>
                  <a:pt x="156" y="90"/>
                  <a:pt x="164" y="89"/>
                  <a:pt x="169" y="94"/>
                </a:cubicBezTo>
                <a:close/>
                <a:moveTo>
                  <a:pt x="183" y="59"/>
                </a:moveTo>
                <a:cubicBezTo>
                  <a:pt x="176" y="48"/>
                  <a:pt x="176" y="48"/>
                  <a:pt x="176" y="48"/>
                </a:cubicBezTo>
                <a:cubicBezTo>
                  <a:pt x="176" y="48"/>
                  <a:pt x="177" y="47"/>
                  <a:pt x="177" y="46"/>
                </a:cubicBezTo>
                <a:cubicBezTo>
                  <a:pt x="177" y="46"/>
                  <a:pt x="178" y="45"/>
                  <a:pt x="178" y="44"/>
                </a:cubicBezTo>
                <a:cubicBezTo>
                  <a:pt x="191" y="44"/>
                  <a:pt x="191" y="44"/>
                  <a:pt x="191" y="44"/>
                </a:cubicBezTo>
                <a:cubicBezTo>
                  <a:pt x="192" y="37"/>
                  <a:pt x="192" y="37"/>
                  <a:pt x="192" y="37"/>
                </a:cubicBezTo>
                <a:cubicBezTo>
                  <a:pt x="180" y="33"/>
                  <a:pt x="180" y="33"/>
                  <a:pt x="180" y="33"/>
                </a:cubicBezTo>
                <a:cubicBezTo>
                  <a:pt x="179" y="31"/>
                  <a:pt x="179" y="30"/>
                  <a:pt x="179" y="28"/>
                </a:cubicBezTo>
                <a:cubicBezTo>
                  <a:pt x="189" y="19"/>
                  <a:pt x="189" y="19"/>
                  <a:pt x="189" y="19"/>
                </a:cubicBezTo>
                <a:cubicBezTo>
                  <a:pt x="185" y="13"/>
                  <a:pt x="185" y="13"/>
                  <a:pt x="185" y="13"/>
                </a:cubicBezTo>
                <a:cubicBezTo>
                  <a:pt x="172" y="18"/>
                  <a:pt x="172" y="18"/>
                  <a:pt x="172" y="18"/>
                </a:cubicBezTo>
                <a:cubicBezTo>
                  <a:pt x="171" y="17"/>
                  <a:pt x="170" y="16"/>
                  <a:pt x="169" y="16"/>
                </a:cubicBezTo>
                <a:cubicBezTo>
                  <a:pt x="171" y="2"/>
                  <a:pt x="171" y="2"/>
                  <a:pt x="171" y="2"/>
                </a:cubicBezTo>
                <a:cubicBezTo>
                  <a:pt x="164" y="0"/>
                  <a:pt x="164" y="0"/>
                  <a:pt x="164" y="0"/>
                </a:cubicBezTo>
                <a:cubicBezTo>
                  <a:pt x="158" y="12"/>
                  <a:pt x="158" y="12"/>
                  <a:pt x="158" y="12"/>
                </a:cubicBezTo>
                <a:cubicBezTo>
                  <a:pt x="156" y="12"/>
                  <a:pt x="155" y="12"/>
                  <a:pt x="153" y="12"/>
                </a:cubicBezTo>
                <a:cubicBezTo>
                  <a:pt x="146" y="1"/>
                  <a:pt x="146" y="1"/>
                  <a:pt x="146" y="1"/>
                </a:cubicBezTo>
                <a:cubicBezTo>
                  <a:pt x="140" y="4"/>
                  <a:pt x="140" y="4"/>
                  <a:pt x="140" y="4"/>
                </a:cubicBezTo>
                <a:cubicBezTo>
                  <a:pt x="142" y="17"/>
                  <a:pt x="142" y="17"/>
                  <a:pt x="142" y="17"/>
                </a:cubicBezTo>
                <a:cubicBezTo>
                  <a:pt x="141" y="17"/>
                  <a:pt x="140" y="18"/>
                  <a:pt x="139" y="19"/>
                </a:cubicBezTo>
                <a:cubicBezTo>
                  <a:pt x="127" y="15"/>
                  <a:pt x="127" y="15"/>
                  <a:pt x="127" y="15"/>
                </a:cubicBezTo>
                <a:cubicBezTo>
                  <a:pt x="123" y="22"/>
                  <a:pt x="123" y="22"/>
                  <a:pt x="123" y="22"/>
                </a:cubicBezTo>
                <a:cubicBezTo>
                  <a:pt x="134" y="30"/>
                  <a:pt x="134" y="30"/>
                  <a:pt x="134" y="30"/>
                </a:cubicBezTo>
                <a:cubicBezTo>
                  <a:pt x="133" y="31"/>
                  <a:pt x="133" y="33"/>
                  <a:pt x="133" y="34"/>
                </a:cubicBezTo>
                <a:cubicBezTo>
                  <a:pt x="121" y="39"/>
                  <a:pt x="121" y="39"/>
                  <a:pt x="121" y="39"/>
                </a:cubicBezTo>
                <a:cubicBezTo>
                  <a:pt x="122" y="46"/>
                  <a:pt x="122" y="46"/>
                  <a:pt x="122" y="46"/>
                </a:cubicBezTo>
                <a:cubicBezTo>
                  <a:pt x="136" y="46"/>
                  <a:pt x="136" y="46"/>
                  <a:pt x="136" y="46"/>
                </a:cubicBezTo>
                <a:cubicBezTo>
                  <a:pt x="136" y="47"/>
                  <a:pt x="137" y="48"/>
                  <a:pt x="138" y="49"/>
                </a:cubicBezTo>
                <a:cubicBezTo>
                  <a:pt x="132" y="61"/>
                  <a:pt x="132" y="61"/>
                  <a:pt x="132" y="61"/>
                </a:cubicBezTo>
                <a:cubicBezTo>
                  <a:pt x="137" y="66"/>
                  <a:pt x="137" y="66"/>
                  <a:pt x="137" y="66"/>
                </a:cubicBezTo>
                <a:cubicBezTo>
                  <a:pt x="147" y="57"/>
                  <a:pt x="147" y="57"/>
                  <a:pt x="147" y="57"/>
                </a:cubicBezTo>
                <a:cubicBezTo>
                  <a:pt x="149" y="57"/>
                  <a:pt x="150" y="58"/>
                  <a:pt x="151" y="58"/>
                </a:cubicBezTo>
                <a:cubicBezTo>
                  <a:pt x="155" y="71"/>
                  <a:pt x="155" y="71"/>
                  <a:pt x="155" y="71"/>
                </a:cubicBezTo>
                <a:cubicBezTo>
                  <a:pt x="161" y="71"/>
                  <a:pt x="161" y="71"/>
                  <a:pt x="161" y="71"/>
                </a:cubicBezTo>
                <a:cubicBezTo>
                  <a:pt x="165" y="59"/>
                  <a:pt x="165" y="59"/>
                  <a:pt x="165" y="59"/>
                </a:cubicBezTo>
                <a:cubicBezTo>
                  <a:pt x="172" y="61"/>
                  <a:pt x="172" y="61"/>
                  <a:pt x="172" y="61"/>
                </a:cubicBezTo>
                <a:cubicBezTo>
                  <a:pt x="172" y="73"/>
                  <a:pt x="172" y="73"/>
                  <a:pt x="172" y="73"/>
                </a:cubicBezTo>
                <a:cubicBezTo>
                  <a:pt x="174" y="74"/>
                  <a:pt x="175" y="75"/>
                  <a:pt x="177" y="76"/>
                </a:cubicBezTo>
                <a:cubicBezTo>
                  <a:pt x="186" y="67"/>
                  <a:pt x="186" y="67"/>
                  <a:pt x="186" y="67"/>
                </a:cubicBezTo>
                <a:cubicBezTo>
                  <a:pt x="192" y="72"/>
                  <a:pt x="192" y="72"/>
                  <a:pt x="192" y="72"/>
                </a:cubicBezTo>
                <a:cubicBezTo>
                  <a:pt x="186" y="83"/>
                  <a:pt x="186" y="83"/>
                  <a:pt x="186" y="83"/>
                </a:cubicBezTo>
                <a:cubicBezTo>
                  <a:pt x="187" y="84"/>
                  <a:pt x="188" y="86"/>
                  <a:pt x="189" y="87"/>
                </a:cubicBezTo>
                <a:cubicBezTo>
                  <a:pt x="201" y="85"/>
                  <a:pt x="201" y="85"/>
                  <a:pt x="201" y="85"/>
                </a:cubicBezTo>
                <a:cubicBezTo>
                  <a:pt x="204" y="92"/>
                  <a:pt x="204" y="92"/>
                  <a:pt x="204" y="92"/>
                </a:cubicBezTo>
                <a:cubicBezTo>
                  <a:pt x="193" y="98"/>
                  <a:pt x="193" y="98"/>
                  <a:pt x="193" y="98"/>
                </a:cubicBezTo>
                <a:cubicBezTo>
                  <a:pt x="193" y="100"/>
                  <a:pt x="193" y="102"/>
                  <a:pt x="193" y="103"/>
                </a:cubicBezTo>
                <a:cubicBezTo>
                  <a:pt x="205" y="108"/>
                  <a:pt x="205" y="108"/>
                  <a:pt x="205" y="108"/>
                </a:cubicBezTo>
                <a:cubicBezTo>
                  <a:pt x="204" y="115"/>
                  <a:pt x="204" y="115"/>
                  <a:pt x="204" y="115"/>
                </a:cubicBezTo>
                <a:cubicBezTo>
                  <a:pt x="191" y="115"/>
                  <a:pt x="191" y="115"/>
                  <a:pt x="191" y="115"/>
                </a:cubicBezTo>
                <a:cubicBezTo>
                  <a:pt x="190" y="116"/>
                  <a:pt x="190" y="118"/>
                  <a:pt x="189" y="119"/>
                </a:cubicBezTo>
                <a:cubicBezTo>
                  <a:pt x="197" y="129"/>
                  <a:pt x="197" y="129"/>
                  <a:pt x="197" y="129"/>
                </a:cubicBezTo>
                <a:cubicBezTo>
                  <a:pt x="192" y="135"/>
                  <a:pt x="192" y="135"/>
                  <a:pt x="192" y="135"/>
                </a:cubicBezTo>
                <a:cubicBezTo>
                  <a:pt x="181" y="128"/>
                  <a:pt x="181" y="128"/>
                  <a:pt x="181" y="128"/>
                </a:cubicBezTo>
                <a:cubicBezTo>
                  <a:pt x="180" y="129"/>
                  <a:pt x="179" y="130"/>
                  <a:pt x="177" y="131"/>
                </a:cubicBezTo>
                <a:cubicBezTo>
                  <a:pt x="179" y="144"/>
                  <a:pt x="179" y="144"/>
                  <a:pt x="179" y="144"/>
                </a:cubicBezTo>
                <a:cubicBezTo>
                  <a:pt x="173" y="146"/>
                  <a:pt x="173" y="146"/>
                  <a:pt x="173" y="146"/>
                </a:cubicBezTo>
                <a:cubicBezTo>
                  <a:pt x="166" y="135"/>
                  <a:pt x="166" y="135"/>
                  <a:pt x="166" y="135"/>
                </a:cubicBezTo>
                <a:cubicBezTo>
                  <a:pt x="165" y="135"/>
                  <a:pt x="163" y="136"/>
                  <a:pt x="161" y="136"/>
                </a:cubicBezTo>
                <a:cubicBezTo>
                  <a:pt x="157" y="148"/>
                  <a:pt x="157" y="148"/>
                  <a:pt x="157" y="148"/>
                </a:cubicBezTo>
                <a:cubicBezTo>
                  <a:pt x="150" y="146"/>
                  <a:pt x="150" y="146"/>
                  <a:pt x="150" y="146"/>
                </a:cubicBezTo>
                <a:cubicBezTo>
                  <a:pt x="150" y="134"/>
                  <a:pt x="150" y="134"/>
                  <a:pt x="150" y="134"/>
                </a:cubicBezTo>
                <a:cubicBezTo>
                  <a:pt x="148" y="133"/>
                  <a:pt x="147" y="132"/>
                  <a:pt x="145" y="131"/>
                </a:cubicBezTo>
                <a:cubicBezTo>
                  <a:pt x="135" y="140"/>
                  <a:pt x="135" y="140"/>
                  <a:pt x="135" y="140"/>
                </a:cubicBezTo>
                <a:cubicBezTo>
                  <a:pt x="130" y="135"/>
                  <a:pt x="130" y="135"/>
                  <a:pt x="130" y="135"/>
                </a:cubicBezTo>
                <a:cubicBezTo>
                  <a:pt x="136" y="124"/>
                  <a:pt x="136" y="124"/>
                  <a:pt x="136" y="124"/>
                </a:cubicBezTo>
                <a:cubicBezTo>
                  <a:pt x="135" y="123"/>
                  <a:pt x="134" y="121"/>
                  <a:pt x="133" y="120"/>
                </a:cubicBezTo>
                <a:cubicBezTo>
                  <a:pt x="121" y="122"/>
                  <a:pt x="121" y="122"/>
                  <a:pt x="121" y="122"/>
                </a:cubicBezTo>
                <a:cubicBezTo>
                  <a:pt x="118" y="115"/>
                  <a:pt x="118" y="115"/>
                  <a:pt x="118" y="115"/>
                </a:cubicBezTo>
                <a:cubicBezTo>
                  <a:pt x="129" y="109"/>
                  <a:pt x="129" y="109"/>
                  <a:pt x="129" y="109"/>
                </a:cubicBezTo>
                <a:cubicBezTo>
                  <a:pt x="129" y="107"/>
                  <a:pt x="129" y="105"/>
                  <a:pt x="129" y="104"/>
                </a:cubicBezTo>
                <a:cubicBezTo>
                  <a:pt x="117" y="99"/>
                  <a:pt x="117" y="99"/>
                  <a:pt x="117" y="99"/>
                </a:cubicBezTo>
                <a:cubicBezTo>
                  <a:pt x="118" y="92"/>
                  <a:pt x="118" y="92"/>
                  <a:pt x="118" y="92"/>
                </a:cubicBezTo>
                <a:cubicBezTo>
                  <a:pt x="131" y="92"/>
                  <a:pt x="131" y="92"/>
                  <a:pt x="131" y="92"/>
                </a:cubicBezTo>
                <a:cubicBezTo>
                  <a:pt x="131" y="91"/>
                  <a:pt x="131" y="88"/>
                  <a:pt x="132" y="86"/>
                </a:cubicBezTo>
                <a:cubicBezTo>
                  <a:pt x="111" y="81"/>
                  <a:pt x="111" y="81"/>
                  <a:pt x="111" y="81"/>
                </a:cubicBezTo>
                <a:cubicBezTo>
                  <a:pt x="111" y="81"/>
                  <a:pt x="111" y="72"/>
                  <a:pt x="111" y="70"/>
                </a:cubicBezTo>
                <a:cubicBezTo>
                  <a:pt x="128" y="64"/>
                  <a:pt x="128" y="64"/>
                  <a:pt x="128" y="64"/>
                </a:cubicBezTo>
                <a:cubicBezTo>
                  <a:pt x="127" y="54"/>
                  <a:pt x="127" y="54"/>
                  <a:pt x="127" y="54"/>
                </a:cubicBezTo>
                <a:cubicBezTo>
                  <a:pt x="108" y="53"/>
                  <a:pt x="108" y="53"/>
                  <a:pt x="108" y="53"/>
                </a:cubicBezTo>
                <a:cubicBezTo>
                  <a:pt x="107" y="51"/>
                  <a:pt x="106" y="49"/>
                  <a:pt x="105" y="46"/>
                </a:cubicBezTo>
                <a:cubicBezTo>
                  <a:pt x="117" y="32"/>
                  <a:pt x="117" y="32"/>
                  <a:pt x="117" y="32"/>
                </a:cubicBezTo>
                <a:cubicBezTo>
                  <a:pt x="111" y="24"/>
                  <a:pt x="111" y="24"/>
                  <a:pt x="111" y="24"/>
                </a:cubicBezTo>
                <a:cubicBezTo>
                  <a:pt x="95" y="33"/>
                  <a:pt x="95" y="33"/>
                  <a:pt x="95" y="33"/>
                </a:cubicBezTo>
                <a:cubicBezTo>
                  <a:pt x="93" y="32"/>
                  <a:pt x="91" y="30"/>
                  <a:pt x="89" y="29"/>
                </a:cubicBezTo>
                <a:cubicBezTo>
                  <a:pt x="92" y="11"/>
                  <a:pt x="92" y="11"/>
                  <a:pt x="92" y="11"/>
                </a:cubicBezTo>
                <a:cubicBezTo>
                  <a:pt x="82" y="7"/>
                  <a:pt x="82" y="7"/>
                  <a:pt x="82" y="7"/>
                </a:cubicBezTo>
                <a:cubicBezTo>
                  <a:pt x="73" y="23"/>
                  <a:pt x="73" y="23"/>
                  <a:pt x="73" y="23"/>
                </a:cubicBezTo>
                <a:cubicBezTo>
                  <a:pt x="70" y="22"/>
                  <a:pt x="68" y="22"/>
                  <a:pt x="65" y="22"/>
                </a:cubicBezTo>
                <a:cubicBezTo>
                  <a:pt x="59" y="4"/>
                  <a:pt x="59" y="4"/>
                  <a:pt x="59" y="4"/>
                </a:cubicBezTo>
                <a:cubicBezTo>
                  <a:pt x="49" y="6"/>
                  <a:pt x="49" y="6"/>
                  <a:pt x="49" y="6"/>
                </a:cubicBezTo>
                <a:cubicBezTo>
                  <a:pt x="49" y="25"/>
                  <a:pt x="49" y="25"/>
                  <a:pt x="49" y="25"/>
                </a:cubicBezTo>
                <a:cubicBezTo>
                  <a:pt x="46" y="26"/>
                  <a:pt x="44" y="27"/>
                  <a:pt x="42" y="28"/>
                </a:cubicBezTo>
                <a:cubicBezTo>
                  <a:pt x="28" y="16"/>
                  <a:pt x="28" y="16"/>
                  <a:pt x="28" y="16"/>
                </a:cubicBezTo>
                <a:cubicBezTo>
                  <a:pt x="20" y="22"/>
                  <a:pt x="20" y="22"/>
                  <a:pt x="20" y="22"/>
                </a:cubicBezTo>
                <a:cubicBezTo>
                  <a:pt x="29" y="38"/>
                  <a:pt x="29" y="38"/>
                  <a:pt x="29" y="38"/>
                </a:cubicBezTo>
                <a:cubicBezTo>
                  <a:pt x="27" y="40"/>
                  <a:pt x="26" y="42"/>
                  <a:pt x="24" y="44"/>
                </a:cubicBezTo>
                <a:cubicBezTo>
                  <a:pt x="6" y="41"/>
                  <a:pt x="6" y="41"/>
                  <a:pt x="6" y="41"/>
                </a:cubicBezTo>
                <a:cubicBezTo>
                  <a:pt x="2" y="50"/>
                  <a:pt x="2" y="50"/>
                  <a:pt x="2" y="50"/>
                </a:cubicBezTo>
                <a:cubicBezTo>
                  <a:pt x="18" y="60"/>
                  <a:pt x="18" y="60"/>
                  <a:pt x="18" y="60"/>
                </a:cubicBezTo>
                <a:cubicBezTo>
                  <a:pt x="18" y="62"/>
                  <a:pt x="18" y="65"/>
                  <a:pt x="18" y="67"/>
                </a:cubicBezTo>
                <a:cubicBezTo>
                  <a:pt x="0" y="74"/>
                  <a:pt x="0" y="74"/>
                  <a:pt x="0" y="74"/>
                </a:cubicBezTo>
                <a:cubicBezTo>
                  <a:pt x="2" y="84"/>
                  <a:pt x="2" y="84"/>
                  <a:pt x="2" y="84"/>
                </a:cubicBezTo>
                <a:cubicBezTo>
                  <a:pt x="20" y="84"/>
                  <a:pt x="20" y="84"/>
                  <a:pt x="20" y="84"/>
                </a:cubicBezTo>
                <a:cubicBezTo>
                  <a:pt x="21" y="87"/>
                  <a:pt x="22" y="89"/>
                  <a:pt x="23" y="91"/>
                </a:cubicBezTo>
                <a:cubicBezTo>
                  <a:pt x="11" y="105"/>
                  <a:pt x="11" y="105"/>
                  <a:pt x="11" y="105"/>
                </a:cubicBezTo>
                <a:cubicBezTo>
                  <a:pt x="18" y="113"/>
                  <a:pt x="18" y="113"/>
                  <a:pt x="18" y="113"/>
                </a:cubicBezTo>
                <a:cubicBezTo>
                  <a:pt x="34" y="104"/>
                  <a:pt x="34" y="104"/>
                  <a:pt x="34" y="104"/>
                </a:cubicBezTo>
                <a:cubicBezTo>
                  <a:pt x="36" y="106"/>
                  <a:pt x="38" y="107"/>
                  <a:pt x="40" y="108"/>
                </a:cubicBezTo>
                <a:cubicBezTo>
                  <a:pt x="36" y="127"/>
                  <a:pt x="36" y="127"/>
                  <a:pt x="36" y="127"/>
                </a:cubicBezTo>
                <a:cubicBezTo>
                  <a:pt x="46" y="130"/>
                  <a:pt x="46" y="130"/>
                  <a:pt x="46" y="130"/>
                </a:cubicBezTo>
                <a:cubicBezTo>
                  <a:pt x="56" y="114"/>
                  <a:pt x="56" y="114"/>
                  <a:pt x="56" y="114"/>
                </a:cubicBezTo>
                <a:cubicBezTo>
                  <a:pt x="58" y="115"/>
                  <a:pt x="61" y="115"/>
                  <a:pt x="63" y="115"/>
                </a:cubicBezTo>
                <a:cubicBezTo>
                  <a:pt x="69" y="133"/>
                  <a:pt x="69" y="133"/>
                  <a:pt x="69" y="133"/>
                </a:cubicBezTo>
                <a:cubicBezTo>
                  <a:pt x="79" y="131"/>
                  <a:pt x="79" y="131"/>
                  <a:pt x="79" y="131"/>
                </a:cubicBezTo>
                <a:cubicBezTo>
                  <a:pt x="80" y="113"/>
                  <a:pt x="80" y="113"/>
                  <a:pt x="80" y="113"/>
                </a:cubicBezTo>
                <a:cubicBezTo>
                  <a:pt x="82" y="112"/>
                  <a:pt x="84" y="111"/>
                  <a:pt x="87" y="110"/>
                </a:cubicBezTo>
                <a:cubicBezTo>
                  <a:pt x="101" y="122"/>
                  <a:pt x="101" y="122"/>
                  <a:pt x="101" y="122"/>
                </a:cubicBezTo>
                <a:cubicBezTo>
                  <a:pt x="109" y="115"/>
                  <a:pt x="109" y="115"/>
                  <a:pt x="109" y="115"/>
                </a:cubicBezTo>
                <a:cubicBezTo>
                  <a:pt x="100" y="99"/>
                  <a:pt x="100" y="99"/>
                  <a:pt x="100" y="99"/>
                </a:cubicBezTo>
                <a:moveTo>
                  <a:pt x="67" y="87"/>
                </a:moveTo>
                <a:cubicBezTo>
                  <a:pt x="57" y="88"/>
                  <a:pt x="48" y="82"/>
                  <a:pt x="46" y="72"/>
                </a:cubicBezTo>
                <a:cubicBezTo>
                  <a:pt x="44" y="61"/>
                  <a:pt x="51" y="52"/>
                  <a:pt x="61" y="51"/>
                </a:cubicBezTo>
                <a:cubicBezTo>
                  <a:pt x="71" y="49"/>
                  <a:pt x="81" y="56"/>
                  <a:pt x="82" y="66"/>
                </a:cubicBezTo>
                <a:cubicBezTo>
                  <a:pt x="84" y="76"/>
                  <a:pt x="77" y="85"/>
                  <a:pt x="67" y="87"/>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709"/>
          <p:cNvSpPr>
            <a:spLocks noChangeAspect="1" noEditPoints="1"/>
          </p:cNvSpPr>
          <p:nvPr/>
        </p:nvSpPr>
        <p:spPr bwMode="auto">
          <a:xfrm>
            <a:off x="4909426" y="1705966"/>
            <a:ext cx="547660" cy="540000"/>
          </a:xfrm>
          <a:custGeom>
            <a:avLst/>
            <a:gdLst/>
            <a:ahLst/>
            <a:cxnLst>
              <a:cxn ang="0">
                <a:pos x="123" y="62"/>
              </a:cxn>
              <a:cxn ang="0">
                <a:pos x="123" y="31"/>
              </a:cxn>
              <a:cxn ang="0">
                <a:pos x="75" y="109"/>
              </a:cxn>
              <a:cxn ang="0">
                <a:pos x="41" y="109"/>
              </a:cxn>
              <a:cxn ang="0">
                <a:pos x="75" y="109"/>
              </a:cxn>
              <a:cxn ang="0">
                <a:pos x="127" y="77"/>
              </a:cxn>
              <a:cxn ang="0">
                <a:pos x="133" y="76"/>
              </a:cxn>
              <a:cxn ang="0">
                <a:pos x="153" y="84"/>
              </a:cxn>
              <a:cxn ang="0">
                <a:pos x="150" y="63"/>
              </a:cxn>
              <a:cxn ang="0">
                <a:pos x="170" y="57"/>
              </a:cxn>
              <a:cxn ang="0">
                <a:pos x="154" y="43"/>
              </a:cxn>
              <a:cxn ang="0">
                <a:pos x="165" y="24"/>
              </a:cxn>
              <a:cxn ang="0">
                <a:pos x="144" y="24"/>
              </a:cxn>
              <a:cxn ang="0">
                <a:pos x="141" y="3"/>
              </a:cxn>
              <a:cxn ang="0">
                <a:pos x="125" y="16"/>
              </a:cxn>
              <a:cxn ang="0">
                <a:pos x="109" y="1"/>
              </a:cxn>
              <a:cxn ang="0">
                <a:pos x="105" y="22"/>
              </a:cxn>
              <a:cxn ang="0">
                <a:pos x="83" y="21"/>
              </a:cxn>
              <a:cxn ang="0">
                <a:pos x="93" y="40"/>
              </a:cxn>
              <a:cxn ang="0">
                <a:pos x="77" y="53"/>
              </a:cxn>
              <a:cxn ang="0">
                <a:pos x="96" y="61"/>
              </a:cxn>
              <a:cxn ang="0">
                <a:pos x="90" y="81"/>
              </a:cxn>
              <a:cxn ang="0">
                <a:pos x="111" y="84"/>
              </a:cxn>
              <a:cxn ang="0">
                <a:pos x="100" y="101"/>
              </a:cxn>
              <a:cxn ang="0">
                <a:pos x="117" y="114"/>
              </a:cxn>
              <a:cxn ang="0">
                <a:pos x="98" y="123"/>
              </a:cxn>
              <a:cxn ang="0">
                <a:pos x="106" y="142"/>
              </a:cxn>
              <a:cxn ang="0">
                <a:pos x="86" y="141"/>
              </a:cxn>
              <a:cxn ang="0">
                <a:pos x="83" y="162"/>
              </a:cxn>
              <a:cxn ang="0">
                <a:pos x="66" y="151"/>
              </a:cxn>
              <a:cxn ang="0">
                <a:pos x="53" y="167"/>
              </a:cxn>
              <a:cxn ang="0">
                <a:pos x="44" y="149"/>
              </a:cxn>
              <a:cxn ang="0">
                <a:pos x="25" y="157"/>
              </a:cxn>
              <a:cxn ang="0">
                <a:pos x="26" y="136"/>
              </a:cxn>
              <a:cxn ang="0">
                <a:pos x="5" y="134"/>
              </a:cxn>
              <a:cxn ang="0">
                <a:pos x="16" y="116"/>
              </a:cxn>
              <a:cxn ang="0">
                <a:pos x="0" y="104"/>
              </a:cxn>
              <a:cxn ang="0">
                <a:pos x="18" y="95"/>
              </a:cxn>
              <a:cxn ang="0">
                <a:pos x="10" y="76"/>
              </a:cxn>
              <a:cxn ang="0">
                <a:pos x="31" y="77"/>
              </a:cxn>
              <a:cxn ang="0">
                <a:pos x="33" y="56"/>
              </a:cxn>
              <a:cxn ang="0">
                <a:pos x="51" y="67"/>
              </a:cxn>
              <a:cxn ang="0">
                <a:pos x="63" y="50"/>
              </a:cxn>
              <a:cxn ang="0">
                <a:pos x="72" y="69"/>
              </a:cxn>
            </a:cxnLst>
            <a:rect l="0" t="0" r="r" b="b"/>
            <a:pathLst>
              <a:path w="170" h="167">
                <a:moveTo>
                  <a:pt x="139" y="47"/>
                </a:moveTo>
                <a:cubicBezTo>
                  <a:pt x="139" y="55"/>
                  <a:pt x="132" y="62"/>
                  <a:pt x="123" y="62"/>
                </a:cubicBezTo>
                <a:cubicBezTo>
                  <a:pt x="115" y="62"/>
                  <a:pt x="108" y="55"/>
                  <a:pt x="108" y="47"/>
                </a:cubicBezTo>
                <a:cubicBezTo>
                  <a:pt x="108" y="38"/>
                  <a:pt x="115" y="31"/>
                  <a:pt x="123" y="31"/>
                </a:cubicBezTo>
                <a:cubicBezTo>
                  <a:pt x="132" y="31"/>
                  <a:pt x="139" y="38"/>
                  <a:pt x="139" y="47"/>
                </a:cubicBezTo>
                <a:close/>
                <a:moveTo>
                  <a:pt x="75" y="109"/>
                </a:moveTo>
                <a:cubicBezTo>
                  <a:pt x="75" y="118"/>
                  <a:pt x="67" y="126"/>
                  <a:pt x="58" y="126"/>
                </a:cubicBezTo>
                <a:cubicBezTo>
                  <a:pt x="49" y="126"/>
                  <a:pt x="41" y="118"/>
                  <a:pt x="41" y="109"/>
                </a:cubicBezTo>
                <a:cubicBezTo>
                  <a:pt x="41" y="100"/>
                  <a:pt x="49" y="92"/>
                  <a:pt x="58" y="92"/>
                </a:cubicBezTo>
                <a:cubicBezTo>
                  <a:pt x="67" y="92"/>
                  <a:pt x="75" y="100"/>
                  <a:pt x="75" y="109"/>
                </a:cubicBezTo>
                <a:close/>
                <a:moveTo>
                  <a:pt x="122" y="94"/>
                </a:moveTo>
                <a:cubicBezTo>
                  <a:pt x="127" y="77"/>
                  <a:pt x="127" y="77"/>
                  <a:pt x="127" y="77"/>
                </a:cubicBezTo>
                <a:cubicBezTo>
                  <a:pt x="128" y="77"/>
                  <a:pt x="129" y="77"/>
                  <a:pt x="130" y="77"/>
                </a:cubicBezTo>
                <a:cubicBezTo>
                  <a:pt x="131" y="77"/>
                  <a:pt x="132" y="76"/>
                  <a:pt x="133" y="76"/>
                </a:cubicBezTo>
                <a:cubicBezTo>
                  <a:pt x="145" y="89"/>
                  <a:pt x="145" y="89"/>
                  <a:pt x="145" y="89"/>
                </a:cubicBezTo>
                <a:cubicBezTo>
                  <a:pt x="153" y="84"/>
                  <a:pt x="153" y="84"/>
                  <a:pt x="153" y="84"/>
                </a:cubicBezTo>
                <a:cubicBezTo>
                  <a:pt x="146" y="68"/>
                  <a:pt x="146" y="68"/>
                  <a:pt x="146" y="68"/>
                </a:cubicBezTo>
                <a:cubicBezTo>
                  <a:pt x="147" y="66"/>
                  <a:pt x="149" y="65"/>
                  <a:pt x="150" y="63"/>
                </a:cubicBezTo>
                <a:cubicBezTo>
                  <a:pt x="167" y="66"/>
                  <a:pt x="167" y="66"/>
                  <a:pt x="167" y="66"/>
                </a:cubicBezTo>
                <a:cubicBezTo>
                  <a:pt x="170" y="57"/>
                  <a:pt x="170" y="57"/>
                  <a:pt x="170" y="57"/>
                </a:cubicBezTo>
                <a:cubicBezTo>
                  <a:pt x="154" y="48"/>
                  <a:pt x="154" y="48"/>
                  <a:pt x="154" y="48"/>
                </a:cubicBezTo>
                <a:cubicBezTo>
                  <a:pt x="154" y="46"/>
                  <a:pt x="154" y="45"/>
                  <a:pt x="154" y="43"/>
                </a:cubicBezTo>
                <a:cubicBezTo>
                  <a:pt x="169" y="33"/>
                  <a:pt x="169" y="33"/>
                  <a:pt x="169" y="33"/>
                </a:cubicBezTo>
                <a:cubicBezTo>
                  <a:pt x="165" y="24"/>
                  <a:pt x="165" y="24"/>
                  <a:pt x="165" y="24"/>
                </a:cubicBezTo>
                <a:cubicBezTo>
                  <a:pt x="148" y="28"/>
                  <a:pt x="148" y="28"/>
                  <a:pt x="148" y="28"/>
                </a:cubicBezTo>
                <a:cubicBezTo>
                  <a:pt x="147" y="27"/>
                  <a:pt x="146" y="25"/>
                  <a:pt x="144" y="24"/>
                </a:cubicBezTo>
                <a:cubicBezTo>
                  <a:pt x="150" y="7"/>
                  <a:pt x="150" y="7"/>
                  <a:pt x="150" y="7"/>
                </a:cubicBezTo>
                <a:cubicBezTo>
                  <a:pt x="141" y="3"/>
                  <a:pt x="141" y="3"/>
                  <a:pt x="141" y="3"/>
                </a:cubicBezTo>
                <a:cubicBezTo>
                  <a:pt x="131" y="17"/>
                  <a:pt x="131" y="17"/>
                  <a:pt x="131" y="17"/>
                </a:cubicBezTo>
                <a:cubicBezTo>
                  <a:pt x="129" y="16"/>
                  <a:pt x="127" y="16"/>
                  <a:pt x="125" y="16"/>
                </a:cubicBezTo>
                <a:cubicBezTo>
                  <a:pt x="118" y="0"/>
                  <a:pt x="118" y="0"/>
                  <a:pt x="118" y="0"/>
                </a:cubicBezTo>
                <a:cubicBezTo>
                  <a:pt x="109" y="1"/>
                  <a:pt x="109" y="1"/>
                  <a:pt x="109" y="1"/>
                </a:cubicBezTo>
                <a:cubicBezTo>
                  <a:pt x="110" y="19"/>
                  <a:pt x="110" y="19"/>
                  <a:pt x="110" y="19"/>
                </a:cubicBezTo>
                <a:cubicBezTo>
                  <a:pt x="108" y="20"/>
                  <a:pt x="106" y="21"/>
                  <a:pt x="105" y="22"/>
                </a:cubicBezTo>
                <a:cubicBezTo>
                  <a:pt x="89" y="14"/>
                  <a:pt x="89" y="14"/>
                  <a:pt x="89" y="14"/>
                </a:cubicBezTo>
                <a:cubicBezTo>
                  <a:pt x="83" y="21"/>
                  <a:pt x="83" y="21"/>
                  <a:pt x="83" y="21"/>
                </a:cubicBezTo>
                <a:cubicBezTo>
                  <a:pt x="95" y="34"/>
                  <a:pt x="95" y="34"/>
                  <a:pt x="95" y="34"/>
                </a:cubicBezTo>
                <a:cubicBezTo>
                  <a:pt x="94" y="36"/>
                  <a:pt x="94" y="38"/>
                  <a:pt x="93" y="40"/>
                </a:cubicBezTo>
                <a:cubicBezTo>
                  <a:pt x="76" y="44"/>
                  <a:pt x="76" y="44"/>
                  <a:pt x="76" y="44"/>
                </a:cubicBezTo>
                <a:cubicBezTo>
                  <a:pt x="77" y="53"/>
                  <a:pt x="77" y="53"/>
                  <a:pt x="77" y="53"/>
                </a:cubicBezTo>
                <a:cubicBezTo>
                  <a:pt x="94" y="56"/>
                  <a:pt x="94" y="56"/>
                  <a:pt x="94" y="56"/>
                </a:cubicBezTo>
                <a:cubicBezTo>
                  <a:pt x="95" y="57"/>
                  <a:pt x="95" y="59"/>
                  <a:pt x="96" y="61"/>
                </a:cubicBezTo>
                <a:cubicBezTo>
                  <a:pt x="87" y="75"/>
                  <a:pt x="87" y="75"/>
                  <a:pt x="87" y="75"/>
                </a:cubicBezTo>
                <a:cubicBezTo>
                  <a:pt x="90" y="81"/>
                  <a:pt x="90" y="81"/>
                  <a:pt x="90" y="81"/>
                </a:cubicBezTo>
                <a:cubicBezTo>
                  <a:pt x="106" y="76"/>
                  <a:pt x="106" y="76"/>
                  <a:pt x="106" y="76"/>
                </a:cubicBezTo>
                <a:cubicBezTo>
                  <a:pt x="111" y="84"/>
                  <a:pt x="111" y="84"/>
                  <a:pt x="111" y="84"/>
                </a:cubicBezTo>
                <a:cubicBezTo>
                  <a:pt x="98" y="95"/>
                  <a:pt x="98" y="95"/>
                  <a:pt x="98" y="95"/>
                </a:cubicBezTo>
                <a:cubicBezTo>
                  <a:pt x="99" y="97"/>
                  <a:pt x="100" y="99"/>
                  <a:pt x="100" y="101"/>
                </a:cubicBezTo>
                <a:cubicBezTo>
                  <a:pt x="117" y="104"/>
                  <a:pt x="117" y="104"/>
                  <a:pt x="117" y="104"/>
                </a:cubicBezTo>
                <a:cubicBezTo>
                  <a:pt x="117" y="114"/>
                  <a:pt x="117" y="114"/>
                  <a:pt x="117" y="114"/>
                </a:cubicBezTo>
                <a:cubicBezTo>
                  <a:pt x="100" y="116"/>
                  <a:pt x="100" y="116"/>
                  <a:pt x="100" y="116"/>
                </a:cubicBezTo>
                <a:cubicBezTo>
                  <a:pt x="100" y="119"/>
                  <a:pt x="99" y="121"/>
                  <a:pt x="98" y="123"/>
                </a:cubicBezTo>
                <a:cubicBezTo>
                  <a:pt x="111" y="134"/>
                  <a:pt x="111" y="134"/>
                  <a:pt x="111" y="134"/>
                </a:cubicBezTo>
                <a:cubicBezTo>
                  <a:pt x="106" y="142"/>
                  <a:pt x="106" y="142"/>
                  <a:pt x="106" y="142"/>
                </a:cubicBezTo>
                <a:cubicBezTo>
                  <a:pt x="90" y="136"/>
                  <a:pt x="90" y="136"/>
                  <a:pt x="90" y="136"/>
                </a:cubicBezTo>
                <a:cubicBezTo>
                  <a:pt x="89" y="138"/>
                  <a:pt x="87" y="140"/>
                  <a:pt x="86" y="141"/>
                </a:cubicBezTo>
                <a:cubicBezTo>
                  <a:pt x="91" y="157"/>
                  <a:pt x="91" y="157"/>
                  <a:pt x="91" y="157"/>
                </a:cubicBezTo>
                <a:cubicBezTo>
                  <a:pt x="83" y="162"/>
                  <a:pt x="83" y="162"/>
                  <a:pt x="83" y="162"/>
                </a:cubicBezTo>
                <a:cubicBezTo>
                  <a:pt x="72" y="149"/>
                  <a:pt x="72" y="149"/>
                  <a:pt x="72" y="149"/>
                </a:cubicBezTo>
                <a:cubicBezTo>
                  <a:pt x="70" y="150"/>
                  <a:pt x="68" y="150"/>
                  <a:pt x="66" y="151"/>
                </a:cubicBezTo>
                <a:cubicBezTo>
                  <a:pt x="63" y="167"/>
                  <a:pt x="63" y="167"/>
                  <a:pt x="63" y="167"/>
                </a:cubicBezTo>
                <a:cubicBezTo>
                  <a:pt x="53" y="167"/>
                  <a:pt x="53" y="167"/>
                  <a:pt x="53" y="167"/>
                </a:cubicBezTo>
                <a:cubicBezTo>
                  <a:pt x="50" y="151"/>
                  <a:pt x="50" y="151"/>
                  <a:pt x="50" y="151"/>
                </a:cubicBezTo>
                <a:cubicBezTo>
                  <a:pt x="48" y="150"/>
                  <a:pt x="46" y="150"/>
                  <a:pt x="44" y="149"/>
                </a:cubicBezTo>
                <a:cubicBezTo>
                  <a:pt x="33" y="162"/>
                  <a:pt x="33" y="162"/>
                  <a:pt x="33" y="162"/>
                </a:cubicBezTo>
                <a:cubicBezTo>
                  <a:pt x="25" y="157"/>
                  <a:pt x="25" y="157"/>
                  <a:pt x="25" y="157"/>
                </a:cubicBezTo>
                <a:cubicBezTo>
                  <a:pt x="31" y="141"/>
                  <a:pt x="31" y="141"/>
                  <a:pt x="31" y="141"/>
                </a:cubicBezTo>
                <a:cubicBezTo>
                  <a:pt x="29" y="140"/>
                  <a:pt x="27" y="138"/>
                  <a:pt x="26" y="136"/>
                </a:cubicBezTo>
                <a:cubicBezTo>
                  <a:pt x="10" y="142"/>
                  <a:pt x="10" y="142"/>
                  <a:pt x="10" y="142"/>
                </a:cubicBezTo>
                <a:cubicBezTo>
                  <a:pt x="5" y="134"/>
                  <a:pt x="5" y="134"/>
                  <a:pt x="5" y="134"/>
                </a:cubicBezTo>
                <a:cubicBezTo>
                  <a:pt x="18" y="123"/>
                  <a:pt x="18" y="123"/>
                  <a:pt x="18" y="123"/>
                </a:cubicBezTo>
                <a:cubicBezTo>
                  <a:pt x="17" y="121"/>
                  <a:pt x="17" y="119"/>
                  <a:pt x="16" y="116"/>
                </a:cubicBezTo>
                <a:cubicBezTo>
                  <a:pt x="0" y="114"/>
                  <a:pt x="0" y="114"/>
                  <a:pt x="0" y="114"/>
                </a:cubicBezTo>
                <a:cubicBezTo>
                  <a:pt x="0" y="104"/>
                  <a:pt x="0" y="104"/>
                  <a:pt x="0" y="104"/>
                </a:cubicBezTo>
                <a:cubicBezTo>
                  <a:pt x="16" y="101"/>
                  <a:pt x="16" y="101"/>
                  <a:pt x="16" y="101"/>
                </a:cubicBezTo>
                <a:cubicBezTo>
                  <a:pt x="17" y="99"/>
                  <a:pt x="17" y="97"/>
                  <a:pt x="18" y="95"/>
                </a:cubicBezTo>
                <a:cubicBezTo>
                  <a:pt x="5" y="84"/>
                  <a:pt x="5" y="84"/>
                  <a:pt x="5" y="84"/>
                </a:cubicBezTo>
                <a:cubicBezTo>
                  <a:pt x="10" y="76"/>
                  <a:pt x="10" y="76"/>
                  <a:pt x="10" y="76"/>
                </a:cubicBezTo>
                <a:cubicBezTo>
                  <a:pt x="26" y="81"/>
                  <a:pt x="26" y="81"/>
                  <a:pt x="26" y="81"/>
                </a:cubicBezTo>
                <a:cubicBezTo>
                  <a:pt x="27" y="80"/>
                  <a:pt x="29" y="78"/>
                  <a:pt x="31" y="77"/>
                </a:cubicBezTo>
                <a:cubicBezTo>
                  <a:pt x="25" y="61"/>
                  <a:pt x="25" y="61"/>
                  <a:pt x="25" y="61"/>
                </a:cubicBezTo>
                <a:cubicBezTo>
                  <a:pt x="33" y="56"/>
                  <a:pt x="33" y="56"/>
                  <a:pt x="33" y="56"/>
                </a:cubicBezTo>
                <a:cubicBezTo>
                  <a:pt x="44" y="69"/>
                  <a:pt x="44" y="69"/>
                  <a:pt x="44" y="69"/>
                </a:cubicBezTo>
                <a:cubicBezTo>
                  <a:pt x="46" y="68"/>
                  <a:pt x="48" y="67"/>
                  <a:pt x="51" y="67"/>
                </a:cubicBezTo>
                <a:cubicBezTo>
                  <a:pt x="53" y="50"/>
                  <a:pt x="53" y="50"/>
                  <a:pt x="53" y="50"/>
                </a:cubicBezTo>
                <a:cubicBezTo>
                  <a:pt x="63" y="50"/>
                  <a:pt x="63" y="50"/>
                  <a:pt x="63" y="50"/>
                </a:cubicBezTo>
                <a:cubicBezTo>
                  <a:pt x="66" y="67"/>
                  <a:pt x="66" y="67"/>
                  <a:pt x="66" y="67"/>
                </a:cubicBezTo>
                <a:cubicBezTo>
                  <a:pt x="68" y="67"/>
                  <a:pt x="70" y="68"/>
                  <a:pt x="72" y="69"/>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685"/>
          <p:cNvSpPr>
            <a:spLocks noChangeAspect="1"/>
          </p:cNvSpPr>
          <p:nvPr/>
        </p:nvSpPr>
        <p:spPr bwMode="auto">
          <a:xfrm>
            <a:off x="10067901" y="1606868"/>
            <a:ext cx="481622" cy="540000"/>
          </a:xfrm>
          <a:custGeom>
            <a:avLst/>
            <a:gdLst/>
            <a:ahLst/>
            <a:cxnLst>
              <a:cxn ang="0">
                <a:pos x="85" y="1"/>
              </a:cxn>
              <a:cxn ang="0">
                <a:pos x="136" y="22"/>
              </a:cxn>
              <a:cxn ang="0">
                <a:pos x="157" y="30"/>
              </a:cxn>
              <a:cxn ang="0">
                <a:pos x="134" y="36"/>
              </a:cxn>
              <a:cxn ang="0">
                <a:pos x="80" y="32"/>
              </a:cxn>
              <a:cxn ang="0">
                <a:pos x="80" y="132"/>
              </a:cxn>
              <a:cxn ang="0">
                <a:pos x="57" y="166"/>
              </a:cxn>
              <a:cxn ang="0">
                <a:pos x="8" y="156"/>
              </a:cxn>
              <a:cxn ang="0">
                <a:pos x="28" y="110"/>
              </a:cxn>
              <a:cxn ang="0">
                <a:pos x="67" y="109"/>
              </a:cxn>
            </a:cxnLst>
            <a:rect l="0" t="0" r="r" b="b"/>
            <a:pathLst>
              <a:path w="157" h="176">
                <a:moveTo>
                  <a:pt x="85" y="1"/>
                </a:moveTo>
                <a:cubicBezTo>
                  <a:pt x="105" y="0"/>
                  <a:pt x="123" y="16"/>
                  <a:pt x="136" y="22"/>
                </a:cubicBezTo>
                <a:cubicBezTo>
                  <a:pt x="149" y="30"/>
                  <a:pt x="157" y="29"/>
                  <a:pt x="157" y="30"/>
                </a:cubicBezTo>
                <a:cubicBezTo>
                  <a:pt x="157" y="29"/>
                  <a:pt x="148" y="37"/>
                  <a:pt x="134" y="36"/>
                </a:cubicBezTo>
                <a:cubicBezTo>
                  <a:pt x="120" y="36"/>
                  <a:pt x="101" y="27"/>
                  <a:pt x="80" y="32"/>
                </a:cubicBezTo>
                <a:cubicBezTo>
                  <a:pt x="80" y="132"/>
                  <a:pt x="80" y="132"/>
                  <a:pt x="80" y="132"/>
                </a:cubicBezTo>
                <a:cubicBezTo>
                  <a:pt x="80" y="145"/>
                  <a:pt x="72" y="158"/>
                  <a:pt x="57" y="166"/>
                </a:cubicBezTo>
                <a:cubicBezTo>
                  <a:pt x="38" y="176"/>
                  <a:pt x="16" y="172"/>
                  <a:pt x="8" y="156"/>
                </a:cubicBezTo>
                <a:cubicBezTo>
                  <a:pt x="0" y="140"/>
                  <a:pt x="8" y="120"/>
                  <a:pt x="28" y="110"/>
                </a:cubicBezTo>
                <a:cubicBezTo>
                  <a:pt x="41" y="102"/>
                  <a:pt x="56" y="103"/>
                  <a:pt x="67" y="109"/>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697"/>
          <p:cNvSpPr>
            <a:spLocks noChangeAspect="1" noEditPoints="1"/>
          </p:cNvSpPr>
          <p:nvPr/>
        </p:nvSpPr>
        <p:spPr bwMode="auto">
          <a:xfrm>
            <a:off x="8386609" y="1760626"/>
            <a:ext cx="504000" cy="419413"/>
          </a:xfrm>
          <a:custGeom>
            <a:avLst/>
            <a:gdLst/>
            <a:ahLst/>
            <a:cxnLst>
              <a:cxn ang="0">
                <a:pos x="104" y="74"/>
              </a:cxn>
              <a:cxn ang="0">
                <a:pos x="104" y="0"/>
              </a:cxn>
              <a:cxn ang="0">
                <a:pos x="67" y="0"/>
              </a:cxn>
              <a:cxn ang="0">
                <a:pos x="67" y="74"/>
              </a:cxn>
              <a:cxn ang="0">
                <a:pos x="42" y="74"/>
              </a:cxn>
              <a:cxn ang="0">
                <a:pos x="85" y="117"/>
              </a:cxn>
              <a:cxn ang="0">
                <a:pos x="128" y="74"/>
              </a:cxn>
              <a:cxn ang="0">
                <a:pos x="104" y="74"/>
              </a:cxn>
              <a:cxn ang="0">
                <a:pos x="170" y="98"/>
              </a:cxn>
              <a:cxn ang="0">
                <a:pos x="170" y="132"/>
              </a:cxn>
              <a:cxn ang="0">
                <a:pos x="163" y="141"/>
              </a:cxn>
              <a:cxn ang="0">
                <a:pos x="8" y="141"/>
              </a:cxn>
              <a:cxn ang="0">
                <a:pos x="0" y="132"/>
              </a:cxn>
              <a:cxn ang="0">
                <a:pos x="0" y="98"/>
              </a:cxn>
            </a:cxnLst>
            <a:rect l="0" t="0" r="r" b="b"/>
            <a:pathLst>
              <a:path w="170" h="141">
                <a:moveTo>
                  <a:pt x="104" y="74"/>
                </a:moveTo>
                <a:cubicBezTo>
                  <a:pt x="104" y="0"/>
                  <a:pt x="104" y="0"/>
                  <a:pt x="104" y="0"/>
                </a:cubicBezTo>
                <a:cubicBezTo>
                  <a:pt x="67" y="0"/>
                  <a:pt x="67" y="0"/>
                  <a:pt x="67" y="0"/>
                </a:cubicBezTo>
                <a:cubicBezTo>
                  <a:pt x="67" y="74"/>
                  <a:pt x="67" y="74"/>
                  <a:pt x="67" y="74"/>
                </a:cubicBezTo>
                <a:cubicBezTo>
                  <a:pt x="42" y="74"/>
                  <a:pt x="42" y="74"/>
                  <a:pt x="42" y="74"/>
                </a:cubicBezTo>
                <a:cubicBezTo>
                  <a:pt x="85" y="117"/>
                  <a:pt x="85" y="117"/>
                  <a:pt x="85" y="117"/>
                </a:cubicBezTo>
                <a:cubicBezTo>
                  <a:pt x="128" y="74"/>
                  <a:pt x="128" y="74"/>
                  <a:pt x="128" y="74"/>
                </a:cubicBezTo>
                <a:lnTo>
                  <a:pt x="104" y="74"/>
                </a:lnTo>
                <a:close/>
                <a:moveTo>
                  <a:pt x="170" y="98"/>
                </a:moveTo>
                <a:cubicBezTo>
                  <a:pt x="170" y="132"/>
                  <a:pt x="170" y="132"/>
                  <a:pt x="170" y="132"/>
                </a:cubicBezTo>
                <a:cubicBezTo>
                  <a:pt x="170" y="137"/>
                  <a:pt x="167" y="141"/>
                  <a:pt x="163" y="141"/>
                </a:cubicBezTo>
                <a:cubicBezTo>
                  <a:pt x="8" y="141"/>
                  <a:pt x="8" y="141"/>
                  <a:pt x="8" y="141"/>
                </a:cubicBezTo>
                <a:cubicBezTo>
                  <a:pt x="4" y="141"/>
                  <a:pt x="0" y="137"/>
                  <a:pt x="0" y="132"/>
                </a:cubicBezTo>
                <a:cubicBezTo>
                  <a:pt x="0" y="98"/>
                  <a:pt x="0" y="98"/>
                  <a:pt x="0" y="9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698"/>
          <p:cNvSpPr>
            <a:spLocks noChangeAspect="1" noEditPoints="1"/>
          </p:cNvSpPr>
          <p:nvPr/>
        </p:nvSpPr>
        <p:spPr bwMode="auto">
          <a:xfrm>
            <a:off x="9215210" y="2003147"/>
            <a:ext cx="540000" cy="131098"/>
          </a:xfrm>
          <a:custGeom>
            <a:avLst/>
            <a:gdLst/>
            <a:ahLst/>
            <a:cxnLst>
              <a:cxn ang="0">
                <a:pos x="69" y="25"/>
              </a:cxn>
              <a:cxn ang="0">
                <a:pos x="135" y="25"/>
              </a:cxn>
              <a:cxn ang="0">
                <a:pos x="122" y="7"/>
              </a:cxn>
              <a:cxn ang="0">
                <a:pos x="140" y="0"/>
              </a:cxn>
              <a:cxn ang="0">
                <a:pos x="179" y="0"/>
              </a:cxn>
              <a:cxn ang="0">
                <a:pos x="197" y="7"/>
              </a:cxn>
              <a:cxn ang="0">
                <a:pos x="205" y="25"/>
              </a:cxn>
              <a:cxn ang="0">
                <a:pos x="197" y="43"/>
              </a:cxn>
              <a:cxn ang="0">
                <a:pos x="179" y="50"/>
              </a:cxn>
              <a:cxn ang="0">
                <a:pos x="140" y="50"/>
              </a:cxn>
              <a:cxn ang="0">
                <a:pos x="122" y="43"/>
              </a:cxn>
              <a:cxn ang="0">
                <a:pos x="83" y="43"/>
              </a:cxn>
              <a:cxn ang="0">
                <a:pos x="65" y="50"/>
              </a:cxn>
              <a:cxn ang="0">
                <a:pos x="26" y="50"/>
              </a:cxn>
              <a:cxn ang="0">
                <a:pos x="8" y="43"/>
              </a:cxn>
              <a:cxn ang="0">
                <a:pos x="0" y="25"/>
              </a:cxn>
              <a:cxn ang="0">
                <a:pos x="8" y="7"/>
              </a:cxn>
              <a:cxn ang="0">
                <a:pos x="26" y="0"/>
              </a:cxn>
              <a:cxn ang="0">
                <a:pos x="65" y="0"/>
              </a:cxn>
              <a:cxn ang="0">
                <a:pos x="83" y="7"/>
              </a:cxn>
            </a:cxnLst>
            <a:rect l="0" t="0" r="r" b="b"/>
            <a:pathLst>
              <a:path w="205" h="50">
                <a:moveTo>
                  <a:pt x="69" y="25"/>
                </a:moveTo>
                <a:cubicBezTo>
                  <a:pt x="135" y="25"/>
                  <a:pt x="135" y="25"/>
                  <a:pt x="135" y="25"/>
                </a:cubicBezTo>
                <a:moveTo>
                  <a:pt x="122" y="7"/>
                </a:moveTo>
                <a:cubicBezTo>
                  <a:pt x="127" y="2"/>
                  <a:pt x="133" y="0"/>
                  <a:pt x="140" y="0"/>
                </a:cubicBezTo>
                <a:cubicBezTo>
                  <a:pt x="179" y="0"/>
                  <a:pt x="179" y="0"/>
                  <a:pt x="179" y="0"/>
                </a:cubicBezTo>
                <a:cubicBezTo>
                  <a:pt x="186" y="0"/>
                  <a:pt x="193" y="2"/>
                  <a:pt x="197" y="7"/>
                </a:cubicBezTo>
                <a:cubicBezTo>
                  <a:pt x="202" y="12"/>
                  <a:pt x="205" y="18"/>
                  <a:pt x="205" y="25"/>
                </a:cubicBezTo>
                <a:cubicBezTo>
                  <a:pt x="205" y="32"/>
                  <a:pt x="202" y="38"/>
                  <a:pt x="197" y="43"/>
                </a:cubicBezTo>
                <a:cubicBezTo>
                  <a:pt x="193" y="47"/>
                  <a:pt x="186" y="50"/>
                  <a:pt x="179" y="50"/>
                </a:cubicBezTo>
                <a:cubicBezTo>
                  <a:pt x="140" y="50"/>
                  <a:pt x="140" y="50"/>
                  <a:pt x="140" y="50"/>
                </a:cubicBezTo>
                <a:cubicBezTo>
                  <a:pt x="133" y="50"/>
                  <a:pt x="127" y="47"/>
                  <a:pt x="122" y="43"/>
                </a:cubicBezTo>
                <a:moveTo>
                  <a:pt x="83" y="43"/>
                </a:moveTo>
                <a:cubicBezTo>
                  <a:pt x="78" y="47"/>
                  <a:pt x="72" y="50"/>
                  <a:pt x="65" y="50"/>
                </a:cubicBezTo>
                <a:cubicBezTo>
                  <a:pt x="26" y="50"/>
                  <a:pt x="26" y="50"/>
                  <a:pt x="26" y="50"/>
                </a:cubicBezTo>
                <a:cubicBezTo>
                  <a:pt x="19" y="50"/>
                  <a:pt x="12" y="47"/>
                  <a:pt x="8" y="43"/>
                </a:cubicBezTo>
                <a:cubicBezTo>
                  <a:pt x="3" y="38"/>
                  <a:pt x="0" y="32"/>
                  <a:pt x="0" y="25"/>
                </a:cubicBezTo>
                <a:cubicBezTo>
                  <a:pt x="0" y="18"/>
                  <a:pt x="3" y="12"/>
                  <a:pt x="8" y="7"/>
                </a:cubicBezTo>
                <a:cubicBezTo>
                  <a:pt x="12" y="2"/>
                  <a:pt x="19" y="0"/>
                  <a:pt x="26" y="0"/>
                </a:cubicBezTo>
                <a:cubicBezTo>
                  <a:pt x="65" y="0"/>
                  <a:pt x="65" y="0"/>
                  <a:pt x="65" y="0"/>
                </a:cubicBezTo>
                <a:cubicBezTo>
                  <a:pt x="72" y="0"/>
                  <a:pt x="78" y="2"/>
                  <a:pt x="83" y="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 name="Groupe 347"/>
          <p:cNvGrpSpPr>
            <a:grpSpLocks noChangeAspect="1"/>
          </p:cNvGrpSpPr>
          <p:nvPr/>
        </p:nvGrpSpPr>
        <p:grpSpPr>
          <a:xfrm>
            <a:off x="1661289" y="2844583"/>
            <a:ext cx="305875" cy="540000"/>
            <a:chOff x="993776" y="1871663"/>
            <a:chExt cx="128588" cy="227013"/>
          </a:xfrm>
        </p:grpSpPr>
        <p:sp>
          <p:nvSpPr>
            <p:cNvPr id="349" name="Line 688"/>
            <p:cNvSpPr>
              <a:spLocks noChangeShapeType="1"/>
            </p:cNvSpPr>
            <p:nvPr/>
          </p:nvSpPr>
          <p:spPr bwMode="auto">
            <a:xfrm flipV="1">
              <a:off x="1022351" y="1895476"/>
              <a:ext cx="38100" cy="11113"/>
            </a:xfrm>
            <a:prstGeom prst="lin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0" name="Line 689"/>
            <p:cNvSpPr>
              <a:spLocks noChangeShapeType="1"/>
            </p:cNvSpPr>
            <p:nvPr/>
          </p:nvSpPr>
          <p:spPr bwMode="auto">
            <a:xfrm flipV="1">
              <a:off x="1023938" y="1916113"/>
              <a:ext cx="50800" cy="11113"/>
            </a:xfrm>
            <a:prstGeom prst="lin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1" name="Line 690"/>
            <p:cNvSpPr>
              <a:spLocks noChangeShapeType="1"/>
            </p:cNvSpPr>
            <p:nvPr/>
          </p:nvSpPr>
          <p:spPr bwMode="auto">
            <a:xfrm flipV="1">
              <a:off x="1041401" y="1941513"/>
              <a:ext cx="25400" cy="3175"/>
            </a:xfrm>
            <a:prstGeom prst="lin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2" name="Line 691"/>
            <p:cNvSpPr>
              <a:spLocks noChangeShapeType="1"/>
            </p:cNvSpPr>
            <p:nvPr/>
          </p:nvSpPr>
          <p:spPr bwMode="auto">
            <a:xfrm flipV="1">
              <a:off x="1038226" y="2025651"/>
              <a:ext cx="26988" cy="4763"/>
            </a:xfrm>
            <a:prstGeom prst="lin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3" name="Line 692"/>
            <p:cNvSpPr>
              <a:spLocks noChangeShapeType="1"/>
            </p:cNvSpPr>
            <p:nvPr/>
          </p:nvSpPr>
          <p:spPr bwMode="auto">
            <a:xfrm flipV="1">
              <a:off x="1028701" y="2041526"/>
              <a:ext cx="52388" cy="12700"/>
            </a:xfrm>
            <a:prstGeom prst="lin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4" name="Line 693"/>
            <p:cNvSpPr>
              <a:spLocks noChangeShapeType="1"/>
            </p:cNvSpPr>
            <p:nvPr/>
          </p:nvSpPr>
          <p:spPr bwMode="auto">
            <a:xfrm flipV="1">
              <a:off x="1041401" y="2063751"/>
              <a:ext cx="41275" cy="11113"/>
            </a:xfrm>
            <a:prstGeom prst="lin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694"/>
            <p:cNvSpPr>
              <a:spLocks/>
            </p:cNvSpPr>
            <p:nvPr/>
          </p:nvSpPr>
          <p:spPr bwMode="auto">
            <a:xfrm>
              <a:off x="993776" y="1893888"/>
              <a:ext cx="128588" cy="182563"/>
            </a:xfrm>
            <a:custGeom>
              <a:avLst/>
              <a:gdLst/>
              <a:ahLst/>
              <a:cxnLst>
                <a:cxn ang="0">
                  <a:pos x="0" y="0"/>
                </a:cxn>
                <a:cxn ang="0">
                  <a:pos x="35" y="60"/>
                </a:cxn>
                <a:cxn ang="0">
                  <a:pos x="35" y="60"/>
                </a:cxn>
                <a:cxn ang="0">
                  <a:pos x="84" y="136"/>
                </a:cxn>
              </a:cxnLst>
              <a:rect l="0" t="0" r="r" b="b"/>
              <a:pathLst>
                <a:path w="96" h="136">
                  <a:moveTo>
                    <a:pt x="0" y="0"/>
                  </a:moveTo>
                  <a:cubicBezTo>
                    <a:pt x="0" y="30"/>
                    <a:pt x="10" y="50"/>
                    <a:pt x="35" y="60"/>
                  </a:cubicBezTo>
                  <a:cubicBezTo>
                    <a:pt x="35" y="60"/>
                    <a:pt x="35" y="60"/>
                    <a:pt x="35" y="60"/>
                  </a:cubicBezTo>
                  <a:cubicBezTo>
                    <a:pt x="63" y="70"/>
                    <a:pt x="96" y="91"/>
                    <a:pt x="84" y="136"/>
                  </a:cubicBez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695"/>
            <p:cNvSpPr>
              <a:spLocks/>
            </p:cNvSpPr>
            <p:nvPr/>
          </p:nvSpPr>
          <p:spPr bwMode="auto">
            <a:xfrm>
              <a:off x="998538" y="1992313"/>
              <a:ext cx="33338" cy="106363"/>
            </a:xfrm>
            <a:custGeom>
              <a:avLst/>
              <a:gdLst/>
              <a:ahLst/>
              <a:cxnLst>
                <a:cxn ang="0">
                  <a:pos x="24" y="0"/>
                </a:cxn>
                <a:cxn ang="0">
                  <a:pos x="15" y="79"/>
                </a:cxn>
              </a:cxnLst>
              <a:rect l="0" t="0" r="r" b="b"/>
              <a:pathLst>
                <a:path w="24" h="79">
                  <a:moveTo>
                    <a:pt x="24" y="0"/>
                  </a:moveTo>
                  <a:cubicBezTo>
                    <a:pt x="0" y="15"/>
                    <a:pt x="3" y="56"/>
                    <a:pt x="15" y="79"/>
                  </a:cubicBez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696"/>
            <p:cNvSpPr>
              <a:spLocks/>
            </p:cNvSpPr>
            <p:nvPr/>
          </p:nvSpPr>
          <p:spPr bwMode="auto">
            <a:xfrm>
              <a:off x="1063626" y="1871663"/>
              <a:ext cx="36513" cy="98425"/>
            </a:xfrm>
            <a:custGeom>
              <a:avLst/>
              <a:gdLst/>
              <a:ahLst/>
              <a:cxnLst>
                <a:cxn ang="0">
                  <a:pos x="23" y="0"/>
                </a:cxn>
                <a:cxn ang="0">
                  <a:pos x="24" y="43"/>
                </a:cxn>
                <a:cxn ang="0">
                  <a:pos x="0" y="74"/>
                </a:cxn>
                <a:cxn ang="0">
                  <a:pos x="0" y="74"/>
                </a:cxn>
                <a:cxn ang="0">
                  <a:pos x="1" y="74"/>
                </a:cxn>
              </a:cxnLst>
              <a:rect l="0" t="0" r="r" b="b"/>
              <a:pathLst>
                <a:path w="28" h="74">
                  <a:moveTo>
                    <a:pt x="23" y="0"/>
                  </a:moveTo>
                  <a:cubicBezTo>
                    <a:pt x="27" y="17"/>
                    <a:pt x="28" y="31"/>
                    <a:pt x="24" y="43"/>
                  </a:cubicBezTo>
                  <a:cubicBezTo>
                    <a:pt x="20" y="55"/>
                    <a:pt x="13" y="66"/>
                    <a:pt x="0" y="74"/>
                  </a:cubicBezTo>
                  <a:cubicBezTo>
                    <a:pt x="0" y="74"/>
                    <a:pt x="0" y="74"/>
                    <a:pt x="0" y="74"/>
                  </a:cubicBezTo>
                  <a:cubicBezTo>
                    <a:pt x="1" y="74"/>
                    <a:pt x="1" y="74"/>
                    <a:pt x="1" y="74"/>
                  </a:cubicBez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58" name="Freeform 699"/>
          <p:cNvSpPr>
            <a:spLocks noChangeAspect="1" noEditPoints="1"/>
          </p:cNvSpPr>
          <p:nvPr/>
        </p:nvSpPr>
        <p:spPr bwMode="auto">
          <a:xfrm>
            <a:off x="4171443" y="2836302"/>
            <a:ext cx="415384" cy="540000"/>
          </a:xfrm>
          <a:custGeom>
            <a:avLst/>
            <a:gdLst/>
            <a:ahLst/>
            <a:cxnLst>
              <a:cxn ang="0">
                <a:pos x="67" y="94"/>
              </a:cxn>
              <a:cxn ang="0">
                <a:pos x="61" y="100"/>
              </a:cxn>
              <a:cxn ang="0">
                <a:pos x="54" y="94"/>
              </a:cxn>
              <a:cxn ang="0">
                <a:pos x="61" y="88"/>
              </a:cxn>
              <a:cxn ang="0">
                <a:pos x="67" y="94"/>
              </a:cxn>
              <a:cxn ang="0">
                <a:pos x="60" y="61"/>
              </a:cxn>
              <a:cxn ang="0">
                <a:pos x="60" y="94"/>
              </a:cxn>
              <a:cxn ang="0">
                <a:pos x="103" y="36"/>
              </a:cxn>
              <a:cxn ang="0">
                <a:pos x="114" y="24"/>
              </a:cxn>
              <a:cxn ang="0">
                <a:pos x="131" y="40"/>
              </a:cxn>
              <a:cxn ang="0">
                <a:pos x="119" y="52"/>
              </a:cxn>
              <a:cxn ang="0">
                <a:pos x="18" y="137"/>
              </a:cxn>
              <a:cxn ang="0">
                <a:pos x="28" y="126"/>
              </a:cxn>
              <a:cxn ang="0">
                <a:pos x="15" y="95"/>
              </a:cxn>
              <a:cxn ang="0">
                <a:pos x="28" y="63"/>
              </a:cxn>
              <a:cxn ang="0">
                <a:pos x="60" y="50"/>
              </a:cxn>
              <a:cxn ang="0">
                <a:pos x="92" y="63"/>
              </a:cxn>
              <a:cxn ang="0">
                <a:pos x="105" y="95"/>
              </a:cxn>
              <a:cxn ang="0">
                <a:pos x="92" y="126"/>
              </a:cxn>
              <a:cxn ang="0">
                <a:pos x="61" y="139"/>
              </a:cxn>
              <a:cxn ang="0">
                <a:pos x="61" y="122"/>
              </a:cxn>
              <a:cxn ang="0">
                <a:pos x="37" y="146"/>
              </a:cxn>
              <a:cxn ang="0">
                <a:pos x="61" y="170"/>
              </a:cxn>
              <a:cxn ang="0">
                <a:pos x="61" y="154"/>
              </a:cxn>
              <a:cxn ang="0">
                <a:pos x="102" y="137"/>
              </a:cxn>
              <a:cxn ang="0">
                <a:pos x="120" y="95"/>
              </a:cxn>
              <a:cxn ang="0">
                <a:pos x="102" y="53"/>
              </a:cxn>
              <a:cxn ang="0">
                <a:pos x="60" y="35"/>
              </a:cxn>
              <a:cxn ang="0">
                <a:pos x="18" y="53"/>
              </a:cxn>
              <a:cxn ang="0">
                <a:pos x="0" y="95"/>
              </a:cxn>
              <a:cxn ang="0">
                <a:pos x="7" y="122"/>
              </a:cxn>
              <a:cxn ang="0">
                <a:pos x="72" y="24"/>
              </a:cxn>
              <a:cxn ang="0">
                <a:pos x="72" y="17"/>
              </a:cxn>
              <a:cxn ang="0">
                <a:pos x="78" y="17"/>
              </a:cxn>
              <a:cxn ang="0">
                <a:pos x="78" y="0"/>
              </a:cxn>
              <a:cxn ang="0">
                <a:pos x="42" y="0"/>
              </a:cxn>
              <a:cxn ang="0">
                <a:pos x="42" y="17"/>
              </a:cxn>
              <a:cxn ang="0">
                <a:pos x="48" y="17"/>
              </a:cxn>
              <a:cxn ang="0">
                <a:pos x="48" y="24"/>
              </a:cxn>
            </a:cxnLst>
            <a:rect l="0" t="0" r="r" b="b"/>
            <a:pathLst>
              <a:path w="131" h="170">
                <a:moveTo>
                  <a:pt x="67" y="94"/>
                </a:moveTo>
                <a:cubicBezTo>
                  <a:pt x="67" y="98"/>
                  <a:pt x="64" y="100"/>
                  <a:pt x="61" y="100"/>
                </a:cubicBezTo>
                <a:cubicBezTo>
                  <a:pt x="57" y="100"/>
                  <a:pt x="54" y="98"/>
                  <a:pt x="54" y="94"/>
                </a:cubicBezTo>
                <a:cubicBezTo>
                  <a:pt x="54" y="91"/>
                  <a:pt x="57" y="88"/>
                  <a:pt x="61" y="88"/>
                </a:cubicBezTo>
                <a:cubicBezTo>
                  <a:pt x="64" y="88"/>
                  <a:pt x="67" y="91"/>
                  <a:pt x="67" y="94"/>
                </a:cubicBezTo>
                <a:close/>
                <a:moveTo>
                  <a:pt x="60" y="61"/>
                </a:moveTo>
                <a:cubicBezTo>
                  <a:pt x="60" y="94"/>
                  <a:pt x="60" y="94"/>
                  <a:pt x="60" y="94"/>
                </a:cubicBezTo>
                <a:moveTo>
                  <a:pt x="103" y="36"/>
                </a:moveTo>
                <a:cubicBezTo>
                  <a:pt x="114" y="24"/>
                  <a:pt x="114" y="24"/>
                  <a:pt x="114" y="24"/>
                </a:cubicBezTo>
                <a:cubicBezTo>
                  <a:pt x="131" y="40"/>
                  <a:pt x="131" y="40"/>
                  <a:pt x="131" y="40"/>
                </a:cubicBezTo>
                <a:cubicBezTo>
                  <a:pt x="119" y="52"/>
                  <a:pt x="119" y="52"/>
                  <a:pt x="119" y="52"/>
                </a:cubicBezTo>
                <a:moveTo>
                  <a:pt x="18" y="137"/>
                </a:moveTo>
                <a:cubicBezTo>
                  <a:pt x="28" y="126"/>
                  <a:pt x="28" y="126"/>
                  <a:pt x="28" y="126"/>
                </a:cubicBezTo>
                <a:cubicBezTo>
                  <a:pt x="20" y="118"/>
                  <a:pt x="15" y="107"/>
                  <a:pt x="15" y="95"/>
                </a:cubicBezTo>
                <a:cubicBezTo>
                  <a:pt x="15" y="83"/>
                  <a:pt x="20" y="72"/>
                  <a:pt x="28" y="63"/>
                </a:cubicBezTo>
                <a:cubicBezTo>
                  <a:pt x="37" y="55"/>
                  <a:pt x="48" y="50"/>
                  <a:pt x="60" y="50"/>
                </a:cubicBezTo>
                <a:cubicBezTo>
                  <a:pt x="72" y="50"/>
                  <a:pt x="83" y="55"/>
                  <a:pt x="92" y="63"/>
                </a:cubicBezTo>
                <a:cubicBezTo>
                  <a:pt x="100" y="72"/>
                  <a:pt x="105" y="83"/>
                  <a:pt x="105" y="95"/>
                </a:cubicBezTo>
                <a:cubicBezTo>
                  <a:pt x="105" y="107"/>
                  <a:pt x="100" y="118"/>
                  <a:pt x="92" y="126"/>
                </a:cubicBezTo>
                <a:cubicBezTo>
                  <a:pt x="84" y="134"/>
                  <a:pt x="73" y="139"/>
                  <a:pt x="61" y="139"/>
                </a:cubicBezTo>
                <a:cubicBezTo>
                  <a:pt x="61" y="122"/>
                  <a:pt x="61" y="122"/>
                  <a:pt x="61" y="122"/>
                </a:cubicBezTo>
                <a:cubicBezTo>
                  <a:pt x="37" y="146"/>
                  <a:pt x="37" y="146"/>
                  <a:pt x="37" y="146"/>
                </a:cubicBezTo>
                <a:cubicBezTo>
                  <a:pt x="61" y="170"/>
                  <a:pt x="61" y="170"/>
                  <a:pt x="61" y="170"/>
                </a:cubicBezTo>
                <a:cubicBezTo>
                  <a:pt x="61" y="154"/>
                  <a:pt x="61" y="154"/>
                  <a:pt x="61" y="154"/>
                </a:cubicBezTo>
                <a:cubicBezTo>
                  <a:pt x="77" y="154"/>
                  <a:pt x="91" y="148"/>
                  <a:pt x="102" y="137"/>
                </a:cubicBezTo>
                <a:cubicBezTo>
                  <a:pt x="114" y="126"/>
                  <a:pt x="120" y="111"/>
                  <a:pt x="120" y="95"/>
                </a:cubicBezTo>
                <a:cubicBezTo>
                  <a:pt x="120" y="79"/>
                  <a:pt x="114" y="64"/>
                  <a:pt x="102" y="53"/>
                </a:cubicBezTo>
                <a:cubicBezTo>
                  <a:pt x="91" y="41"/>
                  <a:pt x="76" y="35"/>
                  <a:pt x="60" y="35"/>
                </a:cubicBezTo>
                <a:cubicBezTo>
                  <a:pt x="44" y="35"/>
                  <a:pt x="29" y="41"/>
                  <a:pt x="18" y="53"/>
                </a:cubicBezTo>
                <a:cubicBezTo>
                  <a:pt x="6" y="64"/>
                  <a:pt x="0" y="79"/>
                  <a:pt x="0" y="95"/>
                </a:cubicBezTo>
                <a:cubicBezTo>
                  <a:pt x="0" y="104"/>
                  <a:pt x="2" y="114"/>
                  <a:pt x="7" y="122"/>
                </a:cubicBezTo>
                <a:moveTo>
                  <a:pt x="72" y="24"/>
                </a:moveTo>
                <a:cubicBezTo>
                  <a:pt x="72" y="17"/>
                  <a:pt x="72" y="17"/>
                  <a:pt x="72" y="17"/>
                </a:cubicBezTo>
                <a:cubicBezTo>
                  <a:pt x="78" y="17"/>
                  <a:pt x="78" y="17"/>
                  <a:pt x="78" y="17"/>
                </a:cubicBezTo>
                <a:cubicBezTo>
                  <a:pt x="78" y="0"/>
                  <a:pt x="78" y="0"/>
                  <a:pt x="78" y="0"/>
                </a:cubicBezTo>
                <a:cubicBezTo>
                  <a:pt x="42" y="0"/>
                  <a:pt x="42" y="0"/>
                  <a:pt x="42" y="0"/>
                </a:cubicBezTo>
                <a:cubicBezTo>
                  <a:pt x="42" y="17"/>
                  <a:pt x="42" y="17"/>
                  <a:pt x="42" y="17"/>
                </a:cubicBezTo>
                <a:cubicBezTo>
                  <a:pt x="48" y="17"/>
                  <a:pt x="48" y="17"/>
                  <a:pt x="48" y="17"/>
                </a:cubicBezTo>
                <a:cubicBezTo>
                  <a:pt x="48" y="24"/>
                  <a:pt x="48" y="24"/>
                  <a:pt x="48" y="2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5" name="Groupe 358"/>
          <p:cNvGrpSpPr>
            <a:grpSpLocks noChangeAspect="1"/>
          </p:cNvGrpSpPr>
          <p:nvPr/>
        </p:nvGrpSpPr>
        <p:grpSpPr>
          <a:xfrm>
            <a:off x="5033165" y="2815322"/>
            <a:ext cx="551653" cy="540000"/>
            <a:chOff x="2705101" y="1871663"/>
            <a:chExt cx="225425" cy="220663"/>
          </a:xfrm>
        </p:grpSpPr>
        <p:sp>
          <p:nvSpPr>
            <p:cNvPr id="360" name="Freeform 700"/>
            <p:cNvSpPr>
              <a:spLocks noEditPoints="1"/>
            </p:cNvSpPr>
            <p:nvPr/>
          </p:nvSpPr>
          <p:spPr bwMode="auto">
            <a:xfrm>
              <a:off x="2705101" y="1871663"/>
              <a:ext cx="225425" cy="220663"/>
            </a:xfrm>
            <a:custGeom>
              <a:avLst/>
              <a:gdLst/>
              <a:ahLst/>
              <a:cxnLst>
                <a:cxn ang="0">
                  <a:pos x="133" y="26"/>
                </a:cxn>
                <a:cxn ang="0">
                  <a:pos x="141" y="138"/>
                </a:cxn>
                <a:cxn ang="0">
                  <a:pos x="107" y="161"/>
                </a:cxn>
                <a:cxn ang="0">
                  <a:pos x="78" y="166"/>
                </a:cxn>
                <a:cxn ang="0">
                  <a:pos x="6" y="112"/>
                </a:cxn>
                <a:cxn ang="0">
                  <a:pos x="3" y="71"/>
                </a:cxn>
                <a:cxn ang="0">
                  <a:pos x="3" y="71"/>
                </a:cxn>
                <a:cxn ang="0">
                  <a:pos x="96" y="8"/>
                </a:cxn>
                <a:cxn ang="0">
                  <a:pos x="133" y="26"/>
                </a:cxn>
              </a:cxnLst>
              <a:rect l="0" t="0" r="r" b="b"/>
              <a:pathLst>
                <a:path w="169" h="166">
                  <a:moveTo>
                    <a:pt x="133" y="26"/>
                  </a:moveTo>
                  <a:cubicBezTo>
                    <a:pt x="166" y="55"/>
                    <a:pt x="169" y="105"/>
                    <a:pt x="141" y="138"/>
                  </a:cubicBezTo>
                  <a:cubicBezTo>
                    <a:pt x="131" y="149"/>
                    <a:pt x="120" y="157"/>
                    <a:pt x="107" y="161"/>
                  </a:cubicBezTo>
                  <a:moveTo>
                    <a:pt x="78" y="166"/>
                  </a:moveTo>
                  <a:cubicBezTo>
                    <a:pt x="46" y="164"/>
                    <a:pt x="17" y="144"/>
                    <a:pt x="6" y="112"/>
                  </a:cubicBezTo>
                  <a:cubicBezTo>
                    <a:pt x="1" y="98"/>
                    <a:pt x="0" y="85"/>
                    <a:pt x="3" y="71"/>
                  </a:cubicBezTo>
                  <a:moveTo>
                    <a:pt x="3" y="71"/>
                  </a:moveTo>
                  <a:cubicBezTo>
                    <a:pt x="11" y="28"/>
                    <a:pt x="53" y="0"/>
                    <a:pt x="96" y="8"/>
                  </a:cubicBezTo>
                  <a:cubicBezTo>
                    <a:pt x="110" y="11"/>
                    <a:pt x="122" y="17"/>
                    <a:pt x="133" y="2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Line 701"/>
            <p:cNvSpPr>
              <a:spLocks noChangeShapeType="1"/>
            </p:cNvSpPr>
            <p:nvPr/>
          </p:nvSpPr>
          <p:spPr bwMode="auto">
            <a:xfrm>
              <a:off x="2813051" y="1881188"/>
              <a:ext cx="1588" cy="31750"/>
            </a:xfrm>
            <a:prstGeom prst="lin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2" name="Line 702"/>
            <p:cNvSpPr>
              <a:spLocks noChangeShapeType="1"/>
            </p:cNvSpPr>
            <p:nvPr/>
          </p:nvSpPr>
          <p:spPr bwMode="auto">
            <a:xfrm>
              <a:off x="2811463" y="2060576"/>
              <a:ext cx="1588" cy="31750"/>
            </a:xfrm>
            <a:prstGeom prst="lin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3" name="Line 703"/>
            <p:cNvSpPr>
              <a:spLocks noChangeShapeType="1"/>
            </p:cNvSpPr>
            <p:nvPr/>
          </p:nvSpPr>
          <p:spPr bwMode="auto">
            <a:xfrm>
              <a:off x="2711451" y="1985963"/>
              <a:ext cx="30163" cy="1588"/>
            </a:xfrm>
            <a:prstGeom prst="lin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4" name="Line 704"/>
            <p:cNvSpPr>
              <a:spLocks noChangeShapeType="1"/>
            </p:cNvSpPr>
            <p:nvPr/>
          </p:nvSpPr>
          <p:spPr bwMode="auto">
            <a:xfrm>
              <a:off x="2881313" y="1985963"/>
              <a:ext cx="31750" cy="1588"/>
            </a:xfrm>
            <a:prstGeom prst="line">
              <a:avLst/>
            </a:pr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705"/>
            <p:cNvSpPr>
              <a:spLocks/>
            </p:cNvSpPr>
            <p:nvPr/>
          </p:nvSpPr>
          <p:spPr bwMode="auto">
            <a:xfrm>
              <a:off x="2755901" y="1922463"/>
              <a:ext cx="103188" cy="63500"/>
            </a:xfrm>
            <a:custGeom>
              <a:avLst/>
              <a:gdLst/>
              <a:ahLst/>
              <a:cxnLst>
                <a:cxn ang="0">
                  <a:pos x="65" y="40"/>
                </a:cxn>
                <a:cxn ang="0">
                  <a:pos x="35" y="40"/>
                </a:cxn>
                <a:cxn ang="0">
                  <a:pos x="0" y="0"/>
                </a:cxn>
              </a:cxnLst>
              <a:rect l="0" t="0" r="r" b="b"/>
              <a:pathLst>
                <a:path w="65" h="40">
                  <a:moveTo>
                    <a:pt x="65" y="40"/>
                  </a:moveTo>
                  <a:lnTo>
                    <a:pt x="35" y="40"/>
                  </a:lnTo>
                  <a:lnTo>
                    <a:pt x="0" y="0"/>
                  </a:ln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68" name="Freeform 706"/>
          <p:cNvSpPr>
            <a:spLocks noChangeAspect="1" noEditPoints="1"/>
          </p:cNvSpPr>
          <p:nvPr/>
        </p:nvSpPr>
        <p:spPr bwMode="auto">
          <a:xfrm>
            <a:off x="5843551" y="2827057"/>
            <a:ext cx="527243" cy="540000"/>
          </a:xfrm>
          <a:custGeom>
            <a:avLst/>
            <a:gdLst/>
            <a:ahLst/>
            <a:cxnLst>
              <a:cxn ang="0">
                <a:pos x="46" y="69"/>
              </a:cxn>
              <a:cxn ang="0">
                <a:pos x="108" y="47"/>
              </a:cxn>
              <a:cxn ang="0">
                <a:pos x="67" y="63"/>
              </a:cxn>
              <a:cxn ang="0">
                <a:pos x="67" y="63"/>
              </a:cxn>
              <a:cxn ang="0">
                <a:pos x="65" y="65"/>
              </a:cxn>
              <a:cxn ang="0">
                <a:pos x="62" y="67"/>
              </a:cxn>
              <a:cxn ang="0">
                <a:pos x="60" y="65"/>
              </a:cxn>
              <a:cxn ang="0">
                <a:pos x="58" y="63"/>
              </a:cxn>
              <a:cxn ang="0">
                <a:pos x="60" y="60"/>
              </a:cxn>
              <a:cxn ang="0">
                <a:pos x="62" y="59"/>
              </a:cxn>
              <a:cxn ang="0">
                <a:pos x="65" y="60"/>
              </a:cxn>
              <a:cxn ang="0">
                <a:pos x="67" y="63"/>
              </a:cxn>
              <a:cxn ang="0">
                <a:pos x="84" y="4"/>
              </a:cxn>
              <a:cxn ang="0">
                <a:pos x="78" y="21"/>
              </a:cxn>
              <a:cxn ang="0">
                <a:pos x="103" y="16"/>
              </a:cxn>
              <a:cxn ang="0">
                <a:pos x="92" y="29"/>
              </a:cxn>
              <a:cxn ang="0">
                <a:pos x="117" y="32"/>
              </a:cxn>
              <a:cxn ang="0">
                <a:pos x="101" y="40"/>
              </a:cxn>
              <a:cxn ang="0">
                <a:pos x="124" y="53"/>
              </a:cxn>
              <a:cxn ang="0">
                <a:pos x="108" y="55"/>
              </a:cxn>
              <a:cxn ang="0">
                <a:pos x="62" y="127"/>
              </a:cxn>
              <a:cxn ang="0">
                <a:pos x="62" y="108"/>
              </a:cxn>
              <a:cxn ang="0">
                <a:pos x="41" y="122"/>
              </a:cxn>
              <a:cxn ang="0">
                <a:pos x="46" y="106"/>
              </a:cxn>
              <a:cxn ang="0">
                <a:pos x="22" y="111"/>
              </a:cxn>
              <a:cxn ang="0">
                <a:pos x="33" y="97"/>
              </a:cxn>
              <a:cxn ang="0">
                <a:pos x="8" y="95"/>
              </a:cxn>
              <a:cxn ang="0">
                <a:pos x="23" y="85"/>
              </a:cxn>
              <a:cxn ang="0">
                <a:pos x="0" y="74"/>
              </a:cxn>
              <a:cxn ang="0">
                <a:pos x="18" y="71"/>
              </a:cxn>
              <a:cxn ang="0">
                <a:pos x="0" y="53"/>
              </a:cxn>
              <a:cxn ang="0">
                <a:pos x="18" y="55"/>
              </a:cxn>
              <a:cxn ang="0">
                <a:pos x="8" y="32"/>
              </a:cxn>
              <a:cxn ang="0">
                <a:pos x="23" y="40"/>
              </a:cxn>
              <a:cxn ang="0">
                <a:pos x="22" y="16"/>
              </a:cxn>
              <a:cxn ang="0">
                <a:pos x="33" y="29"/>
              </a:cxn>
              <a:cxn ang="0">
                <a:pos x="41" y="4"/>
              </a:cxn>
              <a:cxn ang="0">
                <a:pos x="46" y="21"/>
              </a:cxn>
              <a:cxn ang="0">
                <a:pos x="62" y="0"/>
              </a:cxn>
              <a:cxn ang="0">
                <a:pos x="62" y="17"/>
              </a:cxn>
            </a:cxnLst>
            <a:rect l="0" t="0" r="r" b="b"/>
            <a:pathLst>
              <a:path w="124" h="127">
                <a:moveTo>
                  <a:pt x="46" y="69"/>
                </a:moveTo>
                <a:lnTo>
                  <a:pt x="108" y="47"/>
                </a:lnTo>
                <a:moveTo>
                  <a:pt x="67" y="63"/>
                </a:moveTo>
                <a:lnTo>
                  <a:pt x="67" y="63"/>
                </a:lnTo>
                <a:lnTo>
                  <a:pt x="65" y="65"/>
                </a:lnTo>
                <a:lnTo>
                  <a:pt x="62" y="67"/>
                </a:lnTo>
                <a:lnTo>
                  <a:pt x="60" y="65"/>
                </a:lnTo>
                <a:lnTo>
                  <a:pt x="58" y="63"/>
                </a:lnTo>
                <a:lnTo>
                  <a:pt x="60" y="60"/>
                </a:lnTo>
                <a:lnTo>
                  <a:pt x="62" y="59"/>
                </a:lnTo>
                <a:lnTo>
                  <a:pt x="65" y="60"/>
                </a:lnTo>
                <a:lnTo>
                  <a:pt x="67" y="63"/>
                </a:lnTo>
                <a:moveTo>
                  <a:pt x="84" y="4"/>
                </a:moveTo>
                <a:lnTo>
                  <a:pt x="78" y="21"/>
                </a:lnTo>
                <a:moveTo>
                  <a:pt x="103" y="16"/>
                </a:moveTo>
                <a:lnTo>
                  <a:pt x="92" y="29"/>
                </a:lnTo>
                <a:moveTo>
                  <a:pt x="117" y="32"/>
                </a:moveTo>
                <a:lnTo>
                  <a:pt x="101" y="40"/>
                </a:lnTo>
                <a:moveTo>
                  <a:pt x="124" y="53"/>
                </a:moveTo>
                <a:lnTo>
                  <a:pt x="108" y="55"/>
                </a:lnTo>
                <a:moveTo>
                  <a:pt x="62" y="127"/>
                </a:moveTo>
                <a:lnTo>
                  <a:pt x="62" y="108"/>
                </a:lnTo>
                <a:moveTo>
                  <a:pt x="41" y="122"/>
                </a:moveTo>
                <a:lnTo>
                  <a:pt x="46" y="106"/>
                </a:lnTo>
                <a:moveTo>
                  <a:pt x="22" y="111"/>
                </a:moveTo>
                <a:lnTo>
                  <a:pt x="33" y="97"/>
                </a:lnTo>
                <a:moveTo>
                  <a:pt x="8" y="95"/>
                </a:moveTo>
                <a:lnTo>
                  <a:pt x="23" y="85"/>
                </a:lnTo>
                <a:moveTo>
                  <a:pt x="0" y="74"/>
                </a:moveTo>
                <a:lnTo>
                  <a:pt x="18" y="71"/>
                </a:lnTo>
                <a:moveTo>
                  <a:pt x="0" y="53"/>
                </a:moveTo>
                <a:lnTo>
                  <a:pt x="18" y="55"/>
                </a:lnTo>
                <a:moveTo>
                  <a:pt x="8" y="32"/>
                </a:moveTo>
                <a:lnTo>
                  <a:pt x="23" y="40"/>
                </a:lnTo>
                <a:moveTo>
                  <a:pt x="22" y="16"/>
                </a:moveTo>
                <a:lnTo>
                  <a:pt x="33" y="29"/>
                </a:lnTo>
                <a:moveTo>
                  <a:pt x="41" y="4"/>
                </a:moveTo>
                <a:lnTo>
                  <a:pt x="46" y="21"/>
                </a:lnTo>
                <a:moveTo>
                  <a:pt x="62" y="0"/>
                </a:moveTo>
                <a:lnTo>
                  <a:pt x="62" y="17"/>
                </a:ln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6" name="Groupe 368"/>
          <p:cNvGrpSpPr>
            <a:grpSpLocks noChangeAspect="1"/>
          </p:cNvGrpSpPr>
          <p:nvPr/>
        </p:nvGrpSpPr>
        <p:grpSpPr>
          <a:xfrm>
            <a:off x="2417698" y="2847822"/>
            <a:ext cx="364188" cy="540000"/>
            <a:chOff x="1311275" y="1838325"/>
            <a:chExt cx="184151" cy="273050"/>
          </a:xfrm>
        </p:grpSpPr>
        <p:sp>
          <p:nvSpPr>
            <p:cNvPr id="377" name="Freeform 889"/>
            <p:cNvSpPr>
              <a:spLocks/>
            </p:cNvSpPr>
            <p:nvPr/>
          </p:nvSpPr>
          <p:spPr bwMode="auto">
            <a:xfrm>
              <a:off x="1311275" y="1898650"/>
              <a:ext cx="79375" cy="212725"/>
            </a:xfrm>
            <a:custGeom>
              <a:avLst/>
              <a:gdLst/>
              <a:ahLst/>
              <a:cxnLst>
                <a:cxn ang="0">
                  <a:pos x="31" y="160"/>
                </a:cxn>
                <a:cxn ang="0">
                  <a:pos x="52" y="137"/>
                </a:cxn>
                <a:cxn ang="0">
                  <a:pos x="58" y="113"/>
                </a:cxn>
                <a:cxn ang="0">
                  <a:pos x="4" y="37"/>
                </a:cxn>
                <a:cxn ang="0">
                  <a:pos x="14" y="0"/>
                </a:cxn>
                <a:cxn ang="0">
                  <a:pos x="29" y="19"/>
                </a:cxn>
                <a:cxn ang="0">
                  <a:pos x="29" y="52"/>
                </a:cxn>
                <a:cxn ang="0">
                  <a:pos x="58" y="113"/>
                </a:cxn>
              </a:cxnLst>
              <a:rect l="0" t="0" r="r" b="b"/>
              <a:pathLst>
                <a:path w="60" h="160">
                  <a:moveTo>
                    <a:pt x="31" y="160"/>
                  </a:moveTo>
                  <a:cubicBezTo>
                    <a:pt x="31" y="149"/>
                    <a:pt x="45" y="149"/>
                    <a:pt x="52" y="137"/>
                  </a:cubicBezTo>
                  <a:cubicBezTo>
                    <a:pt x="60" y="126"/>
                    <a:pt x="58" y="113"/>
                    <a:pt x="58" y="113"/>
                  </a:cubicBezTo>
                  <a:cubicBezTo>
                    <a:pt x="58" y="113"/>
                    <a:pt x="9" y="67"/>
                    <a:pt x="4" y="37"/>
                  </a:cubicBezTo>
                  <a:cubicBezTo>
                    <a:pt x="0" y="6"/>
                    <a:pt x="9" y="0"/>
                    <a:pt x="14" y="0"/>
                  </a:cubicBezTo>
                  <a:cubicBezTo>
                    <a:pt x="26" y="0"/>
                    <a:pt x="29" y="19"/>
                    <a:pt x="29" y="19"/>
                  </a:cubicBezTo>
                  <a:cubicBezTo>
                    <a:pt x="29" y="19"/>
                    <a:pt x="26" y="31"/>
                    <a:pt x="29" y="52"/>
                  </a:cubicBezTo>
                  <a:cubicBezTo>
                    <a:pt x="31" y="72"/>
                    <a:pt x="58" y="113"/>
                    <a:pt x="58" y="11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Freeform 890"/>
            <p:cNvSpPr>
              <a:spLocks/>
            </p:cNvSpPr>
            <p:nvPr/>
          </p:nvSpPr>
          <p:spPr bwMode="auto">
            <a:xfrm>
              <a:off x="1354138" y="1838325"/>
              <a:ext cx="49213" cy="84138"/>
            </a:xfrm>
            <a:custGeom>
              <a:avLst/>
              <a:gdLst/>
              <a:ahLst/>
              <a:cxnLst>
                <a:cxn ang="0">
                  <a:pos x="37" y="0"/>
                </a:cxn>
                <a:cxn ang="0">
                  <a:pos x="32" y="12"/>
                </a:cxn>
                <a:cxn ang="0">
                  <a:pos x="35" y="25"/>
                </a:cxn>
                <a:cxn ang="0">
                  <a:pos x="21" y="34"/>
                </a:cxn>
                <a:cxn ang="0">
                  <a:pos x="11" y="47"/>
                </a:cxn>
                <a:cxn ang="0">
                  <a:pos x="13" y="56"/>
                </a:cxn>
                <a:cxn ang="0">
                  <a:pos x="0" y="63"/>
                </a:cxn>
              </a:cxnLst>
              <a:rect l="0" t="0" r="r" b="b"/>
              <a:pathLst>
                <a:path w="37" h="63">
                  <a:moveTo>
                    <a:pt x="37" y="0"/>
                  </a:moveTo>
                  <a:cubicBezTo>
                    <a:pt x="37" y="0"/>
                    <a:pt x="32" y="3"/>
                    <a:pt x="32" y="12"/>
                  </a:cubicBezTo>
                  <a:cubicBezTo>
                    <a:pt x="32" y="21"/>
                    <a:pt x="35" y="25"/>
                    <a:pt x="35" y="25"/>
                  </a:cubicBezTo>
                  <a:cubicBezTo>
                    <a:pt x="35" y="25"/>
                    <a:pt x="23" y="26"/>
                    <a:pt x="21" y="34"/>
                  </a:cubicBezTo>
                  <a:cubicBezTo>
                    <a:pt x="19" y="42"/>
                    <a:pt x="17" y="47"/>
                    <a:pt x="11" y="47"/>
                  </a:cubicBezTo>
                  <a:cubicBezTo>
                    <a:pt x="5" y="47"/>
                    <a:pt x="16" y="50"/>
                    <a:pt x="13" y="56"/>
                  </a:cubicBezTo>
                  <a:cubicBezTo>
                    <a:pt x="9" y="62"/>
                    <a:pt x="0" y="63"/>
                    <a:pt x="0" y="6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4" name="Freeform 891"/>
            <p:cNvSpPr>
              <a:spLocks/>
            </p:cNvSpPr>
            <p:nvPr/>
          </p:nvSpPr>
          <p:spPr bwMode="auto">
            <a:xfrm>
              <a:off x="1417638" y="1898650"/>
              <a:ext cx="77788" cy="212725"/>
            </a:xfrm>
            <a:custGeom>
              <a:avLst/>
              <a:gdLst/>
              <a:ahLst/>
              <a:cxnLst>
                <a:cxn ang="0">
                  <a:pos x="28" y="160"/>
                </a:cxn>
                <a:cxn ang="0">
                  <a:pos x="7" y="137"/>
                </a:cxn>
                <a:cxn ang="0">
                  <a:pos x="2" y="113"/>
                </a:cxn>
                <a:cxn ang="0">
                  <a:pos x="55" y="37"/>
                </a:cxn>
                <a:cxn ang="0">
                  <a:pos x="45" y="0"/>
                </a:cxn>
                <a:cxn ang="0">
                  <a:pos x="30" y="19"/>
                </a:cxn>
                <a:cxn ang="0">
                  <a:pos x="31" y="52"/>
                </a:cxn>
                <a:cxn ang="0">
                  <a:pos x="2" y="113"/>
                </a:cxn>
              </a:cxnLst>
              <a:rect l="0" t="0" r="r" b="b"/>
              <a:pathLst>
                <a:path w="59" h="160">
                  <a:moveTo>
                    <a:pt x="28" y="160"/>
                  </a:moveTo>
                  <a:cubicBezTo>
                    <a:pt x="28" y="149"/>
                    <a:pt x="14" y="149"/>
                    <a:pt x="7" y="137"/>
                  </a:cubicBezTo>
                  <a:cubicBezTo>
                    <a:pt x="0" y="126"/>
                    <a:pt x="2" y="113"/>
                    <a:pt x="2" y="113"/>
                  </a:cubicBezTo>
                  <a:cubicBezTo>
                    <a:pt x="2" y="113"/>
                    <a:pt x="50" y="67"/>
                    <a:pt x="55" y="37"/>
                  </a:cubicBezTo>
                  <a:cubicBezTo>
                    <a:pt x="59" y="6"/>
                    <a:pt x="51" y="0"/>
                    <a:pt x="45" y="0"/>
                  </a:cubicBezTo>
                  <a:cubicBezTo>
                    <a:pt x="33" y="0"/>
                    <a:pt x="30" y="19"/>
                    <a:pt x="30" y="19"/>
                  </a:cubicBezTo>
                  <a:cubicBezTo>
                    <a:pt x="30" y="19"/>
                    <a:pt x="33" y="31"/>
                    <a:pt x="31" y="52"/>
                  </a:cubicBezTo>
                  <a:cubicBezTo>
                    <a:pt x="28" y="72"/>
                    <a:pt x="2" y="113"/>
                    <a:pt x="2" y="11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892"/>
            <p:cNvSpPr>
              <a:spLocks/>
            </p:cNvSpPr>
            <p:nvPr/>
          </p:nvSpPr>
          <p:spPr bwMode="auto">
            <a:xfrm>
              <a:off x="1403350" y="1838325"/>
              <a:ext cx="49213" cy="84138"/>
            </a:xfrm>
            <a:custGeom>
              <a:avLst/>
              <a:gdLst/>
              <a:ahLst/>
              <a:cxnLst>
                <a:cxn ang="0">
                  <a:pos x="0" y="0"/>
                </a:cxn>
                <a:cxn ang="0">
                  <a:pos x="4" y="12"/>
                </a:cxn>
                <a:cxn ang="0">
                  <a:pos x="1" y="25"/>
                </a:cxn>
                <a:cxn ang="0">
                  <a:pos x="15" y="34"/>
                </a:cxn>
                <a:cxn ang="0">
                  <a:pos x="25" y="47"/>
                </a:cxn>
                <a:cxn ang="0">
                  <a:pos x="23" y="56"/>
                </a:cxn>
                <a:cxn ang="0">
                  <a:pos x="36" y="63"/>
                </a:cxn>
              </a:cxnLst>
              <a:rect l="0" t="0" r="r" b="b"/>
              <a:pathLst>
                <a:path w="36" h="63">
                  <a:moveTo>
                    <a:pt x="0" y="0"/>
                  </a:moveTo>
                  <a:cubicBezTo>
                    <a:pt x="0" y="0"/>
                    <a:pt x="4" y="3"/>
                    <a:pt x="4" y="12"/>
                  </a:cubicBezTo>
                  <a:cubicBezTo>
                    <a:pt x="4" y="21"/>
                    <a:pt x="1" y="25"/>
                    <a:pt x="1" y="25"/>
                  </a:cubicBezTo>
                  <a:cubicBezTo>
                    <a:pt x="1" y="25"/>
                    <a:pt x="13" y="26"/>
                    <a:pt x="15" y="34"/>
                  </a:cubicBezTo>
                  <a:cubicBezTo>
                    <a:pt x="17" y="42"/>
                    <a:pt x="19" y="47"/>
                    <a:pt x="25" y="47"/>
                  </a:cubicBezTo>
                  <a:cubicBezTo>
                    <a:pt x="31" y="47"/>
                    <a:pt x="20" y="50"/>
                    <a:pt x="23" y="56"/>
                  </a:cubicBezTo>
                  <a:cubicBezTo>
                    <a:pt x="27" y="62"/>
                    <a:pt x="36" y="63"/>
                    <a:pt x="36" y="6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0" name="Line 893"/>
            <p:cNvSpPr>
              <a:spLocks noChangeShapeType="1"/>
            </p:cNvSpPr>
            <p:nvPr/>
          </p:nvSpPr>
          <p:spPr bwMode="auto">
            <a:xfrm flipH="1">
              <a:off x="1352550" y="1924050"/>
              <a:ext cx="103188"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94" name="Freeform 684"/>
          <p:cNvSpPr>
            <a:spLocks noChangeAspect="1" noEditPoints="1"/>
          </p:cNvSpPr>
          <p:nvPr/>
        </p:nvSpPr>
        <p:spPr bwMode="auto">
          <a:xfrm>
            <a:off x="7784604" y="2934093"/>
            <a:ext cx="599160" cy="504000"/>
          </a:xfrm>
          <a:custGeom>
            <a:avLst/>
            <a:gdLst/>
            <a:ahLst/>
            <a:cxnLst>
              <a:cxn ang="0">
                <a:pos x="95" y="97"/>
              </a:cxn>
              <a:cxn ang="0">
                <a:pos x="118" y="120"/>
              </a:cxn>
              <a:cxn ang="0">
                <a:pos x="95" y="143"/>
              </a:cxn>
              <a:cxn ang="0">
                <a:pos x="46" y="120"/>
              </a:cxn>
              <a:cxn ang="0">
                <a:pos x="91" y="120"/>
              </a:cxn>
              <a:cxn ang="0">
                <a:pos x="147" y="47"/>
              </a:cxn>
              <a:cxn ang="0">
                <a:pos x="170" y="70"/>
              </a:cxn>
              <a:cxn ang="0">
                <a:pos x="147" y="94"/>
              </a:cxn>
              <a:cxn ang="0">
                <a:pos x="96" y="70"/>
              </a:cxn>
              <a:cxn ang="0">
                <a:pos x="143" y="70"/>
              </a:cxn>
              <a:cxn ang="0">
                <a:pos x="51" y="47"/>
              </a:cxn>
              <a:cxn ang="0">
                <a:pos x="74" y="70"/>
              </a:cxn>
              <a:cxn ang="0">
                <a:pos x="51" y="94"/>
              </a:cxn>
              <a:cxn ang="0">
                <a:pos x="0" y="70"/>
              </a:cxn>
              <a:cxn ang="0">
                <a:pos x="47" y="70"/>
              </a:cxn>
              <a:cxn ang="0">
                <a:pos x="95" y="0"/>
              </a:cxn>
              <a:cxn ang="0">
                <a:pos x="118" y="21"/>
              </a:cxn>
              <a:cxn ang="0">
                <a:pos x="95" y="44"/>
              </a:cxn>
              <a:cxn ang="0">
                <a:pos x="46" y="21"/>
              </a:cxn>
              <a:cxn ang="0">
                <a:pos x="91" y="21"/>
              </a:cxn>
            </a:cxnLst>
            <a:rect l="0" t="0" r="r" b="b"/>
            <a:pathLst>
              <a:path w="170" h="143">
                <a:moveTo>
                  <a:pt x="95" y="97"/>
                </a:moveTo>
                <a:lnTo>
                  <a:pt x="118" y="120"/>
                </a:lnTo>
                <a:lnTo>
                  <a:pt x="95" y="143"/>
                </a:lnTo>
                <a:moveTo>
                  <a:pt x="46" y="120"/>
                </a:moveTo>
                <a:lnTo>
                  <a:pt x="91" y="120"/>
                </a:lnTo>
                <a:moveTo>
                  <a:pt x="147" y="47"/>
                </a:moveTo>
                <a:lnTo>
                  <a:pt x="170" y="70"/>
                </a:lnTo>
                <a:lnTo>
                  <a:pt x="147" y="94"/>
                </a:lnTo>
                <a:moveTo>
                  <a:pt x="96" y="70"/>
                </a:moveTo>
                <a:lnTo>
                  <a:pt x="143" y="70"/>
                </a:lnTo>
                <a:moveTo>
                  <a:pt x="51" y="47"/>
                </a:moveTo>
                <a:lnTo>
                  <a:pt x="74" y="70"/>
                </a:lnTo>
                <a:lnTo>
                  <a:pt x="51" y="94"/>
                </a:lnTo>
                <a:moveTo>
                  <a:pt x="0" y="70"/>
                </a:moveTo>
                <a:lnTo>
                  <a:pt x="47" y="70"/>
                </a:lnTo>
                <a:moveTo>
                  <a:pt x="95" y="0"/>
                </a:moveTo>
                <a:lnTo>
                  <a:pt x="118" y="21"/>
                </a:lnTo>
                <a:lnTo>
                  <a:pt x="95" y="44"/>
                </a:lnTo>
                <a:moveTo>
                  <a:pt x="46" y="21"/>
                </a:moveTo>
                <a:lnTo>
                  <a:pt x="91" y="21"/>
                </a:ln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686"/>
          <p:cNvSpPr>
            <a:spLocks noChangeAspect="1"/>
          </p:cNvSpPr>
          <p:nvPr/>
        </p:nvSpPr>
        <p:spPr bwMode="auto">
          <a:xfrm>
            <a:off x="2876171" y="5512904"/>
            <a:ext cx="324000" cy="396000"/>
          </a:xfrm>
          <a:custGeom>
            <a:avLst/>
            <a:gdLst/>
            <a:ahLst/>
            <a:cxnLst>
              <a:cxn ang="0">
                <a:pos x="88" y="168"/>
              </a:cxn>
              <a:cxn ang="0">
                <a:pos x="67" y="166"/>
              </a:cxn>
              <a:cxn ang="0">
                <a:pos x="32" y="156"/>
              </a:cxn>
              <a:cxn ang="0">
                <a:pos x="4" y="140"/>
              </a:cxn>
              <a:cxn ang="0">
                <a:pos x="1" y="134"/>
              </a:cxn>
              <a:cxn ang="0">
                <a:pos x="3" y="123"/>
              </a:cxn>
              <a:cxn ang="0">
                <a:pos x="6" y="120"/>
              </a:cxn>
              <a:cxn ang="0">
                <a:pos x="8" y="118"/>
              </a:cxn>
              <a:cxn ang="0">
                <a:pos x="6" y="101"/>
              </a:cxn>
              <a:cxn ang="0">
                <a:pos x="16" y="93"/>
              </a:cxn>
              <a:cxn ang="0">
                <a:pos x="10" y="76"/>
              </a:cxn>
              <a:cxn ang="0">
                <a:pos x="24" y="66"/>
              </a:cxn>
              <a:cxn ang="0">
                <a:pos x="31" y="48"/>
              </a:cxn>
              <a:cxn ang="0">
                <a:pos x="49" y="46"/>
              </a:cxn>
              <a:cxn ang="0">
                <a:pos x="68" y="52"/>
              </a:cxn>
              <a:cxn ang="0">
                <a:pos x="78" y="57"/>
              </a:cxn>
              <a:cxn ang="0">
                <a:pos x="80" y="33"/>
              </a:cxn>
              <a:cxn ang="0">
                <a:pos x="89" y="11"/>
              </a:cxn>
              <a:cxn ang="0">
                <a:pos x="102" y="2"/>
              </a:cxn>
              <a:cxn ang="0">
                <a:pos x="113" y="8"/>
              </a:cxn>
              <a:cxn ang="0">
                <a:pos x="111" y="27"/>
              </a:cxn>
              <a:cxn ang="0">
                <a:pos x="116" y="56"/>
              </a:cxn>
              <a:cxn ang="0">
                <a:pos x="124" y="74"/>
              </a:cxn>
              <a:cxn ang="0">
                <a:pos x="130" y="93"/>
              </a:cxn>
              <a:cxn ang="0">
                <a:pos x="135" y="100"/>
              </a:cxn>
              <a:cxn ang="0">
                <a:pos x="139" y="102"/>
              </a:cxn>
              <a:cxn ang="0">
                <a:pos x="127" y="137"/>
              </a:cxn>
              <a:cxn ang="0">
                <a:pos x="114" y="171"/>
              </a:cxn>
            </a:cxnLst>
            <a:rect l="0" t="0" r="r" b="b"/>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687"/>
          <p:cNvSpPr>
            <a:spLocks noChangeAspect="1"/>
          </p:cNvSpPr>
          <p:nvPr/>
        </p:nvSpPr>
        <p:spPr bwMode="auto">
          <a:xfrm>
            <a:off x="3216087" y="5314428"/>
            <a:ext cx="335077" cy="396000"/>
          </a:xfrm>
          <a:custGeom>
            <a:avLst/>
            <a:gdLst/>
            <a:ahLst/>
            <a:cxnLst>
              <a:cxn ang="0">
                <a:pos x="82" y="7"/>
              </a:cxn>
              <a:cxn ang="0">
                <a:pos x="61" y="12"/>
              </a:cxn>
              <a:cxn ang="0">
                <a:pos x="28" y="28"/>
              </a:cxn>
              <a:cxn ang="0">
                <a:pos x="3" y="47"/>
              </a:cxn>
              <a:cxn ang="0">
                <a:pos x="0" y="54"/>
              </a:cxn>
              <a:cxn ang="0">
                <a:pos x="4" y="65"/>
              </a:cxn>
              <a:cxn ang="0">
                <a:pos x="8" y="67"/>
              </a:cxn>
              <a:cxn ang="0">
                <a:pos x="10" y="69"/>
              </a:cxn>
              <a:cxn ang="0">
                <a:pos x="10" y="86"/>
              </a:cxn>
              <a:cxn ang="0">
                <a:pos x="22" y="92"/>
              </a:cxn>
              <a:cxn ang="0">
                <a:pos x="19" y="110"/>
              </a:cxn>
              <a:cxn ang="0">
                <a:pos x="35" y="118"/>
              </a:cxn>
              <a:cxn ang="0">
                <a:pos x="44" y="134"/>
              </a:cxn>
              <a:cxn ang="0">
                <a:pos x="62" y="134"/>
              </a:cxn>
              <a:cxn ang="0">
                <a:pos x="80" y="125"/>
              </a:cxn>
              <a:cxn ang="0">
                <a:pos x="90" y="119"/>
              </a:cxn>
              <a:cxn ang="0">
                <a:pos x="95" y="142"/>
              </a:cxn>
              <a:cxn ang="0">
                <a:pos x="108" y="162"/>
              </a:cxn>
              <a:cxn ang="0">
                <a:pos x="122" y="170"/>
              </a:cxn>
              <a:cxn ang="0">
                <a:pos x="132" y="162"/>
              </a:cxn>
              <a:cxn ang="0">
                <a:pos x="127" y="143"/>
              </a:cxn>
              <a:cxn ang="0">
                <a:pos x="128" y="114"/>
              </a:cxn>
              <a:cxn ang="0">
                <a:pos x="133" y="94"/>
              </a:cxn>
              <a:cxn ang="0">
                <a:pos x="136" y="74"/>
              </a:cxn>
              <a:cxn ang="0">
                <a:pos x="140" y="67"/>
              </a:cxn>
              <a:cxn ang="0">
                <a:pos x="143" y="64"/>
              </a:cxn>
              <a:cxn ang="0">
                <a:pos x="125" y="32"/>
              </a:cxn>
              <a:cxn ang="0">
                <a:pos x="107" y="0"/>
              </a:cxn>
            </a:cxnLst>
            <a:rect l="0" t="0" r="r" b="b"/>
            <a:pathLst>
              <a:path w="143" h="170">
                <a:moveTo>
                  <a:pt x="82" y="7"/>
                </a:moveTo>
                <a:cubicBezTo>
                  <a:pt x="75" y="8"/>
                  <a:pt x="68" y="10"/>
                  <a:pt x="61" y="12"/>
                </a:cubicBezTo>
                <a:cubicBezTo>
                  <a:pt x="52" y="16"/>
                  <a:pt x="39" y="21"/>
                  <a:pt x="28" y="28"/>
                </a:cubicBezTo>
                <a:cubicBezTo>
                  <a:pt x="16" y="34"/>
                  <a:pt x="6" y="42"/>
                  <a:pt x="3" y="47"/>
                </a:cubicBezTo>
                <a:cubicBezTo>
                  <a:pt x="2" y="49"/>
                  <a:pt x="1" y="51"/>
                  <a:pt x="0" y="54"/>
                </a:cubicBezTo>
                <a:cubicBezTo>
                  <a:pt x="0" y="57"/>
                  <a:pt x="0" y="61"/>
                  <a:pt x="4" y="65"/>
                </a:cubicBezTo>
                <a:cubicBezTo>
                  <a:pt x="5" y="66"/>
                  <a:pt x="7" y="67"/>
                  <a:pt x="8" y="67"/>
                </a:cubicBezTo>
                <a:cubicBezTo>
                  <a:pt x="10" y="68"/>
                  <a:pt x="11" y="68"/>
                  <a:pt x="10" y="69"/>
                </a:cubicBezTo>
                <a:cubicBezTo>
                  <a:pt x="6" y="77"/>
                  <a:pt x="7" y="82"/>
                  <a:pt x="10" y="86"/>
                </a:cubicBezTo>
                <a:cubicBezTo>
                  <a:pt x="13" y="90"/>
                  <a:pt x="18" y="92"/>
                  <a:pt x="22" y="92"/>
                </a:cubicBezTo>
                <a:cubicBezTo>
                  <a:pt x="17" y="98"/>
                  <a:pt x="16" y="105"/>
                  <a:pt x="19" y="110"/>
                </a:cubicBezTo>
                <a:cubicBezTo>
                  <a:pt x="21" y="115"/>
                  <a:pt x="27" y="119"/>
                  <a:pt x="35" y="118"/>
                </a:cubicBezTo>
                <a:cubicBezTo>
                  <a:pt x="33" y="127"/>
                  <a:pt x="38" y="132"/>
                  <a:pt x="44" y="134"/>
                </a:cubicBezTo>
                <a:cubicBezTo>
                  <a:pt x="50" y="137"/>
                  <a:pt x="57" y="136"/>
                  <a:pt x="62" y="134"/>
                </a:cubicBezTo>
                <a:cubicBezTo>
                  <a:pt x="72" y="130"/>
                  <a:pt x="77" y="127"/>
                  <a:pt x="80" y="125"/>
                </a:cubicBezTo>
                <a:cubicBezTo>
                  <a:pt x="84" y="123"/>
                  <a:pt x="86" y="121"/>
                  <a:pt x="90" y="119"/>
                </a:cubicBezTo>
                <a:cubicBezTo>
                  <a:pt x="90" y="126"/>
                  <a:pt x="92" y="134"/>
                  <a:pt x="95" y="142"/>
                </a:cubicBezTo>
                <a:cubicBezTo>
                  <a:pt x="98" y="149"/>
                  <a:pt x="102" y="156"/>
                  <a:pt x="108" y="162"/>
                </a:cubicBezTo>
                <a:cubicBezTo>
                  <a:pt x="112" y="166"/>
                  <a:pt x="117" y="169"/>
                  <a:pt x="122" y="170"/>
                </a:cubicBezTo>
                <a:cubicBezTo>
                  <a:pt x="127" y="170"/>
                  <a:pt x="131" y="168"/>
                  <a:pt x="132" y="162"/>
                </a:cubicBezTo>
                <a:cubicBezTo>
                  <a:pt x="133" y="156"/>
                  <a:pt x="130" y="150"/>
                  <a:pt x="127" y="143"/>
                </a:cubicBezTo>
                <a:cubicBezTo>
                  <a:pt x="124" y="136"/>
                  <a:pt x="123" y="127"/>
                  <a:pt x="128" y="114"/>
                </a:cubicBezTo>
                <a:cubicBezTo>
                  <a:pt x="130" y="107"/>
                  <a:pt x="132" y="100"/>
                  <a:pt x="133" y="94"/>
                </a:cubicBezTo>
                <a:cubicBezTo>
                  <a:pt x="134" y="88"/>
                  <a:pt x="134" y="81"/>
                  <a:pt x="136" y="74"/>
                </a:cubicBezTo>
                <a:cubicBezTo>
                  <a:pt x="136" y="71"/>
                  <a:pt x="138" y="69"/>
                  <a:pt x="140" y="67"/>
                </a:cubicBezTo>
                <a:cubicBezTo>
                  <a:pt x="141" y="66"/>
                  <a:pt x="143" y="65"/>
                  <a:pt x="143" y="64"/>
                </a:cubicBezTo>
                <a:cubicBezTo>
                  <a:pt x="125" y="32"/>
                  <a:pt x="125" y="32"/>
                  <a:pt x="125" y="32"/>
                </a:cubicBezTo>
                <a:cubicBezTo>
                  <a:pt x="107" y="0"/>
                  <a:pt x="107" y="0"/>
                  <a:pt x="107" y="0"/>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714"/>
          <p:cNvSpPr>
            <a:spLocks noChangeAspect="1" noEditPoints="1"/>
          </p:cNvSpPr>
          <p:nvPr/>
        </p:nvSpPr>
        <p:spPr bwMode="auto">
          <a:xfrm>
            <a:off x="6742950" y="3011603"/>
            <a:ext cx="540000" cy="343637"/>
          </a:xfrm>
          <a:custGeom>
            <a:avLst/>
            <a:gdLst/>
            <a:ahLst/>
            <a:cxnLst>
              <a:cxn ang="0">
                <a:pos x="159" y="8"/>
              </a:cxn>
              <a:cxn ang="0">
                <a:pos x="166" y="14"/>
              </a:cxn>
              <a:cxn ang="0">
                <a:pos x="168" y="21"/>
              </a:cxn>
              <a:cxn ang="0">
                <a:pos x="164" y="26"/>
              </a:cxn>
              <a:cxn ang="0">
                <a:pos x="166" y="33"/>
              </a:cxn>
              <a:cxn ang="0">
                <a:pos x="169" y="37"/>
              </a:cxn>
              <a:cxn ang="0">
                <a:pos x="170" y="45"/>
              </a:cxn>
              <a:cxn ang="0">
                <a:pos x="166" y="49"/>
              </a:cxn>
              <a:cxn ang="0">
                <a:pos x="166" y="56"/>
              </a:cxn>
              <a:cxn ang="0">
                <a:pos x="169" y="61"/>
              </a:cxn>
              <a:cxn ang="0">
                <a:pos x="168" y="68"/>
              </a:cxn>
              <a:cxn ang="0">
                <a:pos x="162" y="73"/>
              </a:cxn>
              <a:cxn ang="0">
                <a:pos x="161" y="80"/>
              </a:cxn>
              <a:cxn ang="0">
                <a:pos x="163" y="87"/>
              </a:cxn>
              <a:cxn ang="0">
                <a:pos x="161" y="93"/>
              </a:cxn>
              <a:cxn ang="0">
                <a:pos x="149" y="96"/>
              </a:cxn>
              <a:cxn ang="0">
                <a:pos x="132" y="97"/>
              </a:cxn>
              <a:cxn ang="0">
                <a:pos x="37" y="46"/>
              </a:cxn>
              <a:cxn ang="0">
                <a:pos x="48" y="79"/>
              </a:cxn>
              <a:cxn ang="0">
                <a:pos x="26" y="79"/>
              </a:cxn>
              <a:cxn ang="0">
                <a:pos x="48" y="80"/>
              </a:cxn>
              <a:cxn ang="0">
                <a:pos x="26" y="79"/>
              </a:cxn>
              <a:cxn ang="0">
                <a:pos x="26" y="13"/>
              </a:cxn>
              <a:cxn ang="0">
                <a:pos x="48" y="10"/>
              </a:cxn>
              <a:cxn ang="0">
                <a:pos x="48" y="23"/>
              </a:cxn>
              <a:cxn ang="0">
                <a:pos x="26" y="13"/>
              </a:cxn>
              <a:cxn ang="0">
                <a:pos x="26" y="13"/>
              </a:cxn>
              <a:cxn ang="0">
                <a:pos x="157" y="7"/>
              </a:cxn>
              <a:cxn ang="0">
                <a:pos x="147" y="3"/>
              </a:cxn>
              <a:cxn ang="0">
                <a:pos x="122" y="0"/>
              </a:cxn>
              <a:cxn ang="0">
                <a:pos x="103" y="3"/>
              </a:cxn>
              <a:cxn ang="0">
                <a:pos x="81" y="10"/>
              </a:cxn>
              <a:cxn ang="0">
                <a:pos x="71" y="13"/>
              </a:cxn>
              <a:cxn ang="0">
                <a:pos x="26" y="79"/>
              </a:cxn>
              <a:cxn ang="0">
                <a:pos x="7" y="80"/>
              </a:cxn>
              <a:cxn ang="0">
                <a:pos x="48" y="79"/>
              </a:cxn>
              <a:cxn ang="0">
                <a:pos x="65" y="81"/>
              </a:cxn>
              <a:cxn ang="0">
                <a:pos x="85" y="94"/>
              </a:cxn>
              <a:cxn ang="0">
                <a:pos x="101" y="104"/>
              </a:cxn>
              <a:cxn ang="0">
                <a:pos x="119" y="109"/>
              </a:cxn>
              <a:cxn ang="0">
                <a:pos x="134" y="106"/>
              </a:cxn>
              <a:cxn ang="0">
                <a:pos x="142" y="103"/>
              </a:cxn>
              <a:cxn ang="0">
                <a:pos x="146" y="98"/>
              </a:cxn>
              <a:cxn ang="0">
                <a:pos x="36" y="69"/>
              </a:cxn>
              <a:cxn ang="0">
                <a:pos x="36" y="21"/>
              </a:cxn>
            </a:cxnLst>
            <a:rect l="0" t="0" r="r" b="b"/>
            <a:pathLst>
              <a:path w="170" h="109">
                <a:moveTo>
                  <a:pt x="159" y="8"/>
                </a:moveTo>
                <a:cubicBezTo>
                  <a:pt x="159" y="8"/>
                  <a:pt x="159" y="8"/>
                  <a:pt x="159" y="8"/>
                </a:cubicBezTo>
                <a:cubicBezTo>
                  <a:pt x="163" y="10"/>
                  <a:pt x="163" y="10"/>
                  <a:pt x="163" y="10"/>
                </a:cubicBezTo>
                <a:cubicBezTo>
                  <a:pt x="166" y="14"/>
                  <a:pt x="166" y="14"/>
                  <a:pt x="166" y="14"/>
                </a:cubicBezTo>
                <a:cubicBezTo>
                  <a:pt x="168" y="17"/>
                  <a:pt x="168" y="17"/>
                  <a:pt x="168" y="17"/>
                </a:cubicBezTo>
                <a:cubicBezTo>
                  <a:pt x="168" y="21"/>
                  <a:pt x="168" y="21"/>
                  <a:pt x="168" y="21"/>
                </a:cubicBezTo>
                <a:cubicBezTo>
                  <a:pt x="167" y="23"/>
                  <a:pt x="167" y="23"/>
                  <a:pt x="167" y="23"/>
                </a:cubicBezTo>
                <a:cubicBezTo>
                  <a:pt x="164" y="26"/>
                  <a:pt x="164" y="26"/>
                  <a:pt x="164" y="26"/>
                </a:cubicBezTo>
                <a:cubicBezTo>
                  <a:pt x="164" y="29"/>
                  <a:pt x="164" y="29"/>
                  <a:pt x="164" y="29"/>
                </a:cubicBezTo>
                <a:cubicBezTo>
                  <a:pt x="166" y="33"/>
                  <a:pt x="166" y="33"/>
                  <a:pt x="166" y="33"/>
                </a:cubicBezTo>
                <a:cubicBezTo>
                  <a:pt x="168" y="35"/>
                  <a:pt x="168" y="35"/>
                  <a:pt x="168" y="35"/>
                </a:cubicBezTo>
                <a:cubicBezTo>
                  <a:pt x="169" y="37"/>
                  <a:pt x="169" y="37"/>
                  <a:pt x="169" y="37"/>
                </a:cubicBezTo>
                <a:cubicBezTo>
                  <a:pt x="170" y="41"/>
                  <a:pt x="170" y="41"/>
                  <a:pt x="170" y="41"/>
                </a:cubicBezTo>
                <a:cubicBezTo>
                  <a:pt x="170" y="45"/>
                  <a:pt x="170" y="45"/>
                  <a:pt x="170" y="45"/>
                </a:cubicBezTo>
                <a:cubicBezTo>
                  <a:pt x="168" y="47"/>
                  <a:pt x="168" y="47"/>
                  <a:pt x="168" y="47"/>
                </a:cubicBezTo>
                <a:cubicBezTo>
                  <a:pt x="166" y="49"/>
                  <a:pt x="166" y="49"/>
                  <a:pt x="166" y="49"/>
                </a:cubicBezTo>
                <a:cubicBezTo>
                  <a:pt x="166" y="53"/>
                  <a:pt x="166" y="53"/>
                  <a:pt x="166" y="53"/>
                </a:cubicBezTo>
                <a:cubicBezTo>
                  <a:pt x="166" y="56"/>
                  <a:pt x="166" y="56"/>
                  <a:pt x="166" y="56"/>
                </a:cubicBezTo>
                <a:cubicBezTo>
                  <a:pt x="168" y="59"/>
                  <a:pt x="168" y="59"/>
                  <a:pt x="168" y="59"/>
                </a:cubicBezTo>
                <a:cubicBezTo>
                  <a:pt x="169" y="61"/>
                  <a:pt x="169" y="61"/>
                  <a:pt x="169" y="61"/>
                </a:cubicBezTo>
                <a:cubicBezTo>
                  <a:pt x="169" y="66"/>
                  <a:pt x="169" y="66"/>
                  <a:pt x="169" y="66"/>
                </a:cubicBezTo>
                <a:cubicBezTo>
                  <a:pt x="168" y="68"/>
                  <a:pt x="168" y="68"/>
                  <a:pt x="168" y="68"/>
                </a:cubicBezTo>
                <a:cubicBezTo>
                  <a:pt x="164" y="71"/>
                  <a:pt x="164" y="71"/>
                  <a:pt x="164" y="71"/>
                </a:cubicBezTo>
                <a:cubicBezTo>
                  <a:pt x="162" y="73"/>
                  <a:pt x="162" y="73"/>
                  <a:pt x="162" y="73"/>
                </a:cubicBezTo>
                <a:cubicBezTo>
                  <a:pt x="160" y="75"/>
                  <a:pt x="160" y="75"/>
                  <a:pt x="160" y="75"/>
                </a:cubicBezTo>
                <a:cubicBezTo>
                  <a:pt x="161" y="80"/>
                  <a:pt x="161" y="80"/>
                  <a:pt x="161" y="80"/>
                </a:cubicBezTo>
                <a:cubicBezTo>
                  <a:pt x="162" y="84"/>
                  <a:pt x="162" y="84"/>
                  <a:pt x="162" y="84"/>
                </a:cubicBezTo>
                <a:cubicBezTo>
                  <a:pt x="163" y="87"/>
                  <a:pt x="163" y="87"/>
                  <a:pt x="163" y="87"/>
                </a:cubicBezTo>
                <a:cubicBezTo>
                  <a:pt x="162" y="91"/>
                  <a:pt x="162" y="91"/>
                  <a:pt x="162" y="91"/>
                </a:cubicBezTo>
                <a:cubicBezTo>
                  <a:pt x="161" y="93"/>
                  <a:pt x="161" y="93"/>
                  <a:pt x="161" y="93"/>
                </a:cubicBezTo>
                <a:cubicBezTo>
                  <a:pt x="157" y="94"/>
                  <a:pt x="157" y="94"/>
                  <a:pt x="157" y="94"/>
                </a:cubicBezTo>
                <a:cubicBezTo>
                  <a:pt x="149" y="96"/>
                  <a:pt x="149" y="96"/>
                  <a:pt x="149" y="96"/>
                </a:cubicBezTo>
                <a:cubicBezTo>
                  <a:pt x="140" y="96"/>
                  <a:pt x="140" y="96"/>
                  <a:pt x="140" y="96"/>
                </a:cubicBezTo>
                <a:cubicBezTo>
                  <a:pt x="132" y="97"/>
                  <a:pt x="132" y="97"/>
                  <a:pt x="132" y="97"/>
                </a:cubicBezTo>
                <a:moveTo>
                  <a:pt x="37" y="28"/>
                </a:moveTo>
                <a:cubicBezTo>
                  <a:pt x="37" y="46"/>
                  <a:pt x="37" y="46"/>
                  <a:pt x="37" y="46"/>
                </a:cubicBezTo>
                <a:cubicBezTo>
                  <a:pt x="48" y="46"/>
                  <a:pt x="48" y="46"/>
                  <a:pt x="48" y="46"/>
                </a:cubicBezTo>
                <a:moveTo>
                  <a:pt x="48" y="79"/>
                </a:moveTo>
                <a:cubicBezTo>
                  <a:pt x="48" y="67"/>
                  <a:pt x="48" y="67"/>
                  <a:pt x="48" y="67"/>
                </a:cubicBezTo>
                <a:moveTo>
                  <a:pt x="26" y="79"/>
                </a:moveTo>
                <a:cubicBezTo>
                  <a:pt x="26" y="80"/>
                  <a:pt x="26" y="80"/>
                  <a:pt x="26" y="80"/>
                </a:cubicBezTo>
                <a:cubicBezTo>
                  <a:pt x="48" y="80"/>
                  <a:pt x="48" y="80"/>
                  <a:pt x="48" y="80"/>
                </a:cubicBezTo>
                <a:cubicBezTo>
                  <a:pt x="48" y="79"/>
                  <a:pt x="48" y="79"/>
                  <a:pt x="48" y="79"/>
                </a:cubicBezTo>
                <a:moveTo>
                  <a:pt x="26" y="79"/>
                </a:moveTo>
                <a:cubicBezTo>
                  <a:pt x="26" y="67"/>
                  <a:pt x="26" y="67"/>
                  <a:pt x="26" y="67"/>
                </a:cubicBezTo>
                <a:moveTo>
                  <a:pt x="26" y="13"/>
                </a:moveTo>
                <a:cubicBezTo>
                  <a:pt x="26" y="10"/>
                  <a:pt x="26" y="10"/>
                  <a:pt x="26" y="10"/>
                </a:cubicBezTo>
                <a:cubicBezTo>
                  <a:pt x="48" y="10"/>
                  <a:pt x="48" y="10"/>
                  <a:pt x="48" y="10"/>
                </a:cubicBezTo>
                <a:cubicBezTo>
                  <a:pt x="48" y="13"/>
                  <a:pt x="48" y="13"/>
                  <a:pt x="48" y="13"/>
                </a:cubicBezTo>
                <a:moveTo>
                  <a:pt x="48" y="23"/>
                </a:moveTo>
                <a:cubicBezTo>
                  <a:pt x="48" y="13"/>
                  <a:pt x="48" y="13"/>
                  <a:pt x="48" y="13"/>
                </a:cubicBezTo>
                <a:moveTo>
                  <a:pt x="26" y="13"/>
                </a:moveTo>
                <a:cubicBezTo>
                  <a:pt x="26" y="23"/>
                  <a:pt x="26" y="23"/>
                  <a:pt x="26" y="23"/>
                </a:cubicBezTo>
                <a:moveTo>
                  <a:pt x="26" y="13"/>
                </a:moveTo>
                <a:cubicBezTo>
                  <a:pt x="0" y="13"/>
                  <a:pt x="0" y="13"/>
                  <a:pt x="0" y="13"/>
                </a:cubicBezTo>
                <a:moveTo>
                  <a:pt x="157" y="7"/>
                </a:moveTo>
                <a:cubicBezTo>
                  <a:pt x="157" y="7"/>
                  <a:pt x="157" y="7"/>
                  <a:pt x="157" y="7"/>
                </a:cubicBezTo>
                <a:cubicBezTo>
                  <a:pt x="147" y="3"/>
                  <a:pt x="147" y="3"/>
                  <a:pt x="147" y="3"/>
                </a:cubicBezTo>
                <a:cubicBezTo>
                  <a:pt x="133" y="1"/>
                  <a:pt x="133" y="1"/>
                  <a:pt x="133" y="1"/>
                </a:cubicBezTo>
                <a:cubicBezTo>
                  <a:pt x="122" y="0"/>
                  <a:pt x="122" y="0"/>
                  <a:pt x="122" y="0"/>
                </a:cubicBezTo>
                <a:cubicBezTo>
                  <a:pt x="112" y="1"/>
                  <a:pt x="112" y="1"/>
                  <a:pt x="112" y="1"/>
                </a:cubicBezTo>
                <a:cubicBezTo>
                  <a:pt x="103" y="3"/>
                  <a:pt x="103" y="3"/>
                  <a:pt x="103" y="3"/>
                </a:cubicBezTo>
                <a:cubicBezTo>
                  <a:pt x="95" y="5"/>
                  <a:pt x="95" y="5"/>
                  <a:pt x="95" y="5"/>
                </a:cubicBezTo>
                <a:cubicBezTo>
                  <a:pt x="81" y="10"/>
                  <a:pt x="81" y="10"/>
                  <a:pt x="81" y="10"/>
                </a:cubicBezTo>
                <a:cubicBezTo>
                  <a:pt x="75" y="11"/>
                  <a:pt x="75" y="11"/>
                  <a:pt x="75" y="11"/>
                </a:cubicBezTo>
                <a:cubicBezTo>
                  <a:pt x="71" y="13"/>
                  <a:pt x="71" y="13"/>
                  <a:pt x="71" y="13"/>
                </a:cubicBezTo>
                <a:cubicBezTo>
                  <a:pt x="48" y="13"/>
                  <a:pt x="48" y="13"/>
                  <a:pt x="48" y="13"/>
                </a:cubicBezTo>
                <a:moveTo>
                  <a:pt x="26" y="79"/>
                </a:moveTo>
                <a:cubicBezTo>
                  <a:pt x="26" y="79"/>
                  <a:pt x="26" y="79"/>
                  <a:pt x="26" y="79"/>
                </a:cubicBezTo>
                <a:cubicBezTo>
                  <a:pt x="7" y="80"/>
                  <a:pt x="7" y="80"/>
                  <a:pt x="7" y="80"/>
                </a:cubicBezTo>
                <a:moveTo>
                  <a:pt x="48" y="79"/>
                </a:moveTo>
                <a:cubicBezTo>
                  <a:pt x="48" y="79"/>
                  <a:pt x="48" y="79"/>
                  <a:pt x="48" y="79"/>
                </a:cubicBezTo>
                <a:cubicBezTo>
                  <a:pt x="60" y="80"/>
                  <a:pt x="60" y="80"/>
                  <a:pt x="60" y="80"/>
                </a:cubicBezTo>
                <a:cubicBezTo>
                  <a:pt x="65" y="81"/>
                  <a:pt x="65" y="81"/>
                  <a:pt x="65" y="81"/>
                </a:cubicBezTo>
                <a:cubicBezTo>
                  <a:pt x="71" y="85"/>
                  <a:pt x="71" y="85"/>
                  <a:pt x="71" y="85"/>
                </a:cubicBezTo>
                <a:cubicBezTo>
                  <a:pt x="85" y="94"/>
                  <a:pt x="85" y="94"/>
                  <a:pt x="85" y="94"/>
                </a:cubicBezTo>
                <a:cubicBezTo>
                  <a:pt x="93" y="100"/>
                  <a:pt x="93" y="100"/>
                  <a:pt x="93" y="100"/>
                </a:cubicBezTo>
                <a:cubicBezTo>
                  <a:pt x="101" y="104"/>
                  <a:pt x="101" y="104"/>
                  <a:pt x="101" y="104"/>
                </a:cubicBezTo>
                <a:cubicBezTo>
                  <a:pt x="109" y="107"/>
                  <a:pt x="109" y="107"/>
                  <a:pt x="109" y="107"/>
                </a:cubicBezTo>
                <a:cubicBezTo>
                  <a:pt x="119" y="109"/>
                  <a:pt x="119" y="109"/>
                  <a:pt x="119" y="109"/>
                </a:cubicBezTo>
                <a:cubicBezTo>
                  <a:pt x="128" y="107"/>
                  <a:pt x="128" y="107"/>
                  <a:pt x="128" y="107"/>
                </a:cubicBezTo>
                <a:cubicBezTo>
                  <a:pt x="134" y="106"/>
                  <a:pt x="134" y="106"/>
                  <a:pt x="134" y="106"/>
                </a:cubicBezTo>
                <a:cubicBezTo>
                  <a:pt x="139" y="105"/>
                  <a:pt x="139" y="105"/>
                  <a:pt x="139" y="105"/>
                </a:cubicBezTo>
                <a:cubicBezTo>
                  <a:pt x="142" y="103"/>
                  <a:pt x="142" y="103"/>
                  <a:pt x="142" y="103"/>
                </a:cubicBezTo>
                <a:cubicBezTo>
                  <a:pt x="146" y="100"/>
                  <a:pt x="146" y="100"/>
                  <a:pt x="146" y="100"/>
                </a:cubicBezTo>
                <a:cubicBezTo>
                  <a:pt x="146" y="98"/>
                  <a:pt x="146" y="98"/>
                  <a:pt x="146" y="98"/>
                </a:cubicBezTo>
                <a:moveTo>
                  <a:pt x="60" y="45"/>
                </a:moveTo>
                <a:cubicBezTo>
                  <a:pt x="60" y="59"/>
                  <a:pt x="50" y="69"/>
                  <a:pt x="36" y="69"/>
                </a:cubicBezTo>
                <a:cubicBezTo>
                  <a:pt x="23" y="69"/>
                  <a:pt x="12" y="59"/>
                  <a:pt x="12" y="45"/>
                </a:cubicBezTo>
                <a:cubicBezTo>
                  <a:pt x="12" y="32"/>
                  <a:pt x="23" y="21"/>
                  <a:pt x="36" y="21"/>
                </a:cubicBezTo>
                <a:cubicBezTo>
                  <a:pt x="50" y="21"/>
                  <a:pt x="60" y="32"/>
                  <a:pt x="60" y="45"/>
                </a:cubicBezTo>
                <a:close/>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7" name="Groupe 405"/>
          <p:cNvGrpSpPr>
            <a:grpSpLocks noChangeAspect="1"/>
          </p:cNvGrpSpPr>
          <p:nvPr/>
        </p:nvGrpSpPr>
        <p:grpSpPr>
          <a:xfrm>
            <a:off x="10042703" y="2899600"/>
            <a:ext cx="531000" cy="540000"/>
            <a:chOff x="2762251" y="4252913"/>
            <a:chExt cx="187325" cy="190500"/>
          </a:xfrm>
        </p:grpSpPr>
        <p:sp>
          <p:nvSpPr>
            <p:cNvPr id="414" name="Freeform 579"/>
            <p:cNvSpPr>
              <a:spLocks/>
            </p:cNvSpPr>
            <p:nvPr/>
          </p:nvSpPr>
          <p:spPr bwMode="auto">
            <a:xfrm>
              <a:off x="2800351" y="4322763"/>
              <a:ext cx="76200" cy="52388"/>
            </a:xfrm>
            <a:custGeom>
              <a:avLst/>
              <a:gdLst/>
              <a:ahLst/>
              <a:cxnLst>
                <a:cxn ang="0">
                  <a:pos x="48" y="29"/>
                </a:cxn>
                <a:cxn ang="0">
                  <a:pos x="48" y="29"/>
                </a:cxn>
                <a:cxn ang="0">
                  <a:pos x="48" y="30"/>
                </a:cxn>
                <a:cxn ang="0">
                  <a:pos x="47" y="31"/>
                </a:cxn>
                <a:cxn ang="0">
                  <a:pos x="45" y="33"/>
                </a:cxn>
                <a:cxn ang="0">
                  <a:pos x="44" y="33"/>
                </a:cxn>
                <a:cxn ang="0">
                  <a:pos x="5" y="33"/>
                </a:cxn>
                <a:cxn ang="0">
                  <a:pos x="5" y="33"/>
                </a:cxn>
                <a:cxn ang="0">
                  <a:pos x="3" y="33"/>
                </a:cxn>
                <a:cxn ang="0">
                  <a:pos x="2" y="31"/>
                </a:cxn>
                <a:cxn ang="0">
                  <a:pos x="1" y="30"/>
                </a:cxn>
                <a:cxn ang="0">
                  <a:pos x="0" y="29"/>
                </a:cxn>
                <a:cxn ang="0">
                  <a:pos x="0" y="4"/>
                </a:cxn>
                <a:cxn ang="0">
                  <a:pos x="0" y="4"/>
                </a:cxn>
                <a:cxn ang="0">
                  <a:pos x="1" y="3"/>
                </a:cxn>
                <a:cxn ang="0">
                  <a:pos x="2" y="2"/>
                </a:cxn>
                <a:cxn ang="0">
                  <a:pos x="3" y="0"/>
                </a:cxn>
                <a:cxn ang="0">
                  <a:pos x="5" y="0"/>
                </a:cxn>
                <a:cxn ang="0">
                  <a:pos x="44" y="0"/>
                </a:cxn>
                <a:cxn ang="0">
                  <a:pos x="44" y="0"/>
                </a:cxn>
                <a:cxn ang="0">
                  <a:pos x="45" y="0"/>
                </a:cxn>
                <a:cxn ang="0">
                  <a:pos x="47" y="2"/>
                </a:cxn>
                <a:cxn ang="0">
                  <a:pos x="48" y="3"/>
                </a:cxn>
                <a:cxn ang="0">
                  <a:pos x="48" y="4"/>
                </a:cxn>
                <a:cxn ang="0">
                  <a:pos x="48" y="29"/>
                </a:cxn>
                <a:cxn ang="0">
                  <a:pos x="48" y="29"/>
                </a:cxn>
              </a:cxnLst>
              <a:rect l="0" t="0" r="r" b="b"/>
              <a:pathLst>
                <a:path w="48" h="33">
                  <a:moveTo>
                    <a:pt x="48" y="29"/>
                  </a:moveTo>
                  <a:lnTo>
                    <a:pt x="48" y="29"/>
                  </a:lnTo>
                  <a:lnTo>
                    <a:pt x="48" y="30"/>
                  </a:lnTo>
                  <a:lnTo>
                    <a:pt x="47" y="31"/>
                  </a:lnTo>
                  <a:lnTo>
                    <a:pt x="45" y="33"/>
                  </a:lnTo>
                  <a:lnTo>
                    <a:pt x="44" y="33"/>
                  </a:lnTo>
                  <a:lnTo>
                    <a:pt x="5" y="33"/>
                  </a:lnTo>
                  <a:lnTo>
                    <a:pt x="5" y="33"/>
                  </a:lnTo>
                  <a:lnTo>
                    <a:pt x="3" y="33"/>
                  </a:lnTo>
                  <a:lnTo>
                    <a:pt x="2" y="31"/>
                  </a:lnTo>
                  <a:lnTo>
                    <a:pt x="1" y="30"/>
                  </a:lnTo>
                  <a:lnTo>
                    <a:pt x="0" y="29"/>
                  </a:lnTo>
                  <a:lnTo>
                    <a:pt x="0" y="4"/>
                  </a:lnTo>
                  <a:lnTo>
                    <a:pt x="0" y="4"/>
                  </a:lnTo>
                  <a:lnTo>
                    <a:pt x="1" y="3"/>
                  </a:lnTo>
                  <a:lnTo>
                    <a:pt x="2" y="2"/>
                  </a:lnTo>
                  <a:lnTo>
                    <a:pt x="3" y="0"/>
                  </a:lnTo>
                  <a:lnTo>
                    <a:pt x="5" y="0"/>
                  </a:lnTo>
                  <a:lnTo>
                    <a:pt x="44" y="0"/>
                  </a:lnTo>
                  <a:lnTo>
                    <a:pt x="44" y="0"/>
                  </a:lnTo>
                  <a:lnTo>
                    <a:pt x="45" y="0"/>
                  </a:lnTo>
                  <a:lnTo>
                    <a:pt x="47" y="2"/>
                  </a:lnTo>
                  <a:lnTo>
                    <a:pt x="48" y="3"/>
                  </a:lnTo>
                  <a:lnTo>
                    <a:pt x="48" y="4"/>
                  </a:lnTo>
                  <a:lnTo>
                    <a:pt x="48" y="29"/>
                  </a:lnTo>
                  <a:lnTo>
                    <a:pt x="48" y="29"/>
                  </a:lnTo>
                  <a:close/>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5" name="Freeform 580"/>
            <p:cNvSpPr>
              <a:spLocks/>
            </p:cNvSpPr>
            <p:nvPr/>
          </p:nvSpPr>
          <p:spPr bwMode="auto">
            <a:xfrm>
              <a:off x="2887663" y="4324350"/>
              <a:ext cx="25400" cy="49213"/>
            </a:xfrm>
            <a:custGeom>
              <a:avLst/>
              <a:gdLst/>
              <a:ahLst/>
              <a:cxnLst>
                <a:cxn ang="0">
                  <a:pos x="16" y="31"/>
                </a:cxn>
                <a:cxn ang="0">
                  <a:pos x="0" y="23"/>
                </a:cxn>
                <a:cxn ang="0">
                  <a:pos x="0" y="8"/>
                </a:cxn>
                <a:cxn ang="0">
                  <a:pos x="16" y="0"/>
                </a:cxn>
                <a:cxn ang="0">
                  <a:pos x="16" y="31"/>
                </a:cxn>
                <a:cxn ang="0">
                  <a:pos x="16" y="31"/>
                </a:cxn>
              </a:cxnLst>
              <a:rect l="0" t="0" r="r" b="b"/>
              <a:pathLst>
                <a:path w="16" h="31">
                  <a:moveTo>
                    <a:pt x="16" y="31"/>
                  </a:moveTo>
                  <a:lnTo>
                    <a:pt x="0" y="23"/>
                  </a:lnTo>
                  <a:lnTo>
                    <a:pt x="0" y="8"/>
                  </a:lnTo>
                  <a:lnTo>
                    <a:pt x="16" y="0"/>
                  </a:lnTo>
                  <a:lnTo>
                    <a:pt x="16" y="31"/>
                  </a:lnTo>
                  <a:lnTo>
                    <a:pt x="16" y="31"/>
                  </a:lnTo>
                  <a:close/>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581"/>
            <p:cNvSpPr>
              <a:spLocks/>
            </p:cNvSpPr>
            <p:nvPr/>
          </p:nvSpPr>
          <p:spPr bwMode="auto">
            <a:xfrm>
              <a:off x="2762251" y="4252913"/>
              <a:ext cx="187325" cy="190500"/>
            </a:xfrm>
            <a:custGeom>
              <a:avLst/>
              <a:gdLst/>
              <a:ahLst/>
              <a:cxnLst>
                <a:cxn ang="0">
                  <a:pos x="129" y="98"/>
                </a:cxn>
                <a:cxn ang="0">
                  <a:pos x="111" y="22"/>
                </a:cxn>
                <a:cxn ang="0">
                  <a:pos x="112" y="22"/>
                </a:cxn>
                <a:cxn ang="0">
                  <a:pos x="22" y="32"/>
                </a:cxn>
                <a:cxn ang="0">
                  <a:pos x="22" y="32"/>
                </a:cxn>
                <a:cxn ang="0">
                  <a:pos x="32" y="121"/>
                </a:cxn>
                <a:cxn ang="0">
                  <a:pos x="31" y="120"/>
                </a:cxn>
                <a:cxn ang="0">
                  <a:pos x="120" y="110"/>
                </a:cxn>
              </a:cxnLst>
              <a:rect l="0" t="0" r="r" b="b"/>
              <a:pathLst>
                <a:path w="141" h="142">
                  <a:moveTo>
                    <a:pt x="129" y="98"/>
                  </a:moveTo>
                  <a:cubicBezTo>
                    <a:pt x="141" y="67"/>
                    <a:pt x="132" y="42"/>
                    <a:pt x="111" y="22"/>
                  </a:cubicBezTo>
                  <a:cubicBezTo>
                    <a:pt x="112" y="22"/>
                    <a:pt x="112" y="22"/>
                    <a:pt x="112" y="22"/>
                  </a:cubicBezTo>
                  <a:cubicBezTo>
                    <a:pt x="84" y="0"/>
                    <a:pt x="44" y="5"/>
                    <a:pt x="22" y="32"/>
                  </a:cubicBezTo>
                  <a:cubicBezTo>
                    <a:pt x="22" y="32"/>
                    <a:pt x="22" y="32"/>
                    <a:pt x="22" y="32"/>
                  </a:cubicBezTo>
                  <a:cubicBezTo>
                    <a:pt x="0" y="59"/>
                    <a:pt x="5" y="99"/>
                    <a:pt x="32" y="121"/>
                  </a:cubicBezTo>
                  <a:cubicBezTo>
                    <a:pt x="31" y="120"/>
                    <a:pt x="31" y="120"/>
                    <a:pt x="31" y="120"/>
                  </a:cubicBezTo>
                  <a:cubicBezTo>
                    <a:pt x="58" y="142"/>
                    <a:pt x="98" y="138"/>
                    <a:pt x="120" y="110"/>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426" name="Freeform 744"/>
          <p:cNvSpPr>
            <a:spLocks noChangeAspect="1"/>
          </p:cNvSpPr>
          <p:nvPr/>
        </p:nvSpPr>
        <p:spPr bwMode="auto">
          <a:xfrm>
            <a:off x="4251873" y="4084382"/>
            <a:ext cx="298053" cy="540000"/>
          </a:xfrm>
          <a:custGeom>
            <a:avLst/>
            <a:gdLst/>
            <a:ahLst/>
            <a:cxnLst>
              <a:cxn ang="0">
                <a:pos x="17" y="91"/>
              </a:cxn>
              <a:cxn ang="0">
                <a:pos x="17" y="58"/>
              </a:cxn>
              <a:cxn ang="0">
                <a:pos x="25" y="48"/>
              </a:cxn>
              <a:cxn ang="0">
                <a:pos x="77" y="48"/>
              </a:cxn>
              <a:cxn ang="0">
                <a:pos x="85" y="58"/>
              </a:cxn>
              <a:cxn ang="0">
                <a:pos x="85" y="102"/>
              </a:cxn>
              <a:cxn ang="0">
                <a:pos x="78" y="111"/>
              </a:cxn>
              <a:cxn ang="0">
                <a:pos x="23" y="111"/>
              </a:cxn>
              <a:cxn ang="0">
                <a:pos x="17" y="111"/>
              </a:cxn>
              <a:cxn ang="0">
                <a:pos x="17" y="128"/>
              </a:cxn>
              <a:cxn ang="0">
                <a:pos x="23" y="128"/>
              </a:cxn>
              <a:cxn ang="0">
                <a:pos x="83" y="128"/>
              </a:cxn>
              <a:cxn ang="0">
                <a:pos x="83" y="147"/>
              </a:cxn>
              <a:cxn ang="0">
                <a:pos x="75" y="147"/>
              </a:cxn>
              <a:cxn ang="0">
                <a:pos x="73" y="147"/>
              </a:cxn>
              <a:cxn ang="0">
                <a:pos x="23" y="147"/>
              </a:cxn>
              <a:cxn ang="0">
                <a:pos x="17" y="147"/>
              </a:cxn>
              <a:cxn ang="0">
                <a:pos x="17" y="164"/>
              </a:cxn>
              <a:cxn ang="0">
                <a:pos x="23" y="164"/>
              </a:cxn>
              <a:cxn ang="0">
                <a:pos x="83" y="164"/>
              </a:cxn>
              <a:cxn ang="0">
                <a:pos x="83" y="183"/>
              </a:cxn>
              <a:cxn ang="0">
                <a:pos x="75" y="183"/>
              </a:cxn>
              <a:cxn ang="0">
                <a:pos x="10" y="183"/>
              </a:cxn>
              <a:cxn ang="0">
                <a:pos x="2" y="170"/>
              </a:cxn>
              <a:cxn ang="0">
                <a:pos x="2" y="44"/>
              </a:cxn>
              <a:cxn ang="0">
                <a:pos x="12" y="35"/>
              </a:cxn>
              <a:cxn ang="0">
                <a:pos x="60" y="35"/>
              </a:cxn>
              <a:cxn ang="0">
                <a:pos x="60" y="11"/>
              </a:cxn>
              <a:cxn ang="0">
                <a:pos x="60" y="7"/>
              </a:cxn>
              <a:cxn ang="0">
                <a:pos x="66" y="1"/>
              </a:cxn>
              <a:cxn ang="0">
                <a:pos x="79" y="5"/>
              </a:cxn>
              <a:cxn ang="0">
                <a:pos x="79" y="35"/>
              </a:cxn>
              <a:cxn ang="0">
                <a:pos x="94" y="35"/>
              </a:cxn>
              <a:cxn ang="0">
                <a:pos x="101" y="44"/>
              </a:cxn>
              <a:cxn ang="0">
                <a:pos x="101" y="169"/>
              </a:cxn>
            </a:cxnLst>
            <a:rect l="0" t="0" r="r" b="b"/>
            <a:pathLst>
              <a:path w="101" h="183">
                <a:moveTo>
                  <a:pt x="17" y="91"/>
                </a:moveTo>
                <a:cubicBezTo>
                  <a:pt x="17" y="58"/>
                  <a:pt x="17" y="58"/>
                  <a:pt x="17" y="58"/>
                </a:cubicBezTo>
                <a:cubicBezTo>
                  <a:pt x="17" y="48"/>
                  <a:pt x="25" y="48"/>
                  <a:pt x="25" y="48"/>
                </a:cubicBezTo>
                <a:cubicBezTo>
                  <a:pt x="25" y="48"/>
                  <a:pt x="69" y="48"/>
                  <a:pt x="77" y="48"/>
                </a:cubicBezTo>
                <a:cubicBezTo>
                  <a:pt x="86" y="49"/>
                  <a:pt x="85" y="58"/>
                  <a:pt x="85" y="58"/>
                </a:cubicBezTo>
                <a:cubicBezTo>
                  <a:pt x="85" y="102"/>
                  <a:pt x="85" y="102"/>
                  <a:pt x="85" y="102"/>
                </a:cubicBezTo>
                <a:cubicBezTo>
                  <a:pt x="85" y="112"/>
                  <a:pt x="78" y="111"/>
                  <a:pt x="78" y="111"/>
                </a:cubicBezTo>
                <a:cubicBezTo>
                  <a:pt x="23" y="111"/>
                  <a:pt x="23" y="111"/>
                  <a:pt x="23" y="111"/>
                </a:cubicBezTo>
                <a:cubicBezTo>
                  <a:pt x="17" y="111"/>
                  <a:pt x="17" y="111"/>
                  <a:pt x="17" y="111"/>
                </a:cubicBezTo>
                <a:cubicBezTo>
                  <a:pt x="9" y="111"/>
                  <a:pt x="10" y="128"/>
                  <a:pt x="17" y="128"/>
                </a:cubicBezTo>
                <a:cubicBezTo>
                  <a:pt x="21" y="128"/>
                  <a:pt x="23" y="128"/>
                  <a:pt x="23" y="128"/>
                </a:cubicBezTo>
                <a:cubicBezTo>
                  <a:pt x="83" y="128"/>
                  <a:pt x="83" y="128"/>
                  <a:pt x="83" y="128"/>
                </a:cubicBezTo>
                <a:cubicBezTo>
                  <a:pt x="91" y="128"/>
                  <a:pt x="92" y="146"/>
                  <a:pt x="83" y="147"/>
                </a:cubicBezTo>
                <a:cubicBezTo>
                  <a:pt x="80" y="147"/>
                  <a:pt x="75" y="147"/>
                  <a:pt x="75" y="147"/>
                </a:cubicBezTo>
                <a:cubicBezTo>
                  <a:pt x="73" y="147"/>
                  <a:pt x="73" y="147"/>
                  <a:pt x="73" y="147"/>
                </a:cubicBezTo>
                <a:cubicBezTo>
                  <a:pt x="23" y="147"/>
                  <a:pt x="23" y="147"/>
                  <a:pt x="23" y="147"/>
                </a:cubicBezTo>
                <a:cubicBezTo>
                  <a:pt x="17" y="147"/>
                  <a:pt x="17" y="147"/>
                  <a:pt x="17" y="147"/>
                </a:cubicBezTo>
                <a:cubicBezTo>
                  <a:pt x="9" y="147"/>
                  <a:pt x="10" y="164"/>
                  <a:pt x="17" y="164"/>
                </a:cubicBezTo>
                <a:cubicBezTo>
                  <a:pt x="21" y="164"/>
                  <a:pt x="23" y="164"/>
                  <a:pt x="23" y="164"/>
                </a:cubicBezTo>
                <a:cubicBezTo>
                  <a:pt x="83" y="164"/>
                  <a:pt x="83" y="164"/>
                  <a:pt x="83" y="164"/>
                </a:cubicBezTo>
                <a:cubicBezTo>
                  <a:pt x="91" y="164"/>
                  <a:pt x="92" y="182"/>
                  <a:pt x="83" y="183"/>
                </a:cubicBezTo>
                <a:cubicBezTo>
                  <a:pt x="80" y="183"/>
                  <a:pt x="75" y="183"/>
                  <a:pt x="75" y="183"/>
                </a:cubicBezTo>
                <a:cubicBezTo>
                  <a:pt x="10" y="183"/>
                  <a:pt x="10" y="183"/>
                  <a:pt x="10" y="183"/>
                </a:cubicBezTo>
                <a:cubicBezTo>
                  <a:pt x="0" y="183"/>
                  <a:pt x="2" y="170"/>
                  <a:pt x="2" y="170"/>
                </a:cubicBezTo>
                <a:cubicBezTo>
                  <a:pt x="2" y="44"/>
                  <a:pt x="2" y="44"/>
                  <a:pt x="2" y="44"/>
                </a:cubicBezTo>
                <a:cubicBezTo>
                  <a:pt x="2" y="44"/>
                  <a:pt x="1" y="35"/>
                  <a:pt x="12" y="35"/>
                </a:cubicBezTo>
                <a:cubicBezTo>
                  <a:pt x="60" y="35"/>
                  <a:pt x="60" y="35"/>
                  <a:pt x="60" y="35"/>
                </a:cubicBezTo>
                <a:cubicBezTo>
                  <a:pt x="60" y="11"/>
                  <a:pt x="60" y="11"/>
                  <a:pt x="60" y="11"/>
                </a:cubicBezTo>
                <a:cubicBezTo>
                  <a:pt x="60" y="7"/>
                  <a:pt x="60" y="7"/>
                  <a:pt x="60" y="7"/>
                </a:cubicBezTo>
                <a:cubicBezTo>
                  <a:pt x="60" y="7"/>
                  <a:pt x="59" y="1"/>
                  <a:pt x="66" y="1"/>
                </a:cubicBezTo>
                <a:cubicBezTo>
                  <a:pt x="70" y="2"/>
                  <a:pt x="79" y="0"/>
                  <a:pt x="79" y="5"/>
                </a:cubicBezTo>
                <a:cubicBezTo>
                  <a:pt x="80" y="10"/>
                  <a:pt x="79" y="35"/>
                  <a:pt x="79" y="35"/>
                </a:cubicBezTo>
                <a:cubicBezTo>
                  <a:pt x="94" y="35"/>
                  <a:pt x="94" y="35"/>
                  <a:pt x="94" y="35"/>
                </a:cubicBezTo>
                <a:cubicBezTo>
                  <a:pt x="94" y="35"/>
                  <a:pt x="101" y="35"/>
                  <a:pt x="101" y="44"/>
                </a:cubicBezTo>
                <a:cubicBezTo>
                  <a:pt x="101" y="169"/>
                  <a:pt x="101" y="169"/>
                  <a:pt x="101" y="169"/>
                </a:cubicBezTo>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7" name="Freeform 745"/>
          <p:cNvSpPr>
            <a:spLocks noChangeAspect="1" noEditPoints="1"/>
          </p:cNvSpPr>
          <p:nvPr/>
        </p:nvSpPr>
        <p:spPr bwMode="auto">
          <a:xfrm>
            <a:off x="1537553" y="4030623"/>
            <a:ext cx="294545" cy="540000"/>
          </a:xfrm>
          <a:custGeom>
            <a:avLst/>
            <a:gdLst/>
            <a:ahLst/>
            <a:cxnLst>
              <a:cxn ang="0">
                <a:pos x="37" y="152"/>
              </a:cxn>
              <a:cxn ang="0">
                <a:pos x="46" y="161"/>
              </a:cxn>
              <a:cxn ang="0">
                <a:pos x="55" y="152"/>
              </a:cxn>
              <a:cxn ang="0">
                <a:pos x="46" y="143"/>
              </a:cxn>
              <a:cxn ang="0">
                <a:pos x="21" y="143"/>
              </a:cxn>
              <a:cxn ang="0">
                <a:pos x="14" y="136"/>
              </a:cxn>
              <a:cxn ang="0">
                <a:pos x="14" y="21"/>
              </a:cxn>
              <a:cxn ang="0">
                <a:pos x="21" y="14"/>
              </a:cxn>
              <a:cxn ang="0">
                <a:pos x="72" y="14"/>
              </a:cxn>
              <a:cxn ang="0">
                <a:pos x="79" y="21"/>
              </a:cxn>
              <a:cxn ang="0">
                <a:pos x="79" y="163"/>
              </a:cxn>
              <a:cxn ang="0">
                <a:pos x="72" y="170"/>
              </a:cxn>
              <a:cxn ang="0">
                <a:pos x="72" y="170"/>
              </a:cxn>
              <a:cxn ang="0">
                <a:pos x="21" y="170"/>
              </a:cxn>
              <a:cxn ang="0">
                <a:pos x="0" y="149"/>
              </a:cxn>
              <a:cxn ang="0">
                <a:pos x="0" y="21"/>
              </a:cxn>
              <a:cxn ang="0">
                <a:pos x="21" y="0"/>
              </a:cxn>
              <a:cxn ang="0">
                <a:pos x="72" y="0"/>
              </a:cxn>
              <a:cxn ang="0">
                <a:pos x="93" y="21"/>
              </a:cxn>
              <a:cxn ang="0">
                <a:pos x="93" y="169"/>
              </a:cxn>
            </a:cxnLst>
            <a:rect l="0" t="0" r="r" b="b"/>
            <a:pathLst>
              <a:path w="93" h="170">
                <a:moveTo>
                  <a:pt x="37" y="152"/>
                </a:moveTo>
                <a:cubicBezTo>
                  <a:pt x="37" y="157"/>
                  <a:pt x="41" y="161"/>
                  <a:pt x="46" y="161"/>
                </a:cubicBezTo>
                <a:cubicBezTo>
                  <a:pt x="51" y="161"/>
                  <a:pt x="55" y="157"/>
                  <a:pt x="55" y="152"/>
                </a:cubicBezTo>
                <a:cubicBezTo>
                  <a:pt x="55" y="147"/>
                  <a:pt x="51" y="143"/>
                  <a:pt x="46" y="143"/>
                </a:cubicBezTo>
                <a:cubicBezTo>
                  <a:pt x="21" y="143"/>
                  <a:pt x="21" y="143"/>
                  <a:pt x="21" y="143"/>
                </a:cubicBezTo>
                <a:cubicBezTo>
                  <a:pt x="17" y="143"/>
                  <a:pt x="14" y="140"/>
                  <a:pt x="14" y="136"/>
                </a:cubicBezTo>
                <a:cubicBezTo>
                  <a:pt x="14" y="21"/>
                  <a:pt x="14" y="21"/>
                  <a:pt x="14" y="21"/>
                </a:cubicBezTo>
                <a:cubicBezTo>
                  <a:pt x="14" y="17"/>
                  <a:pt x="17" y="14"/>
                  <a:pt x="21" y="14"/>
                </a:cubicBezTo>
                <a:cubicBezTo>
                  <a:pt x="72" y="14"/>
                  <a:pt x="72" y="14"/>
                  <a:pt x="72" y="14"/>
                </a:cubicBezTo>
                <a:cubicBezTo>
                  <a:pt x="75" y="14"/>
                  <a:pt x="79" y="17"/>
                  <a:pt x="79" y="21"/>
                </a:cubicBezTo>
                <a:cubicBezTo>
                  <a:pt x="79" y="163"/>
                  <a:pt x="79" y="163"/>
                  <a:pt x="79" y="163"/>
                </a:cubicBezTo>
                <a:cubicBezTo>
                  <a:pt x="79" y="167"/>
                  <a:pt x="75" y="170"/>
                  <a:pt x="72" y="170"/>
                </a:cubicBezTo>
                <a:moveTo>
                  <a:pt x="72" y="170"/>
                </a:moveTo>
                <a:cubicBezTo>
                  <a:pt x="21" y="170"/>
                  <a:pt x="21" y="170"/>
                  <a:pt x="21" y="170"/>
                </a:cubicBezTo>
                <a:cubicBezTo>
                  <a:pt x="9" y="170"/>
                  <a:pt x="0" y="161"/>
                  <a:pt x="0" y="149"/>
                </a:cubicBezTo>
                <a:cubicBezTo>
                  <a:pt x="0" y="21"/>
                  <a:pt x="0" y="21"/>
                  <a:pt x="0" y="21"/>
                </a:cubicBezTo>
                <a:cubicBezTo>
                  <a:pt x="0" y="9"/>
                  <a:pt x="9" y="0"/>
                  <a:pt x="21" y="0"/>
                </a:cubicBezTo>
                <a:cubicBezTo>
                  <a:pt x="72" y="0"/>
                  <a:pt x="72" y="0"/>
                  <a:pt x="72" y="0"/>
                </a:cubicBezTo>
                <a:cubicBezTo>
                  <a:pt x="83" y="0"/>
                  <a:pt x="93" y="9"/>
                  <a:pt x="93" y="21"/>
                </a:cubicBezTo>
                <a:cubicBezTo>
                  <a:pt x="93" y="169"/>
                  <a:pt x="93" y="169"/>
                  <a:pt x="93" y="169"/>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747"/>
          <p:cNvSpPr>
            <a:spLocks noChangeAspect="1" noEditPoints="1"/>
          </p:cNvSpPr>
          <p:nvPr/>
        </p:nvSpPr>
        <p:spPr bwMode="auto">
          <a:xfrm>
            <a:off x="5113873" y="4097426"/>
            <a:ext cx="400279" cy="540000"/>
          </a:xfrm>
          <a:custGeom>
            <a:avLst/>
            <a:gdLst/>
            <a:ahLst/>
            <a:cxnLst>
              <a:cxn ang="0">
                <a:pos x="50" y="152"/>
              </a:cxn>
              <a:cxn ang="0">
                <a:pos x="59" y="161"/>
              </a:cxn>
              <a:cxn ang="0">
                <a:pos x="68" y="152"/>
              </a:cxn>
              <a:cxn ang="0">
                <a:pos x="59" y="142"/>
              </a:cxn>
              <a:cxn ang="0">
                <a:pos x="21" y="142"/>
              </a:cxn>
              <a:cxn ang="0">
                <a:pos x="14" y="135"/>
              </a:cxn>
              <a:cxn ang="0">
                <a:pos x="14" y="20"/>
              </a:cxn>
              <a:cxn ang="0">
                <a:pos x="21" y="14"/>
              </a:cxn>
              <a:cxn ang="0">
                <a:pos x="105" y="14"/>
              </a:cxn>
              <a:cxn ang="0">
                <a:pos x="112" y="20"/>
              </a:cxn>
              <a:cxn ang="0">
                <a:pos x="112" y="163"/>
              </a:cxn>
              <a:cxn ang="0">
                <a:pos x="105" y="170"/>
              </a:cxn>
              <a:cxn ang="0">
                <a:pos x="105" y="170"/>
              </a:cxn>
              <a:cxn ang="0">
                <a:pos x="21" y="170"/>
              </a:cxn>
              <a:cxn ang="0">
                <a:pos x="0" y="149"/>
              </a:cxn>
              <a:cxn ang="0">
                <a:pos x="0" y="20"/>
              </a:cxn>
              <a:cxn ang="0">
                <a:pos x="21" y="0"/>
              </a:cxn>
              <a:cxn ang="0">
                <a:pos x="105" y="0"/>
              </a:cxn>
              <a:cxn ang="0">
                <a:pos x="126" y="20"/>
              </a:cxn>
              <a:cxn ang="0">
                <a:pos x="126" y="169"/>
              </a:cxn>
            </a:cxnLst>
            <a:rect l="0" t="0" r="r" b="b"/>
            <a:pathLst>
              <a:path w="126" h="170">
                <a:moveTo>
                  <a:pt x="50" y="152"/>
                </a:moveTo>
                <a:cubicBezTo>
                  <a:pt x="50" y="157"/>
                  <a:pt x="54" y="161"/>
                  <a:pt x="59" y="161"/>
                </a:cubicBezTo>
                <a:cubicBezTo>
                  <a:pt x="64" y="161"/>
                  <a:pt x="68" y="157"/>
                  <a:pt x="68" y="152"/>
                </a:cubicBezTo>
                <a:cubicBezTo>
                  <a:pt x="68" y="146"/>
                  <a:pt x="64" y="142"/>
                  <a:pt x="59" y="142"/>
                </a:cubicBezTo>
                <a:cubicBezTo>
                  <a:pt x="21" y="142"/>
                  <a:pt x="21" y="142"/>
                  <a:pt x="21" y="142"/>
                </a:cubicBezTo>
                <a:cubicBezTo>
                  <a:pt x="17" y="142"/>
                  <a:pt x="14" y="139"/>
                  <a:pt x="14" y="135"/>
                </a:cubicBezTo>
                <a:cubicBezTo>
                  <a:pt x="14" y="20"/>
                  <a:pt x="14" y="20"/>
                  <a:pt x="14" y="20"/>
                </a:cubicBezTo>
                <a:cubicBezTo>
                  <a:pt x="14" y="17"/>
                  <a:pt x="17" y="14"/>
                  <a:pt x="21" y="14"/>
                </a:cubicBezTo>
                <a:cubicBezTo>
                  <a:pt x="105" y="14"/>
                  <a:pt x="105" y="14"/>
                  <a:pt x="105" y="14"/>
                </a:cubicBezTo>
                <a:cubicBezTo>
                  <a:pt x="109" y="14"/>
                  <a:pt x="112" y="17"/>
                  <a:pt x="112" y="20"/>
                </a:cubicBezTo>
                <a:cubicBezTo>
                  <a:pt x="112" y="163"/>
                  <a:pt x="112" y="163"/>
                  <a:pt x="112" y="163"/>
                </a:cubicBezTo>
                <a:cubicBezTo>
                  <a:pt x="112" y="167"/>
                  <a:pt x="109" y="170"/>
                  <a:pt x="105" y="170"/>
                </a:cubicBezTo>
                <a:moveTo>
                  <a:pt x="105" y="170"/>
                </a:moveTo>
                <a:cubicBezTo>
                  <a:pt x="21" y="170"/>
                  <a:pt x="21" y="170"/>
                  <a:pt x="21" y="170"/>
                </a:cubicBezTo>
                <a:cubicBezTo>
                  <a:pt x="9" y="170"/>
                  <a:pt x="0" y="160"/>
                  <a:pt x="0" y="149"/>
                </a:cubicBezTo>
                <a:cubicBezTo>
                  <a:pt x="0" y="20"/>
                  <a:pt x="0" y="20"/>
                  <a:pt x="0" y="20"/>
                </a:cubicBezTo>
                <a:cubicBezTo>
                  <a:pt x="0" y="9"/>
                  <a:pt x="9" y="0"/>
                  <a:pt x="21" y="0"/>
                </a:cubicBezTo>
                <a:cubicBezTo>
                  <a:pt x="105" y="0"/>
                  <a:pt x="105" y="0"/>
                  <a:pt x="105" y="0"/>
                </a:cubicBezTo>
                <a:cubicBezTo>
                  <a:pt x="116" y="0"/>
                  <a:pt x="126" y="9"/>
                  <a:pt x="126" y="20"/>
                </a:cubicBezTo>
                <a:cubicBezTo>
                  <a:pt x="126" y="169"/>
                  <a:pt x="126" y="169"/>
                  <a:pt x="126" y="169"/>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0" name="Freeform 636"/>
          <p:cNvSpPr>
            <a:spLocks noChangeAspect="1"/>
          </p:cNvSpPr>
          <p:nvPr/>
        </p:nvSpPr>
        <p:spPr bwMode="auto">
          <a:xfrm>
            <a:off x="5816868" y="4135808"/>
            <a:ext cx="797591" cy="504000"/>
          </a:xfrm>
          <a:custGeom>
            <a:avLst/>
            <a:gdLst/>
            <a:ahLst/>
            <a:cxnLst>
              <a:cxn ang="0">
                <a:pos x="193" y="108"/>
              </a:cxn>
              <a:cxn ang="0">
                <a:pos x="180" y="122"/>
              </a:cxn>
              <a:cxn ang="0">
                <a:pos x="14" y="122"/>
              </a:cxn>
              <a:cxn ang="0">
                <a:pos x="0" y="108"/>
              </a:cxn>
              <a:cxn ang="0">
                <a:pos x="176" y="108"/>
              </a:cxn>
              <a:cxn ang="0">
                <a:pos x="176" y="0"/>
              </a:cxn>
              <a:cxn ang="0">
                <a:pos x="18" y="0"/>
              </a:cxn>
              <a:cxn ang="0">
                <a:pos x="18" y="94"/>
              </a:cxn>
            </a:cxnLst>
            <a:rect l="0" t="0" r="r" b="b"/>
            <a:pathLst>
              <a:path w="193" h="122">
                <a:moveTo>
                  <a:pt x="193" y="108"/>
                </a:moveTo>
                <a:cubicBezTo>
                  <a:pt x="193" y="116"/>
                  <a:pt x="187" y="122"/>
                  <a:pt x="180" y="122"/>
                </a:cubicBezTo>
                <a:cubicBezTo>
                  <a:pt x="14" y="122"/>
                  <a:pt x="14" y="122"/>
                  <a:pt x="14" y="122"/>
                </a:cubicBezTo>
                <a:cubicBezTo>
                  <a:pt x="6" y="122"/>
                  <a:pt x="0" y="116"/>
                  <a:pt x="0" y="108"/>
                </a:cubicBezTo>
                <a:cubicBezTo>
                  <a:pt x="176" y="108"/>
                  <a:pt x="176" y="108"/>
                  <a:pt x="176" y="108"/>
                </a:cubicBezTo>
                <a:cubicBezTo>
                  <a:pt x="176" y="0"/>
                  <a:pt x="176" y="0"/>
                  <a:pt x="176" y="0"/>
                </a:cubicBezTo>
                <a:cubicBezTo>
                  <a:pt x="18" y="0"/>
                  <a:pt x="18" y="0"/>
                  <a:pt x="18" y="0"/>
                </a:cubicBezTo>
                <a:cubicBezTo>
                  <a:pt x="18" y="94"/>
                  <a:pt x="18" y="94"/>
                  <a:pt x="18" y="9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713"/>
          <p:cNvSpPr>
            <a:spLocks noChangeAspect="1" noEditPoints="1"/>
          </p:cNvSpPr>
          <p:nvPr/>
        </p:nvSpPr>
        <p:spPr bwMode="auto">
          <a:xfrm>
            <a:off x="7970075" y="4101288"/>
            <a:ext cx="675944" cy="540000"/>
          </a:xfrm>
          <a:custGeom>
            <a:avLst/>
            <a:gdLst/>
            <a:ahLst/>
            <a:cxnLst>
              <a:cxn ang="0">
                <a:pos x="82" y="86"/>
              </a:cxn>
              <a:cxn ang="0">
                <a:pos x="74" y="169"/>
              </a:cxn>
              <a:cxn ang="0">
                <a:pos x="139" y="58"/>
              </a:cxn>
              <a:cxn ang="0">
                <a:pos x="149" y="132"/>
              </a:cxn>
              <a:cxn ang="0">
                <a:pos x="107" y="10"/>
              </a:cxn>
              <a:cxn ang="0">
                <a:pos x="125" y="0"/>
              </a:cxn>
              <a:cxn ang="0">
                <a:pos x="153" y="18"/>
              </a:cxn>
              <a:cxn ang="0">
                <a:pos x="176" y="20"/>
              </a:cxn>
              <a:cxn ang="0">
                <a:pos x="148" y="34"/>
              </a:cxn>
              <a:cxn ang="0">
                <a:pos x="122" y="24"/>
              </a:cxn>
              <a:cxn ang="0">
                <a:pos x="107" y="34"/>
              </a:cxn>
              <a:cxn ang="0">
                <a:pos x="107" y="116"/>
              </a:cxn>
              <a:cxn ang="0">
                <a:pos x="107" y="10"/>
              </a:cxn>
              <a:cxn ang="0">
                <a:pos x="137" y="103"/>
              </a:cxn>
              <a:cxn ang="0">
                <a:pos x="114" y="131"/>
              </a:cxn>
              <a:cxn ang="0">
                <a:pos x="78" y="126"/>
              </a:cxn>
              <a:cxn ang="0">
                <a:pos x="101" y="98"/>
              </a:cxn>
              <a:cxn ang="0">
                <a:pos x="137" y="103"/>
              </a:cxn>
              <a:cxn ang="0">
                <a:pos x="119" y="108"/>
              </a:cxn>
              <a:cxn ang="0">
                <a:pos x="109" y="120"/>
              </a:cxn>
              <a:cxn ang="0">
                <a:pos x="93" y="118"/>
              </a:cxn>
              <a:cxn ang="0">
                <a:pos x="103" y="106"/>
              </a:cxn>
              <a:cxn ang="0">
                <a:pos x="119" y="108"/>
              </a:cxn>
              <a:cxn ang="0">
                <a:pos x="213" y="170"/>
              </a:cxn>
              <a:cxn ang="0">
                <a:pos x="188" y="87"/>
              </a:cxn>
              <a:cxn ang="0">
                <a:pos x="139" y="58"/>
              </a:cxn>
              <a:cxn ang="0">
                <a:pos x="82" y="86"/>
              </a:cxn>
              <a:cxn ang="0">
                <a:pos x="25" y="70"/>
              </a:cxn>
              <a:cxn ang="0">
                <a:pos x="0" y="147"/>
              </a:cxn>
              <a:cxn ang="0">
                <a:pos x="74" y="169"/>
              </a:cxn>
              <a:cxn ang="0">
                <a:pos x="149" y="132"/>
              </a:cxn>
              <a:cxn ang="0">
                <a:pos x="192" y="158"/>
              </a:cxn>
            </a:cxnLst>
            <a:rect l="0" t="0" r="r" b="b"/>
            <a:pathLst>
              <a:path w="213" h="170">
                <a:moveTo>
                  <a:pt x="82" y="86"/>
                </a:moveTo>
                <a:cubicBezTo>
                  <a:pt x="74" y="169"/>
                  <a:pt x="74" y="169"/>
                  <a:pt x="74" y="169"/>
                </a:cubicBezTo>
                <a:moveTo>
                  <a:pt x="139" y="58"/>
                </a:moveTo>
                <a:cubicBezTo>
                  <a:pt x="149" y="132"/>
                  <a:pt x="149" y="132"/>
                  <a:pt x="149" y="132"/>
                </a:cubicBezTo>
                <a:moveTo>
                  <a:pt x="107" y="10"/>
                </a:moveTo>
                <a:cubicBezTo>
                  <a:pt x="107" y="10"/>
                  <a:pt x="114" y="0"/>
                  <a:pt x="125" y="0"/>
                </a:cubicBezTo>
                <a:cubicBezTo>
                  <a:pt x="137" y="0"/>
                  <a:pt x="141" y="17"/>
                  <a:pt x="153" y="18"/>
                </a:cubicBezTo>
                <a:cubicBezTo>
                  <a:pt x="166" y="19"/>
                  <a:pt x="176" y="20"/>
                  <a:pt x="176" y="20"/>
                </a:cubicBezTo>
                <a:cubicBezTo>
                  <a:pt x="176" y="20"/>
                  <a:pt x="167" y="34"/>
                  <a:pt x="148" y="34"/>
                </a:cubicBezTo>
                <a:cubicBezTo>
                  <a:pt x="129" y="34"/>
                  <a:pt x="130" y="23"/>
                  <a:pt x="122" y="24"/>
                </a:cubicBezTo>
                <a:cubicBezTo>
                  <a:pt x="113" y="26"/>
                  <a:pt x="107" y="34"/>
                  <a:pt x="107" y="34"/>
                </a:cubicBezTo>
                <a:moveTo>
                  <a:pt x="107" y="116"/>
                </a:moveTo>
                <a:cubicBezTo>
                  <a:pt x="107" y="10"/>
                  <a:pt x="107" y="10"/>
                  <a:pt x="107" y="10"/>
                </a:cubicBezTo>
                <a:moveTo>
                  <a:pt x="137" y="103"/>
                </a:moveTo>
                <a:cubicBezTo>
                  <a:pt x="141" y="112"/>
                  <a:pt x="131" y="125"/>
                  <a:pt x="114" y="131"/>
                </a:cubicBezTo>
                <a:cubicBezTo>
                  <a:pt x="98" y="138"/>
                  <a:pt x="82" y="136"/>
                  <a:pt x="78" y="126"/>
                </a:cubicBezTo>
                <a:cubicBezTo>
                  <a:pt x="75" y="117"/>
                  <a:pt x="85" y="104"/>
                  <a:pt x="101" y="98"/>
                </a:cubicBezTo>
                <a:cubicBezTo>
                  <a:pt x="118" y="92"/>
                  <a:pt x="134" y="94"/>
                  <a:pt x="137" y="103"/>
                </a:cubicBezTo>
                <a:close/>
                <a:moveTo>
                  <a:pt x="119" y="108"/>
                </a:moveTo>
                <a:cubicBezTo>
                  <a:pt x="121" y="112"/>
                  <a:pt x="116" y="118"/>
                  <a:pt x="109" y="120"/>
                </a:cubicBezTo>
                <a:cubicBezTo>
                  <a:pt x="102" y="123"/>
                  <a:pt x="95" y="122"/>
                  <a:pt x="93" y="118"/>
                </a:cubicBezTo>
                <a:cubicBezTo>
                  <a:pt x="92" y="114"/>
                  <a:pt x="96" y="108"/>
                  <a:pt x="103" y="106"/>
                </a:cubicBezTo>
                <a:cubicBezTo>
                  <a:pt x="111" y="103"/>
                  <a:pt x="118" y="104"/>
                  <a:pt x="119" y="108"/>
                </a:cubicBezTo>
                <a:close/>
                <a:moveTo>
                  <a:pt x="213" y="170"/>
                </a:moveTo>
                <a:cubicBezTo>
                  <a:pt x="188" y="87"/>
                  <a:pt x="188" y="87"/>
                  <a:pt x="188" y="87"/>
                </a:cubicBezTo>
                <a:cubicBezTo>
                  <a:pt x="139" y="58"/>
                  <a:pt x="139" y="58"/>
                  <a:pt x="139" y="58"/>
                </a:cubicBezTo>
                <a:cubicBezTo>
                  <a:pt x="82" y="86"/>
                  <a:pt x="82" y="86"/>
                  <a:pt x="82" y="86"/>
                </a:cubicBezTo>
                <a:cubicBezTo>
                  <a:pt x="25" y="70"/>
                  <a:pt x="25" y="70"/>
                  <a:pt x="25" y="70"/>
                </a:cubicBezTo>
                <a:cubicBezTo>
                  <a:pt x="0" y="147"/>
                  <a:pt x="0" y="147"/>
                  <a:pt x="0" y="147"/>
                </a:cubicBezTo>
                <a:cubicBezTo>
                  <a:pt x="74" y="169"/>
                  <a:pt x="74" y="169"/>
                  <a:pt x="74" y="169"/>
                </a:cubicBezTo>
                <a:cubicBezTo>
                  <a:pt x="149" y="132"/>
                  <a:pt x="149" y="132"/>
                  <a:pt x="149" y="132"/>
                </a:cubicBezTo>
                <a:cubicBezTo>
                  <a:pt x="192" y="158"/>
                  <a:pt x="192" y="158"/>
                  <a:pt x="192" y="158"/>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8" name="Groupe 431"/>
          <p:cNvGrpSpPr>
            <a:grpSpLocks noChangeAspect="1"/>
          </p:cNvGrpSpPr>
          <p:nvPr/>
        </p:nvGrpSpPr>
        <p:grpSpPr>
          <a:xfrm>
            <a:off x="6993966" y="4331386"/>
            <a:ext cx="576000" cy="250023"/>
            <a:chOff x="3063876" y="4302126"/>
            <a:chExt cx="288925" cy="125413"/>
          </a:xfrm>
        </p:grpSpPr>
        <p:sp>
          <p:nvSpPr>
            <p:cNvPr id="433" name="Freeform 748"/>
            <p:cNvSpPr>
              <a:spLocks noEditPoints="1"/>
            </p:cNvSpPr>
            <p:nvPr/>
          </p:nvSpPr>
          <p:spPr bwMode="auto">
            <a:xfrm>
              <a:off x="3063876" y="4302126"/>
              <a:ext cx="288925" cy="125413"/>
            </a:xfrm>
            <a:custGeom>
              <a:avLst/>
              <a:gdLst/>
              <a:ahLst/>
              <a:cxnLst>
                <a:cxn ang="0">
                  <a:pos x="126" y="45"/>
                </a:cxn>
                <a:cxn ang="0">
                  <a:pos x="170" y="45"/>
                </a:cxn>
                <a:cxn ang="0">
                  <a:pos x="216" y="90"/>
                </a:cxn>
                <a:cxn ang="0">
                  <a:pos x="63" y="90"/>
                </a:cxn>
                <a:cxn ang="0">
                  <a:pos x="0" y="45"/>
                </a:cxn>
                <a:cxn ang="0">
                  <a:pos x="63" y="0"/>
                </a:cxn>
                <a:cxn ang="0">
                  <a:pos x="126" y="45"/>
                </a:cxn>
                <a:cxn ang="0">
                  <a:pos x="63" y="90"/>
                </a:cxn>
                <a:cxn ang="0">
                  <a:pos x="77" y="45"/>
                </a:cxn>
                <a:cxn ang="0">
                  <a:pos x="123" y="45"/>
                </a:cxn>
              </a:cxnLst>
              <a:rect l="0" t="0" r="r" b="b"/>
              <a:pathLst>
                <a:path w="216" h="93">
                  <a:moveTo>
                    <a:pt x="126" y="45"/>
                  </a:moveTo>
                  <a:cubicBezTo>
                    <a:pt x="126" y="45"/>
                    <a:pt x="154" y="31"/>
                    <a:pt x="170" y="45"/>
                  </a:cubicBezTo>
                  <a:cubicBezTo>
                    <a:pt x="186" y="60"/>
                    <a:pt x="181" y="93"/>
                    <a:pt x="216" y="90"/>
                  </a:cubicBezTo>
                  <a:moveTo>
                    <a:pt x="63" y="90"/>
                  </a:moveTo>
                  <a:cubicBezTo>
                    <a:pt x="28" y="90"/>
                    <a:pt x="0" y="70"/>
                    <a:pt x="0" y="45"/>
                  </a:cubicBezTo>
                  <a:cubicBezTo>
                    <a:pt x="0" y="20"/>
                    <a:pt x="28" y="0"/>
                    <a:pt x="63" y="0"/>
                  </a:cubicBezTo>
                  <a:cubicBezTo>
                    <a:pt x="98" y="0"/>
                    <a:pt x="126" y="20"/>
                    <a:pt x="126" y="45"/>
                  </a:cubicBezTo>
                  <a:cubicBezTo>
                    <a:pt x="126" y="70"/>
                    <a:pt x="98" y="90"/>
                    <a:pt x="63" y="90"/>
                  </a:cubicBezTo>
                  <a:close/>
                  <a:moveTo>
                    <a:pt x="77" y="45"/>
                  </a:moveTo>
                  <a:cubicBezTo>
                    <a:pt x="123" y="45"/>
                    <a:pt x="123" y="45"/>
                    <a:pt x="123" y="4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Oval 749"/>
            <p:cNvSpPr>
              <a:spLocks noChangeArrowheads="1"/>
            </p:cNvSpPr>
            <p:nvPr/>
          </p:nvSpPr>
          <p:spPr bwMode="auto">
            <a:xfrm>
              <a:off x="3133726" y="4348163"/>
              <a:ext cx="46038" cy="30163"/>
            </a:xfrm>
            <a:prstGeom prst="ellipse">
              <a:avLst/>
            </a:prstGeom>
            <a:solidFill>
              <a:srgbClr val="000000"/>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750"/>
            <p:cNvSpPr>
              <a:spLocks/>
            </p:cNvSpPr>
            <p:nvPr/>
          </p:nvSpPr>
          <p:spPr bwMode="auto">
            <a:xfrm>
              <a:off x="3125788" y="4302126"/>
              <a:ext cx="41275" cy="120650"/>
            </a:xfrm>
            <a:custGeom>
              <a:avLst/>
              <a:gdLst/>
              <a:ahLst/>
              <a:cxnLst>
                <a:cxn ang="0">
                  <a:pos x="0" y="0"/>
                </a:cxn>
                <a:cxn ang="0">
                  <a:pos x="30" y="45"/>
                </a:cxn>
                <a:cxn ang="0">
                  <a:pos x="0" y="90"/>
                </a:cxn>
              </a:cxnLst>
              <a:rect l="0" t="0" r="r" b="b"/>
              <a:pathLst>
                <a:path w="30" h="90">
                  <a:moveTo>
                    <a:pt x="0" y="0"/>
                  </a:moveTo>
                  <a:cubicBezTo>
                    <a:pt x="17" y="0"/>
                    <a:pt x="30" y="20"/>
                    <a:pt x="30" y="45"/>
                  </a:cubicBezTo>
                  <a:cubicBezTo>
                    <a:pt x="30" y="70"/>
                    <a:pt x="17" y="90"/>
                    <a:pt x="0" y="90"/>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36" name="Freeform 751"/>
          <p:cNvSpPr>
            <a:spLocks noChangeAspect="1" noEditPoints="1"/>
          </p:cNvSpPr>
          <p:nvPr/>
        </p:nvSpPr>
        <p:spPr bwMode="auto">
          <a:xfrm>
            <a:off x="9006600" y="4130205"/>
            <a:ext cx="540000" cy="540000"/>
          </a:xfrm>
          <a:custGeom>
            <a:avLst/>
            <a:gdLst/>
            <a:ahLst/>
            <a:cxnLst>
              <a:cxn ang="0">
                <a:pos x="86" y="170"/>
              </a:cxn>
              <a:cxn ang="0">
                <a:pos x="86" y="0"/>
              </a:cxn>
              <a:cxn ang="0">
                <a:pos x="0" y="85"/>
              </a:cxn>
              <a:cxn ang="0">
                <a:pos x="171" y="85"/>
              </a:cxn>
              <a:cxn ang="0">
                <a:pos x="132" y="85"/>
              </a:cxn>
              <a:cxn ang="0">
                <a:pos x="86" y="170"/>
              </a:cxn>
              <a:cxn ang="0">
                <a:pos x="40" y="85"/>
              </a:cxn>
              <a:cxn ang="0">
                <a:pos x="86" y="0"/>
              </a:cxn>
              <a:cxn ang="0">
                <a:pos x="132" y="85"/>
              </a:cxn>
              <a:cxn ang="0">
                <a:pos x="150" y="139"/>
              </a:cxn>
              <a:cxn ang="0">
                <a:pos x="86" y="125"/>
              </a:cxn>
              <a:cxn ang="0">
                <a:pos x="20" y="139"/>
              </a:cxn>
              <a:cxn ang="0">
                <a:pos x="20" y="30"/>
              </a:cxn>
              <a:cxn ang="0">
                <a:pos x="85" y="45"/>
              </a:cxn>
              <a:cxn ang="0">
                <a:pos x="150" y="30"/>
              </a:cxn>
              <a:cxn ang="0">
                <a:pos x="20" y="30"/>
              </a:cxn>
              <a:cxn ang="0">
                <a:pos x="86" y="0"/>
              </a:cxn>
              <a:cxn ang="0">
                <a:pos x="150" y="30"/>
              </a:cxn>
              <a:cxn ang="0">
                <a:pos x="20" y="30"/>
              </a:cxn>
              <a:cxn ang="0">
                <a:pos x="0" y="85"/>
              </a:cxn>
              <a:cxn ang="0">
                <a:pos x="86" y="170"/>
              </a:cxn>
              <a:cxn ang="0">
                <a:pos x="127" y="159"/>
              </a:cxn>
              <a:cxn ang="0">
                <a:pos x="151" y="139"/>
              </a:cxn>
              <a:cxn ang="0">
                <a:pos x="171" y="85"/>
              </a:cxn>
              <a:cxn ang="0">
                <a:pos x="150" y="30"/>
              </a:cxn>
            </a:cxnLst>
            <a:rect l="0" t="0" r="r" b="b"/>
            <a:pathLst>
              <a:path w="171" h="170">
                <a:moveTo>
                  <a:pt x="86" y="170"/>
                </a:moveTo>
                <a:cubicBezTo>
                  <a:pt x="86" y="0"/>
                  <a:pt x="86" y="0"/>
                  <a:pt x="86" y="0"/>
                </a:cubicBezTo>
                <a:moveTo>
                  <a:pt x="0" y="85"/>
                </a:moveTo>
                <a:cubicBezTo>
                  <a:pt x="171" y="85"/>
                  <a:pt x="171" y="85"/>
                  <a:pt x="171" y="85"/>
                </a:cubicBezTo>
                <a:moveTo>
                  <a:pt x="132" y="85"/>
                </a:moveTo>
                <a:cubicBezTo>
                  <a:pt x="132" y="132"/>
                  <a:pt x="111" y="170"/>
                  <a:pt x="86" y="170"/>
                </a:cubicBezTo>
                <a:cubicBezTo>
                  <a:pt x="60" y="170"/>
                  <a:pt x="40" y="132"/>
                  <a:pt x="40" y="85"/>
                </a:cubicBezTo>
                <a:cubicBezTo>
                  <a:pt x="40" y="38"/>
                  <a:pt x="60" y="0"/>
                  <a:pt x="86" y="0"/>
                </a:cubicBezTo>
                <a:cubicBezTo>
                  <a:pt x="111" y="0"/>
                  <a:pt x="132" y="38"/>
                  <a:pt x="132" y="85"/>
                </a:cubicBezTo>
                <a:close/>
                <a:moveTo>
                  <a:pt x="150" y="139"/>
                </a:moveTo>
                <a:cubicBezTo>
                  <a:pt x="135" y="130"/>
                  <a:pt x="112" y="125"/>
                  <a:pt x="86" y="125"/>
                </a:cubicBezTo>
                <a:cubicBezTo>
                  <a:pt x="59" y="125"/>
                  <a:pt x="36" y="130"/>
                  <a:pt x="20" y="139"/>
                </a:cubicBezTo>
                <a:moveTo>
                  <a:pt x="20" y="30"/>
                </a:moveTo>
                <a:cubicBezTo>
                  <a:pt x="36" y="39"/>
                  <a:pt x="59" y="45"/>
                  <a:pt x="85" y="45"/>
                </a:cubicBezTo>
                <a:cubicBezTo>
                  <a:pt x="111" y="45"/>
                  <a:pt x="135" y="39"/>
                  <a:pt x="150" y="30"/>
                </a:cubicBezTo>
                <a:moveTo>
                  <a:pt x="20" y="30"/>
                </a:moveTo>
                <a:cubicBezTo>
                  <a:pt x="36" y="12"/>
                  <a:pt x="59" y="0"/>
                  <a:pt x="86" y="0"/>
                </a:cubicBezTo>
                <a:cubicBezTo>
                  <a:pt x="112" y="0"/>
                  <a:pt x="135" y="12"/>
                  <a:pt x="150" y="30"/>
                </a:cubicBezTo>
                <a:moveTo>
                  <a:pt x="20" y="30"/>
                </a:moveTo>
                <a:cubicBezTo>
                  <a:pt x="8" y="45"/>
                  <a:pt x="0" y="64"/>
                  <a:pt x="0" y="85"/>
                </a:cubicBezTo>
                <a:cubicBezTo>
                  <a:pt x="0" y="132"/>
                  <a:pt x="39" y="170"/>
                  <a:pt x="86" y="170"/>
                </a:cubicBezTo>
                <a:moveTo>
                  <a:pt x="127" y="159"/>
                </a:moveTo>
                <a:cubicBezTo>
                  <a:pt x="136" y="154"/>
                  <a:pt x="144" y="147"/>
                  <a:pt x="151" y="139"/>
                </a:cubicBezTo>
                <a:cubicBezTo>
                  <a:pt x="163" y="125"/>
                  <a:pt x="171" y="106"/>
                  <a:pt x="171" y="85"/>
                </a:cubicBezTo>
                <a:cubicBezTo>
                  <a:pt x="171" y="64"/>
                  <a:pt x="163" y="45"/>
                  <a:pt x="150" y="30"/>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752"/>
          <p:cNvSpPr>
            <a:spLocks noChangeAspect="1" noEditPoints="1"/>
          </p:cNvSpPr>
          <p:nvPr/>
        </p:nvSpPr>
        <p:spPr bwMode="auto">
          <a:xfrm>
            <a:off x="9746162" y="4136556"/>
            <a:ext cx="712500" cy="540000"/>
          </a:xfrm>
          <a:custGeom>
            <a:avLst/>
            <a:gdLst/>
            <a:ahLst/>
            <a:cxnLst>
              <a:cxn ang="0">
                <a:pos x="101" y="98"/>
              </a:cxn>
              <a:cxn ang="0">
                <a:pos x="117" y="114"/>
              </a:cxn>
              <a:cxn ang="0">
                <a:pos x="101" y="130"/>
              </a:cxn>
              <a:cxn ang="0">
                <a:pos x="57" y="114"/>
              </a:cxn>
              <a:cxn ang="0">
                <a:pos x="113" y="114"/>
              </a:cxn>
              <a:cxn ang="0">
                <a:pos x="56" y="53"/>
              </a:cxn>
              <a:cxn ang="0">
                <a:pos x="72" y="69"/>
              </a:cxn>
              <a:cxn ang="0">
                <a:pos x="56" y="85"/>
              </a:cxn>
              <a:cxn ang="0">
                <a:pos x="0" y="69"/>
              </a:cxn>
              <a:cxn ang="0">
                <a:pos x="56" y="69"/>
              </a:cxn>
              <a:cxn ang="0">
                <a:pos x="140" y="171"/>
              </a:cxn>
              <a:cxn ang="0">
                <a:pos x="140" y="0"/>
              </a:cxn>
              <a:cxn ang="0">
                <a:pos x="56" y="85"/>
              </a:cxn>
              <a:cxn ang="0">
                <a:pos x="225" y="85"/>
              </a:cxn>
              <a:cxn ang="0">
                <a:pos x="95" y="85"/>
              </a:cxn>
              <a:cxn ang="0">
                <a:pos x="140" y="0"/>
              </a:cxn>
              <a:cxn ang="0">
                <a:pos x="186" y="85"/>
              </a:cxn>
              <a:cxn ang="0">
                <a:pos x="140" y="171"/>
              </a:cxn>
              <a:cxn ang="0">
                <a:pos x="101" y="130"/>
              </a:cxn>
              <a:cxn ang="0">
                <a:pos x="205" y="140"/>
              </a:cxn>
              <a:cxn ang="0">
                <a:pos x="140" y="125"/>
              </a:cxn>
              <a:cxn ang="0">
                <a:pos x="75" y="140"/>
              </a:cxn>
              <a:cxn ang="0">
                <a:pos x="75" y="31"/>
              </a:cxn>
              <a:cxn ang="0">
                <a:pos x="140" y="46"/>
              </a:cxn>
              <a:cxn ang="0">
                <a:pos x="205" y="31"/>
              </a:cxn>
              <a:cxn ang="0">
                <a:pos x="75" y="31"/>
              </a:cxn>
              <a:cxn ang="0">
                <a:pos x="140" y="0"/>
              </a:cxn>
              <a:cxn ang="0">
                <a:pos x="205" y="31"/>
              </a:cxn>
              <a:cxn ang="0">
                <a:pos x="75" y="140"/>
              </a:cxn>
              <a:cxn ang="0">
                <a:pos x="140" y="171"/>
              </a:cxn>
              <a:cxn ang="0">
                <a:pos x="205" y="140"/>
              </a:cxn>
              <a:cxn ang="0">
                <a:pos x="225" y="85"/>
              </a:cxn>
              <a:cxn ang="0">
                <a:pos x="205" y="31"/>
              </a:cxn>
            </a:cxnLst>
            <a:rect l="0" t="0" r="r" b="b"/>
            <a:pathLst>
              <a:path w="225" h="171">
                <a:moveTo>
                  <a:pt x="101" y="98"/>
                </a:moveTo>
                <a:cubicBezTo>
                  <a:pt x="117" y="114"/>
                  <a:pt x="117" y="114"/>
                  <a:pt x="117" y="114"/>
                </a:cubicBezTo>
                <a:cubicBezTo>
                  <a:pt x="101" y="130"/>
                  <a:pt x="101" y="130"/>
                  <a:pt x="101" y="130"/>
                </a:cubicBezTo>
                <a:moveTo>
                  <a:pt x="57" y="114"/>
                </a:moveTo>
                <a:cubicBezTo>
                  <a:pt x="113" y="114"/>
                  <a:pt x="113" y="114"/>
                  <a:pt x="113" y="114"/>
                </a:cubicBezTo>
                <a:moveTo>
                  <a:pt x="56" y="53"/>
                </a:moveTo>
                <a:cubicBezTo>
                  <a:pt x="72" y="69"/>
                  <a:pt x="72" y="69"/>
                  <a:pt x="72" y="69"/>
                </a:cubicBezTo>
                <a:cubicBezTo>
                  <a:pt x="56" y="85"/>
                  <a:pt x="56" y="85"/>
                  <a:pt x="56" y="85"/>
                </a:cubicBezTo>
                <a:moveTo>
                  <a:pt x="0" y="69"/>
                </a:moveTo>
                <a:cubicBezTo>
                  <a:pt x="56" y="69"/>
                  <a:pt x="56" y="69"/>
                  <a:pt x="56" y="69"/>
                </a:cubicBezTo>
                <a:moveTo>
                  <a:pt x="140" y="171"/>
                </a:moveTo>
                <a:cubicBezTo>
                  <a:pt x="140" y="0"/>
                  <a:pt x="140" y="0"/>
                  <a:pt x="140" y="0"/>
                </a:cubicBezTo>
                <a:moveTo>
                  <a:pt x="56" y="85"/>
                </a:moveTo>
                <a:cubicBezTo>
                  <a:pt x="225" y="85"/>
                  <a:pt x="225" y="85"/>
                  <a:pt x="225" y="85"/>
                </a:cubicBezTo>
                <a:moveTo>
                  <a:pt x="95" y="85"/>
                </a:moveTo>
                <a:cubicBezTo>
                  <a:pt x="95" y="38"/>
                  <a:pt x="115" y="0"/>
                  <a:pt x="140" y="0"/>
                </a:cubicBezTo>
                <a:cubicBezTo>
                  <a:pt x="166" y="0"/>
                  <a:pt x="186" y="38"/>
                  <a:pt x="186" y="85"/>
                </a:cubicBezTo>
                <a:cubicBezTo>
                  <a:pt x="186" y="132"/>
                  <a:pt x="166" y="171"/>
                  <a:pt x="140" y="171"/>
                </a:cubicBezTo>
                <a:cubicBezTo>
                  <a:pt x="124" y="171"/>
                  <a:pt x="109" y="154"/>
                  <a:pt x="101" y="130"/>
                </a:cubicBezTo>
                <a:moveTo>
                  <a:pt x="205" y="140"/>
                </a:moveTo>
                <a:cubicBezTo>
                  <a:pt x="189" y="131"/>
                  <a:pt x="166" y="125"/>
                  <a:pt x="140" y="125"/>
                </a:cubicBezTo>
                <a:cubicBezTo>
                  <a:pt x="114" y="125"/>
                  <a:pt x="91" y="131"/>
                  <a:pt x="75" y="140"/>
                </a:cubicBezTo>
                <a:moveTo>
                  <a:pt x="75" y="31"/>
                </a:moveTo>
                <a:cubicBezTo>
                  <a:pt x="91" y="40"/>
                  <a:pt x="114" y="46"/>
                  <a:pt x="140" y="46"/>
                </a:cubicBezTo>
                <a:cubicBezTo>
                  <a:pt x="166" y="46"/>
                  <a:pt x="189" y="40"/>
                  <a:pt x="205" y="31"/>
                </a:cubicBezTo>
                <a:moveTo>
                  <a:pt x="75" y="31"/>
                </a:moveTo>
                <a:cubicBezTo>
                  <a:pt x="91" y="12"/>
                  <a:pt x="114" y="0"/>
                  <a:pt x="140" y="0"/>
                </a:cubicBezTo>
                <a:cubicBezTo>
                  <a:pt x="166" y="0"/>
                  <a:pt x="189" y="12"/>
                  <a:pt x="205" y="31"/>
                </a:cubicBezTo>
                <a:moveTo>
                  <a:pt x="75" y="140"/>
                </a:moveTo>
                <a:cubicBezTo>
                  <a:pt x="91" y="158"/>
                  <a:pt x="114" y="171"/>
                  <a:pt x="140" y="171"/>
                </a:cubicBezTo>
                <a:moveTo>
                  <a:pt x="205" y="140"/>
                </a:moveTo>
                <a:cubicBezTo>
                  <a:pt x="217" y="125"/>
                  <a:pt x="225" y="106"/>
                  <a:pt x="225" y="85"/>
                </a:cubicBezTo>
                <a:cubicBezTo>
                  <a:pt x="225" y="65"/>
                  <a:pt x="217" y="45"/>
                  <a:pt x="205" y="31"/>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710"/>
          <p:cNvSpPr>
            <a:spLocks noChangeAspect="1" noEditPoints="1"/>
          </p:cNvSpPr>
          <p:nvPr/>
        </p:nvSpPr>
        <p:spPr bwMode="auto">
          <a:xfrm>
            <a:off x="2307452" y="5341480"/>
            <a:ext cx="292193" cy="540000"/>
          </a:xfrm>
          <a:custGeom>
            <a:avLst/>
            <a:gdLst/>
            <a:ahLst/>
            <a:cxnLst>
              <a:cxn ang="0">
                <a:pos x="18" y="87"/>
              </a:cxn>
              <a:cxn ang="0">
                <a:pos x="18" y="43"/>
              </a:cxn>
              <a:cxn ang="0">
                <a:pos x="0" y="41"/>
              </a:cxn>
              <a:cxn ang="0">
                <a:pos x="0" y="169"/>
              </a:cxn>
              <a:cxn ang="0">
                <a:pos x="36" y="87"/>
              </a:cxn>
              <a:cxn ang="0">
                <a:pos x="36" y="20"/>
              </a:cxn>
              <a:cxn ang="0">
                <a:pos x="18" y="18"/>
              </a:cxn>
              <a:cxn ang="0">
                <a:pos x="18" y="87"/>
              </a:cxn>
              <a:cxn ang="0">
                <a:pos x="54" y="87"/>
              </a:cxn>
              <a:cxn ang="0">
                <a:pos x="54" y="12"/>
              </a:cxn>
              <a:cxn ang="0">
                <a:pos x="36" y="11"/>
              </a:cxn>
              <a:cxn ang="0">
                <a:pos x="36" y="87"/>
              </a:cxn>
              <a:cxn ang="0">
                <a:pos x="72" y="99"/>
              </a:cxn>
              <a:cxn ang="0">
                <a:pos x="72" y="32"/>
              </a:cxn>
              <a:cxn ang="0">
                <a:pos x="54" y="30"/>
              </a:cxn>
              <a:cxn ang="0">
                <a:pos x="54" y="87"/>
              </a:cxn>
              <a:cxn ang="0">
                <a:pos x="69" y="173"/>
              </a:cxn>
              <a:cxn ang="0">
                <a:pos x="94" y="131"/>
              </a:cxn>
              <a:cxn ang="0">
                <a:pos x="94" y="69"/>
              </a:cxn>
              <a:cxn ang="0">
                <a:pos x="72" y="87"/>
              </a:cxn>
              <a:cxn ang="0">
                <a:pos x="72" y="107"/>
              </a:cxn>
              <a:cxn ang="0">
                <a:pos x="42" y="134"/>
              </a:cxn>
            </a:cxnLst>
            <a:rect l="0" t="0" r="r" b="b"/>
            <a:pathLst>
              <a:path w="94" h="173">
                <a:moveTo>
                  <a:pt x="18" y="87"/>
                </a:moveTo>
                <a:cubicBezTo>
                  <a:pt x="18" y="43"/>
                  <a:pt x="18" y="43"/>
                  <a:pt x="18" y="43"/>
                </a:cubicBezTo>
                <a:cubicBezTo>
                  <a:pt x="18" y="30"/>
                  <a:pt x="0" y="31"/>
                  <a:pt x="0" y="41"/>
                </a:cubicBezTo>
                <a:cubicBezTo>
                  <a:pt x="0" y="169"/>
                  <a:pt x="0" y="169"/>
                  <a:pt x="0" y="169"/>
                </a:cubicBezTo>
                <a:moveTo>
                  <a:pt x="36" y="87"/>
                </a:moveTo>
                <a:cubicBezTo>
                  <a:pt x="36" y="20"/>
                  <a:pt x="36" y="20"/>
                  <a:pt x="36" y="20"/>
                </a:cubicBezTo>
                <a:cubicBezTo>
                  <a:pt x="36" y="8"/>
                  <a:pt x="18" y="9"/>
                  <a:pt x="18" y="18"/>
                </a:cubicBezTo>
                <a:cubicBezTo>
                  <a:pt x="18" y="87"/>
                  <a:pt x="18" y="87"/>
                  <a:pt x="18" y="87"/>
                </a:cubicBezTo>
                <a:moveTo>
                  <a:pt x="54" y="87"/>
                </a:moveTo>
                <a:cubicBezTo>
                  <a:pt x="54" y="12"/>
                  <a:pt x="54" y="12"/>
                  <a:pt x="54" y="12"/>
                </a:cubicBezTo>
                <a:cubicBezTo>
                  <a:pt x="54" y="0"/>
                  <a:pt x="36" y="1"/>
                  <a:pt x="36" y="11"/>
                </a:cubicBezTo>
                <a:cubicBezTo>
                  <a:pt x="36" y="87"/>
                  <a:pt x="36" y="87"/>
                  <a:pt x="36" y="87"/>
                </a:cubicBezTo>
                <a:moveTo>
                  <a:pt x="72" y="99"/>
                </a:moveTo>
                <a:cubicBezTo>
                  <a:pt x="72" y="32"/>
                  <a:pt x="72" y="32"/>
                  <a:pt x="72" y="32"/>
                </a:cubicBezTo>
                <a:cubicBezTo>
                  <a:pt x="72" y="19"/>
                  <a:pt x="54" y="20"/>
                  <a:pt x="54" y="30"/>
                </a:cubicBezTo>
                <a:cubicBezTo>
                  <a:pt x="54" y="87"/>
                  <a:pt x="54" y="87"/>
                  <a:pt x="54" y="87"/>
                </a:cubicBezTo>
                <a:moveTo>
                  <a:pt x="69" y="173"/>
                </a:moveTo>
                <a:cubicBezTo>
                  <a:pt x="94" y="131"/>
                  <a:pt x="94" y="131"/>
                  <a:pt x="94" y="131"/>
                </a:cubicBezTo>
                <a:cubicBezTo>
                  <a:pt x="94" y="69"/>
                  <a:pt x="94" y="69"/>
                  <a:pt x="94" y="69"/>
                </a:cubicBezTo>
                <a:cubicBezTo>
                  <a:pt x="94" y="69"/>
                  <a:pt x="72" y="73"/>
                  <a:pt x="72" y="87"/>
                </a:cubicBezTo>
                <a:cubicBezTo>
                  <a:pt x="72" y="107"/>
                  <a:pt x="72" y="107"/>
                  <a:pt x="72" y="107"/>
                </a:cubicBezTo>
                <a:cubicBezTo>
                  <a:pt x="72" y="107"/>
                  <a:pt x="42" y="117"/>
                  <a:pt x="42" y="13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711"/>
          <p:cNvSpPr>
            <a:spLocks noChangeAspect="1" noEditPoints="1"/>
          </p:cNvSpPr>
          <p:nvPr/>
        </p:nvSpPr>
        <p:spPr bwMode="auto">
          <a:xfrm>
            <a:off x="1475918" y="5534725"/>
            <a:ext cx="540000" cy="279440"/>
          </a:xfrm>
          <a:custGeom>
            <a:avLst/>
            <a:gdLst/>
            <a:ahLst/>
            <a:cxnLst>
              <a:cxn ang="0">
                <a:pos x="84" y="64"/>
              </a:cxn>
              <a:cxn ang="0">
                <a:pos x="86" y="81"/>
              </a:cxn>
              <a:cxn ang="0">
                <a:pos x="73" y="77"/>
              </a:cxn>
              <a:cxn ang="0">
                <a:pos x="84" y="64"/>
              </a:cxn>
              <a:cxn ang="0">
                <a:pos x="72" y="57"/>
              </a:cxn>
              <a:cxn ang="0">
                <a:pos x="71" y="79"/>
              </a:cxn>
              <a:cxn ang="0">
                <a:pos x="58" y="75"/>
              </a:cxn>
              <a:cxn ang="0">
                <a:pos x="72" y="57"/>
              </a:cxn>
              <a:cxn ang="0">
                <a:pos x="44" y="49"/>
              </a:cxn>
              <a:cxn ang="0">
                <a:pos x="45" y="66"/>
              </a:cxn>
              <a:cxn ang="0">
                <a:pos x="32" y="62"/>
              </a:cxn>
              <a:cxn ang="0">
                <a:pos x="44" y="49"/>
              </a:cxn>
              <a:cxn ang="0">
                <a:pos x="58" y="52"/>
              </a:cxn>
              <a:cxn ang="0">
                <a:pos x="57" y="74"/>
              </a:cxn>
              <a:cxn ang="0">
                <a:pos x="45" y="70"/>
              </a:cxn>
              <a:cxn ang="0">
                <a:pos x="58" y="52"/>
              </a:cxn>
              <a:cxn ang="0">
                <a:pos x="88" y="11"/>
              </a:cxn>
              <a:cxn ang="0">
                <a:pos x="73" y="27"/>
              </a:cxn>
              <a:cxn ang="0">
                <a:pos x="75" y="44"/>
              </a:cxn>
              <a:cxn ang="0">
                <a:pos x="88" y="29"/>
              </a:cxn>
              <a:cxn ang="0">
                <a:pos x="100" y="24"/>
              </a:cxn>
              <a:cxn ang="0">
                <a:pos x="117" y="39"/>
              </a:cxn>
              <a:cxn ang="0">
                <a:pos x="90" y="73"/>
              </a:cxn>
              <a:cxn ang="0">
                <a:pos x="107" y="86"/>
              </a:cxn>
              <a:cxn ang="0">
                <a:pos x="114" y="80"/>
              </a:cxn>
              <a:cxn ang="0">
                <a:pos x="95" y="60"/>
              </a:cxn>
              <a:cxn ang="0">
                <a:pos x="111" y="73"/>
              </a:cxn>
              <a:cxn ang="0">
                <a:pos x="125" y="78"/>
              </a:cxn>
              <a:cxn ang="0">
                <a:pos x="124" y="67"/>
              </a:cxn>
              <a:cxn ang="0">
                <a:pos x="108" y="51"/>
              </a:cxn>
              <a:cxn ang="0">
                <a:pos x="131" y="69"/>
              </a:cxn>
              <a:cxn ang="0">
                <a:pos x="137" y="63"/>
              </a:cxn>
              <a:cxn ang="0">
                <a:pos x="80" y="12"/>
              </a:cxn>
              <a:cxn ang="0">
                <a:pos x="39" y="18"/>
              </a:cxn>
              <a:cxn ang="0">
                <a:pos x="30" y="62"/>
              </a:cxn>
              <a:cxn ang="0">
                <a:pos x="0" y="0"/>
              </a:cxn>
              <a:cxn ang="0">
                <a:pos x="0" y="73"/>
              </a:cxn>
              <a:cxn ang="0">
                <a:pos x="15" y="68"/>
              </a:cxn>
              <a:cxn ang="0">
                <a:pos x="135" y="14"/>
              </a:cxn>
              <a:cxn ang="0">
                <a:pos x="170" y="74"/>
              </a:cxn>
            </a:cxnLst>
            <a:rect l="0" t="0" r="r" b="b"/>
            <a:pathLst>
              <a:path w="170" h="87">
                <a:moveTo>
                  <a:pt x="84" y="64"/>
                </a:moveTo>
                <a:cubicBezTo>
                  <a:pt x="84" y="64"/>
                  <a:pt x="84" y="64"/>
                  <a:pt x="84" y="64"/>
                </a:cubicBezTo>
                <a:cubicBezTo>
                  <a:pt x="88" y="65"/>
                  <a:pt x="90" y="69"/>
                  <a:pt x="88" y="73"/>
                </a:cubicBezTo>
                <a:cubicBezTo>
                  <a:pt x="86" y="81"/>
                  <a:pt x="86" y="81"/>
                  <a:pt x="86" y="81"/>
                </a:cubicBezTo>
                <a:cubicBezTo>
                  <a:pt x="84" y="85"/>
                  <a:pt x="81" y="87"/>
                  <a:pt x="77" y="86"/>
                </a:cubicBezTo>
                <a:cubicBezTo>
                  <a:pt x="74" y="85"/>
                  <a:pt x="72" y="81"/>
                  <a:pt x="73" y="77"/>
                </a:cubicBezTo>
                <a:cubicBezTo>
                  <a:pt x="76" y="68"/>
                  <a:pt x="76" y="68"/>
                  <a:pt x="76" y="68"/>
                </a:cubicBezTo>
                <a:cubicBezTo>
                  <a:pt x="77" y="65"/>
                  <a:pt x="81" y="63"/>
                  <a:pt x="84" y="64"/>
                </a:cubicBezTo>
                <a:close/>
                <a:moveTo>
                  <a:pt x="72" y="57"/>
                </a:moveTo>
                <a:cubicBezTo>
                  <a:pt x="72" y="57"/>
                  <a:pt x="72" y="57"/>
                  <a:pt x="72" y="57"/>
                </a:cubicBezTo>
                <a:cubicBezTo>
                  <a:pt x="75" y="58"/>
                  <a:pt x="77" y="62"/>
                  <a:pt x="76" y="65"/>
                </a:cubicBezTo>
                <a:cubicBezTo>
                  <a:pt x="71" y="79"/>
                  <a:pt x="71" y="79"/>
                  <a:pt x="71" y="79"/>
                </a:cubicBezTo>
                <a:cubicBezTo>
                  <a:pt x="70" y="82"/>
                  <a:pt x="66" y="84"/>
                  <a:pt x="63" y="83"/>
                </a:cubicBezTo>
                <a:cubicBezTo>
                  <a:pt x="59" y="82"/>
                  <a:pt x="57" y="78"/>
                  <a:pt x="58" y="75"/>
                </a:cubicBezTo>
                <a:cubicBezTo>
                  <a:pt x="63" y="61"/>
                  <a:pt x="63" y="61"/>
                  <a:pt x="63" y="61"/>
                </a:cubicBezTo>
                <a:cubicBezTo>
                  <a:pt x="64" y="57"/>
                  <a:pt x="68" y="56"/>
                  <a:pt x="72" y="57"/>
                </a:cubicBezTo>
                <a:close/>
                <a:moveTo>
                  <a:pt x="44" y="49"/>
                </a:moveTo>
                <a:cubicBezTo>
                  <a:pt x="44" y="49"/>
                  <a:pt x="44" y="49"/>
                  <a:pt x="44" y="49"/>
                </a:cubicBezTo>
                <a:cubicBezTo>
                  <a:pt x="47" y="50"/>
                  <a:pt x="49" y="54"/>
                  <a:pt x="48" y="58"/>
                </a:cubicBezTo>
                <a:cubicBezTo>
                  <a:pt x="45" y="66"/>
                  <a:pt x="45" y="66"/>
                  <a:pt x="45" y="66"/>
                </a:cubicBezTo>
                <a:cubicBezTo>
                  <a:pt x="44" y="70"/>
                  <a:pt x="40" y="72"/>
                  <a:pt x="36" y="71"/>
                </a:cubicBezTo>
                <a:cubicBezTo>
                  <a:pt x="33" y="70"/>
                  <a:pt x="31" y="66"/>
                  <a:pt x="32" y="62"/>
                </a:cubicBezTo>
                <a:cubicBezTo>
                  <a:pt x="35" y="54"/>
                  <a:pt x="35" y="54"/>
                  <a:pt x="35" y="54"/>
                </a:cubicBezTo>
                <a:cubicBezTo>
                  <a:pt x="37" y="50"/>
                  <a:pt x="40" y="48"/>
                  <a:pt x="44" y="49"/>
                </a:cubicBezTo>
                <a:close/>
                <a:moveTo>
                  <a:pt x="58" y="52"/>
                </a:moveTo>
                <a:cubicBezTo>
                  <a:pt x="58" y="52"/>
                  <a:pt x="58" y="52"/>
                  <a:pt x="58" y="52"/>
                </a:cubicBezTo>
                <a:cubicBezTo>
                  <a:pt x="61" y="53"/>
                  <a:pt x="63" y="57"/>
                  <a:pt x="62" y="60"/>
                </a:cubicBezTo>
                <a:cubicBezTo>
                  <a:pt x="57" y="74"/>
                  <a:pt x="57" y="74"/>
                  <a:pt x="57" y="74"/>
                </a:cubicBezTo>
                <a:cubicBezTo>
                  <a:pt x="56" y="78"/>
                  <a:pt x="52" y="79"/>
                  <a:pt x="49" y="78"/>
                </a:cubicBezTo>
                <a:cubicBezTo>
                  <a:pt x="46" y="77"/>
                  <a:pt x="44" y="73"/>
                  <a:pt x="45" y="70"/>
                </a:cubicBezTo>
                <a:cubicBezTo>
                  <a:pt x="50" y="56"/>
                  <a:pt x="50" y="56"/>
                  <a:pt x="50" y="56"/>
                </a:cubicBezTo>
                <a:cubicBezTo>
                  <a:pt x="51" y="53"/>
                  <a:pt x="54" y="51"/>
                  <a:pt x="58" y="52"/>
                </a:cubicBezTo>
                <a:close/>
                <a:moveTo>
                  <a:pt x="129" y="14"/>
                </a:moveTo>
                <a:cubicBezTo>
                  <a:pt x="88" y="11"/>
                  <a:pt x="88" y="11"/>
                  <a:pt x="88" y="11"/>
                </a:cubicBezTo>
                <a:cubicBezTo>
                  <a:pt x="84" y="10"/>
                  <a:pt x="81" y="13"/>
                  <a:pt x="80" y="15"/>
                </a:cubicBezTo>
                <a:cubicBezTo>
                  <a:pt x="77" y="18"/>
                  <a:pt x="75" y="23"/>
                  <a:pt x="73" y="27"/>
                </a:cubicBezTo>
                <a:cubicBezTo>
                  <a:pt x="68" y="40"/>
                  <a:pt x="68" y="40"/>
                  <a:pt x="68" y="40"/>
                </a:cubicBezTo>
                <a:cubicBezTo>
                  <a:pt x="69" y="42"/>
                  <a:pt x="73" y="44"/>
                  <a:pt x="75" y="44"/>
                </a:cubicBezTo>
                <a:cubicBezTo>
                  <a:pt x="79" y="43"/>
                  <a:pt x="81" y="41"/>
                  <a:pt x="83" y="38"/>
                </a:cubicBezTo>
                <a:cubicBezTo>
                  <a:pt x="86" y="33"/>
                  <a:pt x="88" y="29"/>
                  <a:pt x="88" y="29"/>
                </a:cubicBezTo>
                <a:cubicBezTo>
                  <a:pt x="88" y="29"/>
                  <a:pt x="90" y="25"/>
                  <a:pt x="90" y="24"/>
                </a:cubicBezTo>
                <a:cubicBezTo>
                  <a:pt x="94" y="24"/>
                  <a:pt x="97" y="24"/>
                  <a:pt x="100" y="24"/>
                </a:cubicBezTo>
                <a:cubicBezTo>
                  <a:pt x="102" y="24"/>
                  <a:pt x="105" y="27"/>
                  <a:pt x="106" y="29"/>
                </a:cubicBezTo>
                <a:cubicBezTo>
                  <a:pt x="110" y="32"/>
                  <a:pt x="114" y="35"/>
                  <a:pt x="117" y="39"/>
                </a:cubicBezTo>
                <a:cubicBezTo>
                  <a:pt x="147" y="68"/>
                  <a:pt x="147" y="68"/>
                  <a:pt x="147" y="68"/>
                </a:cubicBezTo>
                <a:moveTo>
                  <a:pt x="90" y="73"/>
                </a:moveTo>
                <a:cubicBezTo>
                  <a:pt x="92" y="74"/>
                  <a:pt x="96" y="78"/>
                  <a:pt x="98" y="80"/>
                </a:cubicBezTo>
                <a:cubicBezTo>
                  <a:pt x="100" y="82"/>
                  <a:pt x="104" y="86"/>
                  <a:pt x="107" y="86"/>
                </a:cubicBezTo>
                <a:cubicBezTo>
                  <a:pt x="108" y="86"/>
                  <a:pt x="108" y="86"/>
                  <a:pt x="108" y="86"/>
                </a:cubicBezTo>
                <a:cubicBezTo>
                  <a:pt x="111" y="86"/>
                  <a:pt x="114" y="83"/>
                  <a:pt x="114" y="80"/>
                </a:cubicBezTo>
                <a:cubicBezTo>
                  <a:pt x="114" y="76"/>
                  <a:pt x="107" y="72"/>
                  <a:pt x="105" y="69"/>
                </a:cubicBezTo>
                <a:cubicBezTo>
                  <a:pt x="95" y="60"/>
                  <a:pt x="95" y="60"/>
                  <a:pt x="95" y="60"/>
                </a:cubicBezTo>
                <a:cubicBezTo>
                  <a:pt x="96" y="58"/>
                  <a:pt x="96" y="58"/>
                  <a:pt x="96" y="58"/>
                </a:cubicBezTo>
                <a:cubicBezTo>
                  <a:pt x="111" y="73"/>
                  <a:pt x="111" y="73"/>
                  <a:pt x="111" y="73"/>
                </a:cubicBezTo>
                <a:cubicBezTo>
                  <a:pt x="113" y="75"/>
                  <a:pt x="116" y="79"/>
                  <a:pt x="120" y="79"/>
                </a:cubicBezTo>
                <a:cubicBezTo>
                  <a:pt x="122" y="80"/>
                  <a:pt x="123" y="79"/>
                  <a:pt x="125" y="78"/>
                </a:cubicBezTo>
                <a:cubicBezTo>
                  <a:pt x="126" y="77"/>
                  <a:pt x="128" y="75"/>
                  <a:pt x="128" y="73"/>
                </a:cubicBezTo>
                <a:cubicBezTo>
                  <a:pt x="128" y="70"/>
                  <a:pt x="125" y="68"/>
                  <a:pt x="124" y="67"/>
                </a:cubicBezTo>
                <a:cubicBezTo>
                  <a:pt x="108" y="52"/>
                  <a:pt x="108" y="52"/>
                  <a:pt x="108" y="52"/>
                </a:cubicBezTo>
                <a:cubicBezTo>
                  <a:pt x="108" y="51"/>
                  <a:pt x="108" y="51"/>
                  <a:pt x="108" y="51"/>
                </a:cubicBezTo>
                <a:cubicBezTo>
                  <a:pt x="109" y="51"/>
                  <a:pt x="118" y="59"/>
                  <a:pt x="119" y="60"/>
                </a:cubicBezTo>
                <a:cubicBezTo>
                  <a:pt x="121" y="62"/>
                  <a:pt x="128" y="69"/>
                  <a:pt x="131" y="69"/>
                </a:cubicBezTo>
                <a:cubicBezTo>
                  <a:pt x="131" y="69"/>
                  <a:pt x="131" y="69"/>
                  <a:pt x="131" y="69"/>
                </a:cubicBezTo>
                <a:cubicBezTo>
                  <a:pt x="134" y="69"/>
                  <a:pt x="137" y="66"/>
                  <a:pt x="137" y="63"/>
                </a:cubicBezTo>
                <a:cubicBezTo>
                  <a:pt x="137" y="62"/>
                  <a:pt x="137" y="62"/>
                  <a:pt x="137" y="62"/>
                </a:cubicBezTo>
                <a:moveTo>
                  <a:pt x="80" y="12"/>
                </a:moveTo>
                <a:cubicBezTo>
                  <a:pt x="44" y="14"/>
                  <a:pt x="44" y="14"/>
                  <a:pt x="44" y="14"/>
                </a:cubicBezTo>
                <a:cubicBezTo>
                  <a:pt x="44" y="14"/>
                  <a:pt x="41" y="15"/>
                  <a:pt x="39" y="18"/>
                </a:cubicBezTo>
                <a:cubicBezTo>
                  <a:pt x="38" y="20"/>
                  <a:pt x="24" y="61"/>
                  <a:pt x="24" y="61"/>
                </a:cubicBezTo>
                <a:cubicBezTo>
                  <a:pt x="30" y="62"/>
                  <a:pt x="30" y="62"/>
                  <a:pt x="30" y="62"/>
                </a:cubicBezTo>
                <a:moveTo>
                  <a:pt x="34" y="13"/>
                </a:moveTo>
                <a:cubicBezTo>
                  <a:pt x="0" y="0"/>
                  <a:pt x="0" y="0"/>
                  <a:pt x="0" y="0"/>
                </a:cubicBezTo>
                <a:cubicBezTo>
                  <a:pt x="0" y="0"/>
                  <a:pt x="0" y="0"/>
                  <a:pt x="0" y="0"/>
                </a:cubicBezTo>
                <a:moveTo>
                  <a:pt x="0" y="73"/>
                </a:moveTo>
                <a:cubicBezTo>
                  <a:pt x="12" y="78"/>
                  <a:pt x="12" y="78"/>
                  <a:pt x="12" y="78"/>
                </a:cubicBezTo>
                <a:cubicBezTo>
                  <a:pt x="15" y="68"/>
                  <a:pt x="15" y="68"/>
                  <a:pt x="15" y="68"/>
                </a:cubicBezTo>
                <a:moveTo>
                  <a:pt x="170" y="1"/>
                </a:moveTo>
                <a:cubicBezTo>
                  <a:pt x="135" y="14"/>
                  <a:pt x="135" y="14"/>
                  <a:pt x="135" y="14"/>
                </a:cubicBezTo>
                <a:cubicBezTo>
                  <a:pt x="158" y="78"/>
                  <a:pt x="158" y="78"/>
                  <a:pt x="158" y="78"/>
                </a:cubicBezTo>
                <a:cubicBezTo>
                  <a:pt x="160" y="77"/>
                  <a:pt x="170" y="74"/>
                  <a:pt x="170" y="7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715"/>
          <p:cNvSpPr>
            <a:spLocks noChangeAspect="1" noEditPoints="1"/>
          </p:cNvSpPr>
          <p:nvPr/>
        </p:nvSpPr>
        <p:spPr bwMode="auto">
          <a:xfrm>
            <a:off x="8498662" y="5297996"/>
            <a:ext cx="248038" cy="540000"/>
          </a:xfrm>
          <a:custGeom>
            <a:avLst/>
            <a:gdLst/>
            <a:ahLst/>
            <a:cxnLst>
              <a:cxn ang="0">
                <a:pos x="45" y="130"/>
              </a:cxn>
              <a:cxn ang="0">
                <a:pos x="50" y="249"/>
              </a:cxn>
              <a:cxn ang="0">
                <a:pos x="67" y="249"/>
              </a:cxn>
              <a:cxn ang="0">
                <a:pos x="72" y="141"/>
              </a:cxn>
              <a:cxn ang="0">
                <a:pos x="78" y="249"/>
              </a:cxn>
              <a:cxn ang="0">
                <a:pos x="94" y="249"/>
              </a:cxn>
              <a:cxn ang="0">
                <a:pos x="100" y="130"/>
              </a:cxn>
              <a:cxn ang="0">
                <a:pos x="100" y="145"/>
              </a:cxn>
              <a:cxn ang="0">
                <a:pos x="114" y="99"/>
              </a:cxn>
              <a:cxn ang="0">
                <a:pos x="81" y="45"/>
              </a:cxn>
              <a:cxn ang="0">
                <a:pos x="91" y="23"/>
              </a:cxn>
              <a:cxn ang="0">
                <a:pos x="73" y="0"/>
              </a:cxn>
              <a:cxn ang="0">
                <a:pos x="55" y="23"/>
              </a:cxn>
              <a:cxn ang="0">
                <a:pos x="64" y="45"/>
              </a:cxn>
              <a:cxn ang="0">
                <a:pos x="32" y="99"/>
              </a:cxn>
              <a:cxn ang="0">
                <a:pos x="0" y="132"/>
              </a:cxn>
            </a:cxnLst>
            <a:rect l="0" t="0" r="r" b="b"/>
            <a:pathLst>
              <a:path w="114" h="249">
                <a:moveTo>
                  <a:pt x="45" y="130"/>
                </a:moveTo>
                <a:cubicBezTo>
                  <a:pt x="45" y="133"/>
                  <a:pt x="50" y="249"/>
                  <a:pt x="50" y="249"/>
                </a:cubicBezTo>
                <a:cubicBezTo>
                  <a:pt x="67" y="249"/>
                  <a:pt x="67" y="249"/>
                  <a:pt x="67" y="249"/>
                </a:cubicBezTo>
                <a:cubicBezTo>
                  <a:pt x="72" y="141"/>
                  <a:pt x="72" y="141"/>
                  <a:pt x="72" y="141"/>
                </a:cubicBezTo>
                <a:cubicBezTo>
                  <a:pt x="78" y="249"/>
                  <a:pt x="78" y="249"/>
                  <a:pt x="78" y="249"/>
                </a:cubicBezTo>
                <a:cubicBezTo>
                  <a:pt x="94" y="249"/>
                  <a:pt x="94" y="249"/>
                  <a:pt x="94" y="249"/>
                </a:cubicBezTo>
                <a:cubicBezTo>
                  <a:pt x="100" y="130"/>
                  <a:pt x="100" y="130"/>
                  <a:pt x="100" y="130"/>
                </a:cubicBezTo>
                <a:moveTo>
                  <a:pt x="100" y="145"/>
                </a:moveTo>
                <a:cubicBezTo>
                  <a:pt x="101" y="139"/>
                  <a:pt x="113" y="123"/>
                  <a:pt x="114" y="99"/>
                </a:cubicBezTo>
                <a:cubicBezTo>
                  <a:pt x="114" y="69"/>
                  <a:pt x="106" y="46"/>
                  <a:pt x="81" y="45"/>
                </a:cubicBezTo>
                <a:cubicBezTo>
                  <a:pt x="85" y="40"/>
                  <a:pt x="91" y="30"/>
                  <a:pt x="91" y="23"/>
                </a:cubicBezTo>
                <a:cubicBezTo>
                  <a:pt x="91" y="10"/>
                  <a:pt x="83" y="0"/>
                  <a:pt x="73" y="0"/>
                </a:cubicBezTo>
                <a:cubicBezTo>
                  <a:pt x="63" y="0"/>
                  <a:pt x="55" y="10"/>
                  <a:pt x="55" y="23"/>
                </a:cubicBezTo>
                <a:cubicBezTo>
                  <a:pt x="55" y="30"/>
                  <a:pt x="61" y="40"/>
                  <a:pt x="64" y="45"/>
                </a:cubicBezTo>
                <a:cubicBezTo>
                  <a:pt x="33" y="48"/>
                  <a:pt x="32" y="69"/>
                  <a:pt x="32" y="99"/>
                </a:cubicBezTo>
                <a:cubicBezTo>
                  <a:pt x="32" y="105"/>
                  <a:pt x="0" y="126"/>
                  <a:pt x="0" y="13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716"/>
          <p:cNvSpPr>
            <a:spLocks noChangeAspect="1" noEditPoints="1"/>
          </p:cNvSpPr>
          <p:nvPr/>
        </p:nvSpPr>
        <p:spPr bwMode="auto">
          <a:xfrm>
            <a:off x="9302138" y="5298208"/>
            <a:ext cx="365295" cy="540000"/>
          </a:xfrm>
          <a:custGeom>
            <a:avLst/>
            <a:gdLst/>
            <a:ahLst/>
            <a:cxnLst>
              <a:cxn ang="0">
                <a:pos x="36" y="106"/>
              </a:cxn>
              <a:cxn ang="0">
                <a:pos x="5" y="191"/>
              </a:cxn>
              <a:cxn ang="0">
                <a:pos x="19" y="191"/>
              </a:cxn>
              <a:cxn ang="0">
                <a:pos x="58" y="115"/>
              </a:cxn>
              <a:cxn ang="0">
                <a:pos x="103" y="203"/>
              </a:cxn>
              <a:cxn ang="0">
                <a:pos x="116" y="203"/>
              </a:cxn>
              <a:cxn ang="0">
                <a:pos x="80" y="99"/>
              </a:cxn>
              <a:cxn ang="0">
                <a:pos x="136" y="71"/>
              </a:cxn>
              <a:cxn ang="0">
                <a:pos x="65" y="37"/>
              </a:cxn>
              <a:cxn ang="0">
                <a:pos x="73" y="19"/>
              </a:cxn>
              <a:cxn ang="0">
                <a:pos x="58" y="0"/>
              </a:cxn>
              <a:cxn ang="0">
                <a:pos x="44" y="19"/>
              </a:cxn>
              <a:cxn ang="0">
                <a:pos x="51" y="37"/>
              </a:cxn>
              <a:cxn ang="0">
                <a:pos x="25" y="81"/>
              </a:cxn>
              <a:cxn ang="0">
                <a:pos x="0" y="108"/>
              </a:cxn>
            </a:cxnLst>
            <a:rect l="0" t="0" r="r" b="b"/>
            <a:pathLst>
              <a:path w="136" h="203">
                <a:moveTo>
                  <a:pt x="36" y="106"/>
                </a:moveTo>
                <a:cubicBezTo>
                  <a:pt x="36" y="109"/>
                  <a:pt x="5" y="191"/>
                  <a:pt x="5" y="191"/>
                </a:cubicBezTo>
                <a:cubicBezTo>
                  <a:pt x="19" y="191"/>
                  <a:pt x="19" y="191"/>
                  <a:pt x="19" y="191"/>
                </a:cubicBezTo>
                <a:cubicBezTo>
                  <a:pt x="58" y="115"/>
                  <a:pt x="58" y="115"/>
                  <a:pt x="58" y="115"/>
                </a:cubicBezTo>
                <a:cubicBezTo>
                  <a:pt x="103" y="203"/>
                  <a:pt x="103" y="203"/>
                  <a:pt x="103" y="203"/>
                </a:cubicBezTo>
                <a:cubicBezTo>
                  <a:pt x="116" y="203"/>
                  <a:pt x="116" y="203"/>
                  <a:pt x="116" y="203"/>
                </a:cubicBezTo>
                <a:cubicBezTo>
                  <a:pt x="80" y="99"/>
                  <a:pt x="80" y="99"/>
                  <a:pt x="80" y="99"/>
                </a:cubicBezTo>
                <a:moveTo>
                  <a:pt x="136" y="71"/>
                </a:moveTo>
                <a:cubicBezTo>
                  <a:pt x="120" y="43"/>
                  <a:pt x="85" y="38"/>
                  <a:pt x="65" y="37"/>
                </a:cubicBezTo>
                <a:cubicBezTo>
                  <a:pt x="68" y="33"/>
                  <a:pt x="73" y="25"/>
                  <a:pt x="73" y="19"/>
                </a:cubicBezTo>
                <a:cubicBezTo>
                  <a:pt x="73" y="9"/>
                  <a:pt x="66" y="0"/>
                  <a:pt x="58" y="0"/>
                </a:cubicBezTo>
                <a:cubicBezTo>
                  <a:pt x="50" y="0"/>
                  <a:pt x="44" y="9"/>
                  <a:pt x="44" y="19"/>
                </a:cubicBezTo>
                <a:cubicBezTo>
                  <a:pt x="44" y="25"/>
                  <a:pt x="49" y="33"/>
                  <a:pt x="51" y="37"/>
                </a:cubicBezTo>
                <a:cubicBezTo>
                  <a:pt x="26" y="40"/>
                  <a:pt x="25" y="56"/>
                  <a:pt x="25" y="81"/>
                </a:cubicBezTo>
                <a:cubicBezTo>
                  <a:pt x="25" y="86"/>
                  <a:pt x="9" y="111"/>
                  <a:pt x="0" y="10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717"/>
          <p:cNvSpPr>
            <a:spLocks noChangeAspect="1" noEditPoints="1"/>
          </p:cNvSpPr>
          <p:nvPr/>
        </p:nvSpPr>
        <p:spPr bwMode="auto">
          <a:xfrm>
            <a:off x="3806329" y="5569714"/>
            <a:ext cx="711308" cy="324000"/>
          </a:xfrm>
          <a:custGeom>
            <a:avLst/>
            <a:gdLst/>
            <a:ahLst/>
            <a:cxnLst>
              <a:cxn ang="0">
                <a:pos x="227" y="104"/>
              </a:cxn>
              <a:cxn ang="0">
                <a:pos x="197" y="44"/>
              </a:cxn>
              <a:cxn ang="0">
                <a:pos x="207" y="23"/>
              </a:cxn>
              <a:cxn ang="0">
                <a:pos x="189" y="0"/>
              </a:cxn>
              <a:cxn ang="0">
                <a:pos x="170" y="23"/>
              </a:cxn>
              <a:cxn ang="0">
                <a:pos x="180" y="44"/>
              </a:cxn>
              <a:cxn ang="0">
                <a:pos x="151" y="104"/>
              </a:cxn>
              <a:cxn ang="0">
                <a:pos x="151" y="104"/>
              </a:cxn>
              <a:cxn ang="0">
                <a:pos x="122" y="44"/>
              </a:cxn>
              <a:cxn ang="0">
                <a:pos x="132" y="23"/>
              </a:cxn>
              <a:cxn ang="0">
                <a:pos x="113" y="0"/>
              </a:cxn>
              <a:cxn ang="0">
                <a:pos x="95" y="23"/>
              </a:cxn>
              <a:cxn ang="0">
                <a:pos x="105" y="44"/>
              </a:cxn>
              <a:cxn ang="0">
                <a:pos x="75" y="104"/>
              </a:cxn>
              <a:cxn ang="0">
                <a:pos x="75" y="104"/>
              </a:cxn>
              <a:cxn ang="0">
                <a:pos x="46" y="44"/>
              </a:cxn>
              <a:cxn ang="0">
                <a:pos x="56" y="23"/>
              </a:cxn>
              <a:cxn ang="0">
                <a:pos x="38" y="0"/>
              </a:cxn>
              <a:cxn ang="0">
                <a:pos x="19" y="23"/>
              </a:cxn>
              <a:cxn ang="0">
                <a:pos x="29" y="44"/>
              </a:cxn>
              <a:cxn ang="0">
                <a:pos x="0" y="104"/>
              </a:cxn>
            </a:cxnLst>
            <a:rect l="0" t="0" r="r" b="b"/>
            <a:pathLst>
              <a:path w="227" h="104">
                <a:moveTo>
                  <a:pt x="227" y="104"/>
                </a:moveTo>
                <a:cubicBezTo>
                  <a:pt x="227" y="75"/>
                  <a:pt x="219" y="51"/>
                  <a:pt x="197" y="44"/>
                </a:cubicBezTo>
                <a:cubicBezTo>
                  <a:pt x="202" y="40"/>
                  <a:pt x="207" y="31"/>
                  <a:pt x="207" y="23"/>
                </a:cubicBezTo>
                <a:cubicBezTo>
                  <a:pt x="207" y="9"/>
                  <a:pt x="199" y="0"/>
                  <a:pt x="189" y="0"/>
                </a:cubicBezTo>
                <a:cubicBezTo>
                  <a:pt x="178" y="0"/>
                  <a:pt x="170" y="9"/>
                  <a:pt x="170" y="23"/>
                </a:cubicBezTo>
                <a:cubicBezTo>
                  <a:pt x="170" y="31"/>
                  <a:pt x="176" y="40"/>
                  <a:pt x="180" y="44"/>
                </a:cubicBezTo>
                <a:cubicBezTo>
                  <a:pt x="158" y="51"/>
                  <a:pt x="151" y="75"/>
                  <a:pt x="151" y="104"/>
                </a:cubicBezTo>
                <a:moveTo>
                  <a:pt x="151" y="104"/>
                </a:moveTo>
                <a:cubicBezTo>
                  <a:pt x="151" y="75"/>
                  <a:pt x="144" y="51"/>
                  <a:pt x="122" y="44"/>
                </a:cubicBezTo>
                <a:cubicBezTo>
                  <a:pt x="126" y="40"/>
                  <a:pt x="132" y="31"/>
                  <a:pt x="132" y="23"/>
                </a:cubicBezTo>
                <a:cubicBezTo>
                  <a:pt x="132" y="9"/>
                  <a:pt x="123" y="0"/>
                  <a:pt x="113" y="0"/>
                </a:cubicBezTo>
                <a:cubicBezTo>
                  <a:pt x="103" y="0"/>
                  <a:pt x="95" y="9"/>
                  <a:pt x="95" y="23"/>
                </a:cubicBezTo>
                <a:cubicBezTo>
                  <a:pt x="95" y="31"/>
                  <a:pt x="100" y="40"/>
                  <a:pt x="105" y="44"/>
                </a:cubicBezTo>
                <a:cubicBezTo>
                  <a:pt x="83" y="51"/>
                  <a:pt x="75" y="75"/>
                  <a:pt x="75" y="104"/>
                </a:cubicBezTo>
                <a:moveTo>
                  <a:pt x="75" y="104"/>
                </a:moveTo>
                <a:cubicBezTo>
                  <a:pt x="75" y="75"/>
                  <a:pt x="68" y="51"/>
                  <a:pt x="46" y="44"/>
                </a:cubicBezTo>
                <a:cubicBezTo>
                  <a:pt x="51" y="40"/>
                  <a:pt x="56" y="31"/>
                  <a:pt x="56" y="23"/>
                </a:cubicBezTo>
                <a:cubicBezTo>
                  <a:pt x="56" y="9"/>
                  <a:pt x="48" y="0"/>
                  <a:pt x="38" y="0"/>
                </a:cubicBezTo>
                <a:cubicBezTo>
                  <a:pt x="27" y="0"/>
                  <a:pt x="19" y="9"/>
                  <a:pt x="19" y="23"/>
                </a:cubicBezTo>
                <a:cubicBezTo>
                  <a:pt x="19" y="31"/>
                  <a:pt x="25" y="40"/>
                  <a:pt x="29" y="44"/>
                </a:cubicBezTo>
                <a:cubicBezTo>
                  <a:pt x="7" y="51"/>
                  <a:pt x="0" y="75"/>
                  <a:pt x="0" y="10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718"/>
          <p:cNvSpPr>
            <a:spLocks noChangeAspect="1" noEditPoints="1"/>
          </p:cNvSpPr>
          <p:nvPr/>
        </p:nvSpPr>
        <p:spPr bwMode="auto">
          <a:xfrm>
            <a:off x="6063184" y="5219754"/>
            <a:ext cx="540000" cy="687271"/>
          </a:xfrm>
          <a:custGeom>
            <a:avLst/>
            <a:gdLst/>
            <a:ahLst/>
            <a:cxnLst>
              <a:cxn ang="0">
                <a:pos x="99" y="87"/>
              </a:cxn>
              <a:cxn ang="0">
                <a:pos x="102" y="103"/>
              </a:cxn>
              <a:cxn ang="0">
                <a:pos x="89" y="130"/>
              </a:cxn>
              <a:cxn ang="0">
                <a:pos x="109" y="143"/>
              </a:cxn>
              <a:cxn ang="0">
                <a:pos x="69" y="74"/>
              </a:cxn>
              <a:cxn ang="0">
                <a:pos x="77" y="72"/>
              </a:cxn>
              <a:cxn ang="0">
                <a:pos x="99" y="87"/>
              </a:cxn>
              <a:cxn ang="0">
                <a:pos x="109" y="143"/>
              </a:cxn>
              <a:cxn ang="0">
                <a:pos x="128" y="210"/>
              </a:cxn>
              <a:cxn ang="0">
                <a:pos x="57" y="215"/>
              </a:cxn>
              <a:cxn ang="0">
                <a:pos x="52" y="100"/>
              </a:cxn>
              <a:cxn ang="0">
                <a:pos x="52" y="103"/>
              </a:cxn>
              <a:cxn ang="0">
                <a:pos x="66" y="130"/>
              </a:cxn>
              <a:cxn ang="0">
                <a:pos x="26" y="210"/>
              </a:cxn>
              <a:cxn ang="0">
                <a:pos x="52" y="100"/>
              </a:cxn>
              <a:cxn ang="0">
                <a:pos x="69" y="74"/>
              </a:cxn>
              <a:cxn ang="0">
                <a:pos x="99" y="87"/>
              </a:cxn>
              <a:cxn ang="0">
                <a:pos x="119" y="73"/>
              </a:cxn>
              <a:cxn ang="0">
                <a:pos x="108" y="50"/>
              </a:cxn>
              <a:cxn ang="0">
                <a:pos x="128" y="25"/>
              </a:cxn>
              <a:cxn ang="0">
                <a:pos x="149" y="50"/>
              </a:cxn>
              <a:cxn ang="0">
                <a:pos x="138" y="73"/>
              </a:cxn>
              <a:cxn ang="0">
                <a:pos x="170" y="139"/>
              </a:cxn>
              <a:cxn ang="0">
                <a:pos x="109" y="143"/>
              </a:cxn>
              <a:cxn ang="0">
                <a:pos x="52" y="100"/>
              </a:cxn>
              <a:cxn ang="0">
                <a:pos x="21" y="100"/>
              </a:cxn>
              <a:cxn ang="0">
                <a:pos x="69" y="74"/>
              </a:cxn>
              <a:cxn ang="0">
                <a:pos x="44" y="41"/>
              </a:cxn>
              <a:cxn ang="0">
                <a:pos x="53" y="22"/>
              </a:cxn>
              <a:cxn ang="0">
                <a:pos x="36" y="0"/>
              </a:cxn>
              <a:cxn ang="0">
                <a:pos x="18" y="22"/>
              </a:cxn>
              <a:cxn ang="0">
                <a:pos x="28" y="41"/>
              </a:cxn>
              <a:cxn ang="0">
                <a:pos x="0" y="97"/>
              </a:cxn>
            </a:cxnLst>
            <a:rect l="0" t="0" r="r" b="b"/>
            <a:pathLst>
              <a:path w="170" h="216">
                <a:moveTo>
                  <a:pt x="99" y="87"/>
                </a:moveTo>
                <a:cubicBezTo>
                  <a:pt x="101" y="92"/>
                  <a:pt x="102" y="97"/>
                  <a:pt x="102" y="103"/>
                </a:cubicBezTo>
                <a:cubicBezTo>
                  <a:pt x="102" y="113"/>
                  <a:pt x="95" y="125"/>
                  <a:pt x="89" y="130"/>
                </a:cubicBezTo>
                <a:cubicBezTo>
                  <a:pt x="97" y="133"/>
                  <a:pt x="103" y="137"/>
                  <a:pt x="109" y="143"/>
                </a:cubicBezTo>
                <a:moveTo>
                  <a:pt x="69" y="74"/>
                </a:moveTo>
                <a:cubicBezTo>
                  <a:pt x="72" y="73"/>
                  <a:pt x="75" y="72"/>
                  <a:pt x="77" y="72"/>
                </a:cubicBezTo>
                <a:cubicBezTo>
                  <a:pt x="87" y="72"/>
                  <a:pt x="95" y="78"/>
                  <a:pt x="99" y="87"/>
                </a:cubicBezTo>
                <a:moveTo>
                  <a:pt x="109" y="143"/>
                </a:moveTo>
                <a:cubicBezTo>
                  <a:pt x="123" y="157"/>
                  <a:pt x="128" y="182"/>
                  <a:pt x="128" y="210"/>
                </a:cubicBezTo>
                <a:cubicBezTo>
                  <a:pt x="128" y="214"/>
                  <a:pt x="87" y="216"/>
                  <a:pt x="57" y="215"/>
                </a:cubicBezTo>
                <a:moveTo>
                  <a:pt x="52" y="100"/>
                </a:moveTo>
                <a:cubicBezTo>
                  <a:pt x="52" y="101"/>
                  <a:pt x="52" y="102"/>
                  <a:pt x="52" y="103"/>
                </a:cubicBezTo>
                <a:cubicBezTo>
                  <a:pt x="52" y="113"/>
                  <a:pt x="60" y="125"/>
                  <a:pt x="66" y="130"/>
                </a:cubicBezTo>
                <a:cubicBezTo>
                  <a:pt x="36" y="139"/>
                  <a:pt x="26" y="171"/>
                  <a:pt x="26" y="210"/>
                </a:cubicBezTo>
                <a:moveTo>
                  <a:pt x="52" y="100"/>
                </a:moveTo>
                <a:cubicBezTo>
                  <a:pt x="53" y="87"/>
                  <a:pt x="60" y="77"/>
                  <a:pt x="69" y="74"/>
                </a:cubicBezTo>
                <a:moveTo>
                  <a:pt x="99" y="87"/>
                </a:moveTo>
                <a:cubicBezTo>
                  <a:pt x="104" y="80"/>
                  <a:pt x="110" y="76"/>
                  <a:pt x="119" y="73"/>
                </a:cubicBezTo>
                <a:cubicBezTo>
                  <a:pt x="114" y="68"/>
                  <a:pt x="108" y="59"/>
                  <a:pt x="108" y="50"/>
                </a:cubicBezTo>
                <a:cubicBezTo>
                  <a:pt x="108" y="35"/>
                  <a:pt x="117" y="25"/>
                  <a:pt x="128" y="25"/>
                </a:cubicBezTo>
                <a:cubicBezTo>
                  <a:pt x="140" y="25"/>
                  <a:pt x="149" y="35"/>
                  <a:pt x="149" y="50"/>
                </a:cubicBezTo>
                <a:cubicBezTo>
                  <a:pt x="149" y="59"/>
                  <a:pt x="143" y="68"/>
                  <a:pt x="138" y="73"/>
                </a:cubicBezTo>
                <a:cubicBezTo>
                  <a:pt x="162" y="80"/>
                  <a:pt x="170" y="107"/>
                  <a:pt x="170" y="139"/>
                </a:cubicBezTo>
                <a:cubicBezTo>
                  <a:pt x="170" y="143"/>
                  <a:pt x="134" y="144"/>
                  <a:pt x="109" y="143"/>
                </a:cubicBezTo>
                <a:moveTo>
                  <a:pt x="52" y="100"/>
                </a:moveTo>
                <a:cubicBezTo>
                  <a:pt x="43" y="101"/>
                  <a:pt x="31" y="101"/>
                  <a:pt x="21" y="100"/>
                </a:cubicBezTo>
                <a:moveTo>
                  <a:pt x="69" y="74"/>
                </a:moveTo>
                <a:cubicBezTo>
                  <a:pt x="66" y="57"/>
                  <a:pt x="58" y="45"/>
                  <a:pt x="44" y="41"/>
                </a:cubicBezTo>
                <a:cubicBezTo>
                  <a:pt x="48" y="37"/>
                  <a:pt x="53" y="29"/>
                  <a:pt x="53" y="22"/>
                </a:cubicBezTo>
                <a:cubicBezTo>
                  <a:pt x="53" y="9"/>
                  <a:pt x="46" y="0"/>
                  <a:pt x="36" y="0"/>
                </a:cubicBezTo>
                <a:cubicBezTo>
                  <a:pt x="26" y="0"/>
                  <a:pt x="18" y="9"/>
                  <a:pt x="18" y="22"/>
                </a:cubicBezTo>
                <a:cubicBezTo>
                  <a:pt x="18" y="29"/>
                  <a:pt x="24" y="37"/>
                  <a:pt x="28" y="41"/>
                </a:cubicBezTo>
                <a:cubicBezTo>
                  <a:pt x="7" y="47"/>
                  <a:pt x="0" y="70"/>
                  <a:pt x="0" y="9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719"/>
          <p:cNvSpPr>
            <a:spLocks noChangeAspect="1" noEditPoints="1"/>
          </p:cNvSpPr>
          <p:nvPr/>
        </p:nvSpPr>
        <p:spPr bwMode="auto">
          <a:xfrm>
            <a:off x="4830834" y="5347832"/>
            <a:ext cx="294252" cy="540000"/>
          </a:xfrm>
          <a:custGeom>
            <a:avLst/>
            <a:gdLst/>
            <a:ahLst/>
            <a:cxnLst>
              <a:cxn ang="0">
                <a:pos x="35" y="104"/>
              </a:cxn>
              <a:cxn ang="0">
                <a:pos x="25" y="199"/>
              </a:cxn>
              <a:cxn ang="0">
                <a:pos x="37" y="199"/>
              </a:cxn>
              <a:cxn ang="0">
                <a:pos x="55" y="113"/>
              </a:cxn>
              <a:cxn ang="0">
                <a:pos x="60" y="199"/>
              </a:cxn>
              <a:cxn ang="0">
                <a:pos x="73" y="199"/>
              </a:cxn>
              <a:cxn ang="0">
                <a:pos x="77" y="104"/>
              </a:cxn>
              <a:cxn ang="0">
                <a:pos x="108" y="118"/>
              </a:cxn>
              <a:cxn ang="0">
                <a:pos x="86" y="80"/>
              </a:cxn>
              <a:cxn ang="0">
                <a:pos x="61" y="36"/>
              </a:cxn>
              <a:cxn ang="0">
                <a:pos x="68" y="19"/>
              </a:cxn>
              <a:cxn ang="0">
                <a:pos x="54" y="0"/>
              </a:cxn>
              <a:cxn ang="0">
                <a:pos x="40" y="19"/>
              </a:cxn>
              <a:cxn ang="0">
                <a:pos x="48" y="36"/>
              </a:cxn>
              <a:cxn ang="0">
                <a:pos x="22" y="80"/>
              </a:cxn>
              <a:cxn ang="0">
                <a:pos x="1" y="116"/>
              </a:cxn>
            </a:cxnLst>
            <a:rect l="0" t="0" r="r" b="b"/>
            <a:pathLst>
              <a:path w="108" h="199">
                <a:moveTo>
                  <a:pt x="35" y="104"/>
                </a:moveTo>
                <a:cubicBezTo>
                  <a:pt x="35" y="107"/>
                  <a:pt x="25" y="199"/>
                  <a:pt x="25" y="199"/>
                </a:cubicBezTo>
                <a:cubicBezTo>
                  <a:pt x="37" y="199"/>
                  <a:pt x="37" y="199"/>
                  <a:pt x="37" y="199"/>
                </a:cubicBezTo>
                <a:cubicBezTo>
                  <a:pt x="55" y="113"/>
                  <a:pt x="55" y="113"/>
                  <a:pt x="55" y="113"/>
                </a:cubicBezTo>
                <a:cubicBezTo>
                  <a:pt x="60" y="199"/>
                  <a:pt x="60" y="199"/>
                  <a:pt x="60" y="199"/>
                </a:cubicBezTo>
                <a:cubicBezTo>
                  <a:pt x="73" y="199"/>
                  <a:pt x="73" y="199"/>
                  <a:pt x="73" y="199"/>
                </a:cubicBezTo>
                <a:cubicBezTo>
                  <a:pt x="77" y="104"/>
                  <a:pt x="77" y="104"/>
                  <a:pt x="77" y="104"/>
                </a:cubicBezTo>
                <a:moveTo>
                  <a:pt x="108" y="118"/>
                </a:moveTo>
                <a:cubicBezTo>
                  <a:pt x="108" y="114"/>
                  <a:pt x="86" y="84"/>
                  <a:pt x="86" y="80"/>
                </a:cubicBezTo>
                <a:cubicBezTo>
                  <a:pt x="86" y="55"/>
                  <a:pt x="80" y="37"/>
                  <a:pt x="61" y="36"/>
                </a:cubicBezTo>
                <a:cubicBezTo>
                  <a:pt x="64" y="32"/>
                  <a:pt x="68" y="25"/>
                  <a:pt x="68" y="19"/>
                </a:cubicBezTo>
                <a:cubicBezTo>
                  <a:pt x="68" y="9"/>
                  <a:pt x="62" y="0"/>
                  <a:pt x="54" y="0"/>
                </a:cubicBezTo>
                <a:cubicBezTo>
                  <a:pt x="46" y="0"/>
                  <a:pt x="40" y="9"/>
                  <a:pt x="40" y="19"/>
                </a:cubicBezTo>
                <a:cubicBezTo>
                  <a:pt x="40" y="25"/>
                  <a:pt x="45" y="32"/>
                  <a:pt x="48" y="36"/>
                </a:cubicBezTo>
                <a:cubicBezTo>
                  <a:pt x="23" y="39"/>
                  <a:pt x="22" y="55"/>
                  <a:pt x="22" y="80"/>
                </a:cubicBezTo>
                <a:cubicBezTo>
                  <a:pt x="22" y="84"/>
                  <a:pt x="0" y="111"/>
                  <a:pt x="1" y="11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720"/>
          <p:cNvSpPr>
            <a:spLocks noChangeAspect="1" noEditPoints="1"/>
          </p:cNvSpPr>
          <p:nvPr/>
        </p:nvSpPr>
        <p:spPr bwMode="auto">
          <a:xfrm>
            <a:off x="7026211" y="5284828"/>
            <a:ext cx="540000" cy="565713"/>
          </a:xfrm>
          <a:custGeom>
            <a:avLst/>
            <a:gdLst/>
            <a:ahLst/>
            <a:cxnLst>
              <a:cxn ang="0">
                <a:pos x="32" y="141"/>
              </a:cxn>
              <a:cxn ang="0">
                <a:pos x="25" y="182"/>
              </a:cxn>
              <a:cxn ang="0">
                <a:pos x="83" y="182"/>
              </a:cxn>
              <a:cxn ang="0">
                <a:pos x="77" y="141"/>
              </a:cxn>
              <a:cxn ang="0">
                <a:pos x="0" y="182"/>
              </a:cxn>
              <a:cxn ang="0">
                <a:pos x="54" y="107"/>
              </a:cxn>
              <a:cxn ang="0">
                <a:pos x="108" y="182"/>
              </a:cxn>
              <a:cxn ang="0">
                <a:pos x="77" y="81"/>
              </a:cxn>
              <a:cxn ang="0">
                <a:pos x="54" y="107"/>
              </a:cxn>
              <a:cxn ang="0">
                <a:pos x="32" y="81"/>
              </a:cxn>
              <a:cxn ang="0">
                <a:pos x="54" y="56"/>
              </a:cxn>
              <a:cxn ang="0">
                <a:pos x="77" y="81"/>
              </a:cxn>
              <a:cxn ang="0">
                <a:pos x="111" y="76"/>
              </a:cxn>
              <a:cxn ang="0">
                <a:pos x="99" y="95"/>
              </a:cxn>
              <a:cxn ang="0">
                <a:pos x="145" y="81"/>
              </a:cxn>
              <a:cxn ang="0">
                <a:pos x="168" y="56"/>
              </a:cxn>
              <a:cxn ang="0">
                <a:pos x="144" y="7"/>
              </a:cxn>
              <a:cxn ang="0">
                <a:pos x="95" y="30"/>
              </a:cxn>
              <a:cxn ang="0">
                <a:pos x="101" y="67"/>
              </a:cxn>
            </a:cxnLst>
            <a:rect l="0" t="0" r="r" b="b"/>
            <a:pathLst>
              <a:path w="175" h="182">
                <a:moveTo>
                  <a:pt x="32" y="141"/>
                </a:moveTo>
                <a:cubicBezTo>
                  <a:pt x="23" y="153"/>
                  <a:pt x="25" y="162"/>
                  <a:pt x="25" y="182"/>
                </a:cubicBezTo>
                <a:moveTo>
                  <a:pt x="83" y="182"/>
                </a:moveTo>
                <a:cubicBezTo>
                  <a:pt x="83" y="162"/>
                  <a:pt x="85" y="153"/>
                  <a:pt x="77" y="141"/>
                </a:cubicBezTo>
                <a:moveTo>
                  <a:pt x="0" y="182"/>
                </a:moveTo>
                <a:cubicBezTo>
                  <a:pt x="0" y="146"/>
                  <a:pt x="11" y="107"/>
                  <a:pt x="54" y="107"/>
                </a:cubicBezTo>
                <a:cubicBezTo>
                  <a:pt x="98" y="107"/>
                  <a:pt x="108" y="146"/>
                  <a:pt x="108" y="182"/>
                </a:cubicBezTo>
                <a:moveTo>
                  <a:pt x="77" y="81"/>
                </a:moveTo>
                <a:cubicBezTo>
                  <a:pt x="77" y="96"/>
                  <a:pt x="67" y="107"/>
                  <a:pt x="54" y="107"/>
                </a:cubicBezTo>
                <a:cubicBezTo>
                  <a:pt x="42" y="107"/>
                  <a:pt x="32" y="96"/>
                  <a:pt x="32" y="81"/>
                </a:cubicBezTo>
                <a:cubicBezTo>
                  <a:pt x="32" y="67"/>
                  <a:pt x="42" y="56"/>
                  <a:pt x="54" y="56"/>
                </a:cubicBezTo>
                <a:cubicBezTo>
                  <a:pt x="67" y="56"/>
                  <a:pt x="77" y="67"/>
                  <a:pt x="77" y="81"/>
                </a:cubicBezTo>
                <a:close/>
                <a:moveTo>
                  <a:pt x="111" y="76"/>
                </a:moveTo>
                <a:cubicBezTo>
                  <a:pt x="99" y="95"/>
                  <a:pt x="99" y="95"/>
                  <a:pt x="99" y="95"/>
                </a:cubicBezTo>
                <a:cubicBezTo>
                  <a:pt x="99" y="95"/>
                  <a:pt x="133" y="87"/>
                  <a:pt x="145" y="81"/>
                </a:cubicBezTo>
                <a:cubicBezTo>
                  <a:pt x="152" y="78"/>
                  <a:pt x="162" y="72"/>
                  <a:pt x="168" y="56"/>
                </a:cubicBezTo>
                <a:cubicBezTo>
                  <a:pt x="175" y="36"/>
                  <a:pt x="164" y="14"/>
                  <a:pt x="144" y="7"/>
                </a:cubicBezTo>
                <a:cubicBezTo>
                  <a:pt x="124" y="0"/>
                  <a:pt x="102" y="10"/>
                  <a:pt x="95" y="30"/>
                </a:cubicBezTo>
                <a:cubicBezTo>
                  <a:pt x="91" y="43"/>
                  <a:pt x="93" y="57"/>
                  <a:pt x="101" y="6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721"/>
          <p:cNvSpPr>
            <a:spLocks noChangeAspect="1" noEditPoints="1"/>
          </p:cNvSpPr>
          <p:nvPr/>
        </p:nvSpPr>
        <p:spPr bwMode="auto">
          <a:xfrm>
            <a:off x="7778769" y="5369647"/>
            <a:ext cx="328761" cy="468000"/>
          </a:xfrm>
          <a:custGeom>
            <a:avLst/>
            <a:gdLst/>
            <a:ahLst/>
            <a:cxnLst>
              <a:cxn ang="0">
                <a:pos x="72" y="15"/>
              </a:cxn>
              <a:cxn ang="0">
                <a:pos x="75" y="31"/>
              </a:cxn>
              <a:cxn ang="0">
                <a:pos x="62" y="59"/>
              </a:cxn>
              <a:cxn ang="0">
                <a:pos x="82" y="71"/>
              </a:cxn>
              <a:cxn ang="0">
                <a:pos x="42" y="2"/>
              </a:cxn>
              <a:cxn ang="0">
                <a:pos x="50" y="0"/>
              </a:cxn>
              <a:cxn ang="0">
                <a:pos x="72" y="15"/>
              </a:cxn>
              <a:cxn ang="0">
                <a:pos x="82" y="71"/>
              </a:cxn>
              <a:cxn ang="0">
                <a:pos x="101" y="138"/>
              </a:cxn>
              <a:cxn ang="0">
                <a:pos x="30" y="143"/>
              </a:cxn>
              <a:cxn ang="0">
                <a:pos x="25" y="28"/>
              </a:cxn>
              <a:cxn ang="0">
                <a:pos x="25" y="31"/>
              </a:cxn>
              <a:cxn ang="0">
                <a:pos x="39" y="59"/>
              </a:cxn>
              <a:cxn ang="0">
                <a:pos x="0" y="138"/>
              </a:cxn>
              <a:cxn ang="0">
                <a:pos x="25" y="28"/>
              </a:cxn>
              <a:cxn ang="0">
                <a:pos x="42" y="2"/>
              </a:cxn>
            </a:cxnLst>
            <a:rect l="0" t="0" r="r" b="b"/>
            <a:pathLst>
              <a:path w="101" h="144">
                <a:moveTo>
                  <a:pt x="72" y="15"/>
                </a:moveTo>
                <a:cubicBezTo>
                  <a:pt x="74" y="20"/>
                  <a:pt x="75" y="25"/>
                  <a:pt x="75" y="31"/>
                </a:cubicBezTo>
                <a:cubicBezTo>
                  <a:pt x="75" y="41"/>
                  <a:pt x="68" y="53"/>
                  <a:pt x="62" y="59"/>
                </a:cubicBezTo>
                <a:cubicBezTo>
                  <a:pt x="70" y="61"/>
                  <a:pt x="77" y="65"/>
                  <a:pt x="82" y="71"/>
                </a:cubicBezTo>
                <a:moveTo>
                  <a:pt x="42" y="2"/>
                </a:moveTo>
                <a:cubicBezTo>
                  <a:pt x="45" y="1"/>
                  <a:pt x="48" y="0"/>
                  <a:pt x="50" y="0"/>
                </a:cubicBezTo>
                <a:cubicBezTo>
                  <a:pt x="60" y="0"/>
                  <a:pt x="68" y="6"/>
                  <a:pt x="72" y="15"/>
                </a:cubicBezTo>
                <a:moveTo>
                  <a:pt x="82" y="71"/>
                </a:moveTo>
                <a:cubicBezTo>
                  <a:pt x="96" y="85"/>
                  <a:pt x="101" y="110"/>
                  <a:pt x="101" y="138"/>
                </a:cubicBezTo>
                <a:cubicBezTo>
                  <a:pt x="101" y="142"/>
                  <a:pt x="60" y="144"/>
                  <a:pt x="30" y="143"/>
                </a:cubicBezTo>
                <a:moveTo>
                  <a:pt x="25" y="28"/>
                </a:moveTo>
                <a:cubicBezTo>
                  <a:pt x="25" y="29"/>
                  <a:pt x="25" y="30"/>
                  <a:pt x="25" y="31"/>
                </a:cubicBezTo>
                <a:cubicBezTo>
                  <a:pt x="25" y="41"/>
                  <a:pt x="33" y="53"/>
                  <a:pt x="39" y="59"/>
                </a:cubicBezTo>
                <a:cubicBezTo>
                  <a:pt x="10" y="67"/>
                  <a:pt x="0" y="99"/>
                  <a:pt x="0" y="138"/>
                </a:cubicBezTo>
                <a:moveTo>
                  <a:pt x="25" y="28"/>
                </a:moveTo>
                <a:cubicBezTo>
                  <a:pt x="26" y="15"/>
                  <a:pt x="33" y="5"/>
                  <a:pt x="42"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ZoneTexte 448"/>
          <p:cNvSpPr txBox="1"/>
          <p:nvPr/>
        </p:nvSpPr>
        <p:spPr>
          <a:xfrm>
            <a:off x="2782484" y="5907519"/>
            <a:ext cx="738723" cy="254067"/>
          </a:xfrm>
          <a:prstGeom prst="rect">
            <a:avLst/>
          </a:prstGeom>
          <a:noFill/>
        </p:spPr>
        <p:txBody>
          <a:bodyPr wrap="square" lIns="83969" tIns="41985" rIns="83969" bIns="41985" rtlCol="0">
            <a:spAutoFit/>
          </a:bodyPr>
          <a:lstStyle/>
          <a:p>
            <a:pPr algn="ctr"/>
            <a:r>
              <a:rPr lang="en-US" sz="1100">
                <a:solidFill>
                  <a:srgbClr val="494949"/>
                </a:solidFill>
              </a:rPr>
              <a:t>Thumb</a:t>
            </a:r>
          </a:p>
        </p:txBody>
      </p:sp>
      <p:sp>
        <p:nvSpPr>
          <p:cNvPr id="450" name="ZoneTexte 449"/>
          <p:cNvSpPr txBox="1"/>
          <p:nvPr/>
        </p:nvSpPr>
        <p:spPr>
          <a:xfrm>
            <a:off x="5116518" y="5914834"/>
            <a:ext cx="729084" cy="254067"/>
          </a:xfrm>
          <a:prstGeom prst="rect">
            <a:avLst/>
          </a:prstGeom>
          <a:noFill/>
        </p:spPr>
        <p:txBody>
          <a:bodyPr wrap="square" lIns="83969" tIns="41985" rIns="83969" bIns="41985" rtlCol="0">
            <a:spAutoFit/>
          </a:bodyPr>
          <a:lstStyle/>
          <a:p>
            <a:pPr algn="ctr"/>
            <a:r>
              <a:rPr lang="en-US" sz="1100">
                <a:solidFill>
                  <a:srgbClr val="494949"/>
                </a:solidFill>
              </a:rPr>
              <a:t>Woman</a:t>
            </a:r>
          </a:p>
        </p:txBody>
      </p:sp>
      <p:sp>
        <p:nvSpPr>
          <p:cNvPr id="451" name="Freeform 769"/>
          <p:cNvSpPr>
            <a:spLocks noChangeAspect="1" noEditPoints="1"/>
          </p:cNvSpPr>
          <p:nvPr/>
        </p:nvSpPr>
        <p:spPr bwMode="auto">
          <a:xfrm>
            <a:off x="8987462" y="3091942"/>
            <a:ext cx="661887" cy="324000"/>
          </a:xfrm>
          <a:custGeom>
            <a:avLst/>
            <a:gdLst/>
            <a:ahLst/>
            <a:cxnLst>
              <a:cxn ang="0">
                <a:pos x="0" y="21"/>
              </a:cxn>
              <a:cxn ang="0">
                <a:pos x="0" y="46"/>
              </a:cxn>
              <a:cxn ang="0">
                <a:pos x="21" y="40"/>
              </a:cxn>
              <a:cxn ang="0">
                <a:pos x="21" y="27"/>
              </a:cxn>
              <a:cxn ang="0">
                <a:pos x="0" y="21"/>
              </a:cxn>
              <a:cxn ang="0">
                <a:pos x="89" y="18"/>
              </a:cxn>
              <a:cxn ang="0">
                <a:pos x="89" y="0"/>
              </a:cxn>
              <a:cxn ang="0">
                <a:pos x="40" y="0"/>
              </a:cxn>
              <a:cxn ang="0">
                <a:pos x="40" y="18"/>
              </a:cxn>
              <a:cxn ang="0">
                <a:pos x="40" y="18"/>
              </a:cxn>
              <a:cxn ang="0">
                <a:pos x="27" y="18"/>
              </a:cxn>
              <a:cxn ang="0">
                <a:pos x="26" y="18"/>
              </a:cxn>
              <a:cxn ang="0">
                <a:pos x="24" y="20"/>
              </a:cxn>
              <a:cxn ang="0">
                <a:pos x="22" y="22"/>
              </a:cxn>
              <a:cxn ang="0">
                <a:pos x="22" y="23"/>
              </a:cxn>
              <a:cxn ang="0">
                <a:pos x="22" y="65"/>
              </a:cxn>
              <a:cxn ang="0">
                <a:pos x="89" y="18"/>
              </a:cxn>
              <a:cxn ang="0">
                <a:pos x="106" y="18"/>
              </a:cxn>
              <a:cxn ang="0">
                <a:pos x="108" y="18"/>
              </a:cxn>
              <a:cxn ang="0">
                <a:pos x="110" y="20"/>
              </a:cxn>
              <a:cxn ang="0">
                <a:pos x="111" y="22"/>
              </a:cxn>
              <a:cxn ang="0">
                <a:pos x="111" y="23"/>
              </a:cxn>
              <a:cxn ang="0">
                <a:pos x="111" y="34"/>
              </a:cxn>
              <a:cxn ang="0">
                <a:pos x="122" y="34"/>
              </a:cxn>
              <a:cxn ang="0">
                <a:pos x="122" y="31"/>
              </a:cxn>
              <a:cxn ang="0">
                <a:pos x="143" y="19"/>
              </a:cxn>
              <a:cxn ang="0">
                <a:pos x="143" y="69"/>
              </a:cxn>
              <a:cxn ang="0">
                <a:pos x="122" y="58"/>
              </a:cxn>
              <a:cxn ang="0">
                <a:pos x="122" y="53"/>
              </a:cxn>
              <a:cxn ang="0">
                <a:pos x="111" y="53"/>
              </a:cxn>
              <a:cxn ang="0">
                <a:pos x="111" y="65"/>
              </a:cxn>
              <a:cxn ang="0">
                <a:pos x="111" y="67"/>
              </a:cxn>
              <a:cxn ang="0">
                <a:pos x="110" y="69"/>
              </a:cxn>
              <a:cxn ang="0">
                <a:pos x="108" y="69"/>
              </a:cxn>
              <a:cxn ang="0">
                <a:pos x="106" y="70"/>
              </a:cxn>
              <a:cxn ang="0">
                <a:pos x="34" y="70"/>
              </a:cxn>
              <a:cxn ang="0">
                <a:pos x="89" y="18"/>
              </a:cxn>
              <a:cxn ang="0">
                <a:pos x="70" y="18"/>
              </a:cxn>
              <a:cxn ang="0">
                <a:pos x="40" y="18"/>
              </a:cxn>
            </a:cxnLst>
            <a:rect l="0" t="0" r="r" b="b"/>
            <a:pathLst>
              <a:path w="143" h="70">
                <a:moveTo>
                  <a:pt x="0" y="21"/>
                </a:moveTo>
                <a:lnTo>
                  <a:pt x="0" y="46"/>
                </a:lnTo>
                <a:lnTo>
                  <a:pt x="21" y="40"/>
                </a:lnTo>
                <a:lnTo>
                  <a:pt x="21" y="27"/>
                </a:lnTo>
                <a:lnTo>
                  <a:pt x="0" y="21"/>
                </a:lnTo>
                <a:moveTo>
                  <a:pt x="89" y="18"/>
                </a:moveTo>
                <a:lnTo>
                  <a:pt x="89" y="0"/>
                </a:lnTo>
                <a:lnTo>
                  <a:pt x="40" y="0"/>
                </a:lnTo>
                <a:lnTo>
                  <a:pt x="40" y="18"/>
                </a:lnTo>
                <a:moveTo>
                  <a:pt x="40" y="18"/>
                </a:moveTo>
                <a:lnTo>
                  <a:pt x="27" y="18"/>
                </a:lnTo>
                <a:lnTo>
                  <a:pt x="26" y="18"/>
                </a:lnTo>
                <a:lnTo>
                  <a:pt x="24" y="20"/>
                </a:lnTo>
                <a:lnTo>
                  <a:pt x="22" y="22"/>
                </a:lnTo>
                <a:lnTo>
                  <a:pt x="22" y="23"/>
                </a:lnTo>
                <a:lnTo>
                  <a:pt x="22" y="65"/>
                </a:lnTo>
                <a:moveTo>
                  <a:pt x="89" y="18"/>
                </a:moveTo>
                <a:lnTo>
                  <a:pt x="106" y="18"/>
                </a:lnTo>
                <a:lnTo>
                  <a:pt x="108" y="18"/>
                </a:lnTo>
                <a:lnTo>
                  <a:pt x="110" y="20"/>
                </a:lnTo>
                <a:lnTo>
                  <a:pt x="111" y="22"/>
                </a:lnTo>
                <a:lnTo>
                  <a:pt x="111" y="23"/>
                </a:lnTo>
                <a:lnTo>
                  <a:pt x="111" y="34"/>
                </a:lnTo>
                <a:lnTo>
                  <a:pt x="122" y="34"/>
                </a:lnTo>
                <a:lnTo>
                  <a:pt x="122" y="31"/>
                </a:lnTo>
                <a:lnTo>
                  <a:pt x="143" y="19"/>
                </a:lnTo>
                <a:lnTo>
                  <a:pt x="143" y="69"/>
                </a:lnTo>
                <a:lnTo>
                  <a:pt x="122" y="58"/>
                </a:lnTo>
                <a:lnTo>
                  <a:pt x="122" y="53"/>
                </a:lnTo>
                <a:lnTo>
                  <a:pt x="111" y="53"/>
                </a:lnTo>
                <a:lnTo>
                  <a:pt x="111" y="65"/>
                </a:lnTo>
                <a:lnTo>
                  <a:pt x="111" y="67"/>
                </a:lnTo>
                <a:lnTo>
                  <a:pt x="110" y="69"/>
                </a:lnTo>
                <a:lnTo>
                  <a:pt x="108" y="69"/>
                </a:lnTo>
                <a:lnTo>
                  <a:pt x="106" y="70"/>
                </a:lnTo>
                <a:lnTo>
                  <a:pt x="34" y="70"/>
                </a:lnTo>
                <a:moveTo>
                  <a:pt x="89" y="18"/>
                </a:moveTo>
                <a:lnTo>
                  <a:pt x="70" y="18"/>
                </a:lnTo>
                <a:lnTo>
                  <a:pt x="40" y="18"/>
                </a:ln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9" name="Groupe 455"/>
          <p:cNvGrpSpPr/>
          <p:nvPr/>
        </p:nvGrpSpPr>
        <p:grpSpPr>
          <a:xfrm>
            <a:off x="2355623" y="4029403"/>
            <a:ext cx="330872" cy="540000"/>
            <a:chOff x="781038" y="4007458"/>
            <a:chExt cx="330872" cy="540000"/>
          </a:xfrm>
        </p:grpSpPr>
        <p:sp>
          <p:nvSpPr>
            <p:cNvPr id="454" name="Freeform 745"/>
            <p:cNvSpPr>
              <a:spLocks noChangeAspect="1" noEditPoints="1"/>
            </p:cNvSpPr>
            <p:nvPr/>
          </p:nvSpPr>
          <p:spPr bwMode="auto">
            <a:xfrm>
              <a:off x="781038" y="4007458"/>
              <a:ext cx="330872" cy="540000"/>
            </a:xfrm>
            <a:custGeom>
              <a:avLst/>
              <a:gdLst/>
              <a:ahLst/>
              <a:cxnLst>
                <a:cxn ang="0">
                  <a:pos x="37" y="152"/>
                </a:cxn>
                <a:cxn ang="0">
                  <a:pos x="46" y="161"/>
                </a:cxn>
                <a:cxn ang="0">
                  <a:pos x="55" y="152"/>
                </a:cxn>
                <a:cxn ang="0">
                  <a:pos x="46" y="143"/>
                </a:cxn>
                <a:cxn ang="0">
                  <a:pos x="21" y="143"/>
                </a:cxn>
                <a:cxn ang="0">
                  <a:pos x="14" y="136"/>
                </a:cxn>
                <a:cxn ang="0">
                  <a:pos x="14" y="21"/>
                </a:cxn>
                <a:cxn ang="0">
                  <a:pos x="21" y="14"/>
                </a:cxn>
                <a:cxn ang="0">
                  <a:pos x="72" y="14"/>
                </a:cxn>
                <a:cxn ang="0">
                  <a:pos x="79" y="21"/>
                </a:cxn>
                <a:cxn ang="0">
                  <a:pos x="79" y="163"/>
                </a:cxn>
                <a:cxn ang="0">
                  <a:pos x="72" y="170"/>
                </a:cxn>
                <a:cxn ang="0">
                  <a:pos x="72" y="170"/>
                </a:cxn>
                <a:cxn ang="0">
                  <a:pos x="21" y="170"/>
                </a:cxn>
                <a:cxn ang="0">
                  <a:pos x="0" y="149"/>
                </a:cxn>
                <a:cxn ang="0">
                  <a:pos x="0" y="21"/>
                </a:cxn>
                <a:cxn ang="0">
                  <a:pos x="21" y="0"/>
                </a:cxn>
                <a:cxn ang="0">
                  <a:pos x="72" y="0"/>
                </a:cxn>
                <a:cxn ang="0">
                  <a:pos x="93" y="21"/>
                </a:cxn>
                <a:cxn ang="0">
                  <a:pos x="93" y="169"/>
                </a:cxn>
              </a:cxnLst>
              <a:rect l="0" t="0" r="r" b="b"/>
              <a:pathLst>
                <a:path w="93" h="170">
                  <a:moveTo>
                    <a:pt x="37" y="152"/>
                  </a:moveTo>
                  <a:cubicBezTo>
                    <a:pt x="37" y="157"/>
                    <a:pt x="41" y="161"/>
                    <a:pt x="46" y="161"/>
                  </a:cubicBezTo>
                  <a:cubicBezTo>
                    <a:pt x="51" y="161"/>
                    <a:pt x="55" y="157"/>
                    <a:pt x="55" y="152"/>
                  </a:cubicBezTo>
                  <a:cubicBezTo>
                    <a:pt x="55" y="147"/>
                    <a:pt x="51" y="143"/>
                    <a:pt x="46" y="143"/>
                  </a:cubicBezTo>
                  <a:cubicBezTo>
                    <a:pt x="21" y="143"/>
                    <a:pt x="21" y="143"/>
                    <a:pt x="21" y="143"/>
                  </a:cubicBezTo>
                  <a:cubicBezTo>
                    <a:pt x="17" y="143"/>
                    <a:pt x="14" y="140"/>
                    <a:pt x="14" y="136"/>
                  </a:cubicBezTo>
                  <a:cubicBezTo>
                    <a:pt x="14" y="21"/>
                    <a:pt x="14" y="21"/>
                    <a:pt x="14" y="21"/>
                  </a:cubicBezTo>
                  <a:cubicBezTo>
                    <a:pt x="14" y="17"/>
                    <a:pt x="17" y="14"/>
                    <a:pt x="21" y="14"/>
                  </a:cubicBezTo>
                  <a:cubicBezTo>
                    <a:pt x="72" y="14"/>
                    <a:pt x="72" y="14"/>
                    <a:pt x="72" y="14"/>
                  </a:cubicBezTo>
                  <a:cubicBezTo>
                    <a:pt x="75" y="14"/>
                    <a:pt x="79" y="17"/>
                    <a:pt x="79" y="21"/>
                  </a:cubicBezTo>
                  <a:cubicBezTo>
                    <a:pt x="79" y="163"/>
                    <a:pt x="79" y="163"/>
                    <a:pt x="79" y="163"/>
                  </a:cubicBezTo>
                  <a:cubicBezTo>
                    <a:pt x="79" y="167"/>
                    <a:pt x="75" y="170"/>
                    <a:pt x="72" y="170"/>
                  </a:cubicBezTo>
                  <a:moveTo>
                    <a:pt x="72" y="170"/>
                  </a:moveTo>
                  <a:cubicBezTo>
                    <a:pt x="21" y="170"/>
                    <a:pt x="21" y="170"/>
                    <a:pt x="21" y="170"/>
                  </a:cubicBezTo>
                  <a:cubicBezTo>
                    <a:pt x="9" y="170"/>
                    <a:pt x="0" y="161"/>
                    <a:pt x="0" y="149"/>
                  </a:cubicBezTo>
                  <a:cubicBezTo>
                    <a:pt x="0" y="21"/>
                    <a:pt x="0" y="21"/>
                    <a:pt x="0" y="21"/>
                  </a:cubicBezTo>
                  <a:cubicBezTo>
                    <a:pt x="0" y="9"/>
                    <a:pt x="9" y="0"/>
                    <a:pt x="21" y="0"/>
                  </a:cubicBezTo>
                  <a:cubicBezTo>
                    <a:pt x="72" y="0"/>
                    <a:pt x="72" y="0"/>
                    <a:pt x="72" y="0"/>
                  </a:cubicBezTo>
                  <a:cubicBezTo>
                    <a:pt x="83" y="0"/>
                    <a:pt x="93" y="9"/>
                    <a:pt x="93" y="21"/>
                  </a:cubicBezTo>
                  <a:cubicBezTo>
                    <a:pt x="93" y="169"/>
                    <a:pt x="93" y="169"/>
                    <a:pt x="93" y="169"/>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778"/>
            <p:cNvSpPr>
              <a:spLocks/>
            </p:cNvSpPr>
            <p:nvPr/>
          </p:nvSpPr>
          <p:spPr bwMode="auto">
            <a:xfrm>
              <a:off x="864125" y="4147721"/>
              <a:ext cx="164698" cy="204745"/>
            </a:xfrm>
            <a:custGeom>
              <a:avLst/>
              <a:gdLst/>
              <a:ahLst/>
              <a:cxnLst>
                <a:cxn ang="0">
                  <a:pos x="47" y="119"/>
                </a:cxn>
                <a:cxn ang="0">
                  <a:pos x="39" y="153"/>
                </a:cxn>
                <a:cxn ang="0">
                  <a:pos x="99" y="110"/>
                </a:cxn>
                <a:cxn ang="0">
                  <a:pos x="120" y="60"/>
                </a:cxn>
                <a:cxn ang="0">
                  <a:pos x="60" y="0"/>
                </a:cxn>
                <a:cxn ang="0">
                  <a:pos x="0" y="60"/>
                </a:cxn>
                <a:cxn ang="0">
                  <a:pos x="28" y="111"/>
                </a:cxn>
              </a:cxnLst>
              <a:rect l="0" t="0" r="r" b="b"/>
              <a:pathLst>
                <a:path w="120" h="153">
                  <a:moveTo>
                    <a:pt x="47" y="119"/>
                  </a:moveTo>
                  <a:cubicBezTo>
                    <a:pt x="39" y="153"/>
                    <a:pt x="39" y="153"/>
                    <a:pt x="39" y="153"/>
                  </a:cubicBezTo>
                  <a:cubicBezTo>
                    <a:pt x="39" y="153"/>
                    <a:pt x="85" y="124"/>
                    <a:pt x="99" y="110"/>
                  </a:cubicBezTo>
                  <a:cubicBezTo>
                    <a:pt x="108" y="100"/>
                    <a:pt x="120" y="87"/>
                    <a:pt x="120" y="60"/>
                  </a:cubicBezTo>
                  <a:cubicBezTo>
                    <a:pt x="120" y="27"/>
                    <a:pt x="93" y="0"/>
                    <a:pt x="60" y="0"/>
                  </a:cubicBezTo>
                  <a:cubicBezTo>
                    <a:pt x="27" y="0"/>
                    <a:pt x="0" y="27"/>
                    <a:pt x="0" y="60"/>
                  </a:cubicBezTo>
                  <a:cubicBezTo>
                    <a:pt x="0" y="82"/>
                    <a:pt x="11" y="100"/>
                    <a:pt x="28" y="111"/>
                  </a:cubicBezTo>
                </a:path>
              </a:pathLst>
            </a:custGeom>
            <a:noFill/>
            <a:ln w="12700" cap="rnd">
              <a:solidFill>
                <a:srgbClr val="000000"/>
              </a:solidFill>
              <a:prstDash val="solid"/>
              <a:round/>
              <a:headEnd/>
              <a:tailEnd/>
            </a:ln>
          </p:spPr>
          <p:txBody>
            <a:bodyPr vert="horz" wrap="square" lIns="83969" tIns="41985" rIns="83969" bIns="41985" numCol="1" anchor="t" anchorCtr="0" compatLnSpc="1">
              <a:prstTxWarp prst="textNoShape">
                <a:avLst/>
              </a:prstTxWarp>
            </a:bodyPr>
            <a:lstStyle/>
            <a:p>
              <a:endParaRPr lang="en-US"/>
            </a:p>
          </p:txBody>
        </p:sp>
      </p:grpSp>
      <p:grpSp>
        <p:nvGrpSpPr>
          <p:cNvPr id="10" name="Groupe 458"/>
          <p:cNvGrpSpPr>
            <a:grpSpLocks noChangeAspect="1"/>
          </p:cNvGrpSpPr>
          <p:nvPr/>
        </p:nvGrpSpPr>
        <p:grpSpPr>
          <a:xfrm rot="19529553">
            <a:off x="3307507" y="4000466"/>
            <a:ext cx="281528" cy="540000"/>
            <a:chOff x="1952625" y="717004"/>
            <a:chExt cx="381000" cy="730797"/>
          </a:xfrm>
        </p:grpSpPr>
        <p:sp>
          <p:nvSpPr>
            <p:cNvPr id="457" name="Forme libre 456"/>
            <p:cNvSpPr/>
            <p:nvPr/>
          </p:nvSpPr>
          <p:spPr>
            <a:xfrm>
              <a:off x="1952625" y="717004"/>
              <a:ext cx="381000" cy="730797"/>
            </a:xfrm>
            <a:custGeom>
              <a:avLst/>
              <a:gdLst>
                <a:gd name="connsiteX0" fmla="*/ 0 w 552450"/>
                <a:gd name="connsiteY0" fmla="*/ 120650 h 847725"/>
                <a:gd name="connsiteX1" fmla="*/ 35338 w 552450"/>
                <a:gd name="connsiteY1" fmla="*/ 35338 h 847725"/>
                <a:gd name="connsiteX2" fmla="*/ 120651 w 552450"/>
                <a:gd name="connsiteY2" fmla="*/ 1 h 847725"/>
                <a:gd name="connsiteX3" fmla="*/ 431800 w 552450"/>
                <a:gd name="connsiteY3" fmla="*/ 0 h 847725"/>
                <a:gd name="connsiteX4" fmla="*/ 517112 w 552450"/>
                <a:gd name="connsiteY4" fmla="*/ 35338 h 847725"/>
                <a:gd name="connsiteX5" fmla="*/ 552449 w 552450"/>
                <a:gd name="connsiteY5" fmla="*/ 120651 h 847725"/>
                <a:gd name="connsiteX6" fmla="*/ 552450 w 552450"/>
                <a:gd name="connsiteY6" fmla="*/ 727075 h 847725"/>
                <a:gd name="connsiteX7" fmla="*/ 517112 w 552450"/>
                <a:gd name="connsiteY7" fmla="*/ 812387 h 847725"/>
                <a:gd name="connsiteX8" fmla="*/ 431800 w 552450"/>
                <a:gd name="connsiteY8" fmla="*/ 847725 h 847725"/>
                <a:gd name="connsiteX9" fmla="*/ 120650 w 552450"/>
                <a:gd name="connsiteY9" fmla="*/ 847725 h 847725"/>
                <a:gd name="connsiteX10" fmla="*/ 35338 w 552450"/>
                <a:gd name="connsiteY10" fmla="*/ 812387 h 847725"/>
                <a:gd name="connsiteX11" fmla="*/ 1 w 552450"/>
                <a:gd name="connsiteY11" fmla="*/ 727075 h 847725"/>
                <a:gd name="connsiteX12" fmla="*/ 0 w 552450"/>
                <a:gd name="connsiteY12" fmla="*/ 120650 h 847725"/>
                <a:gd name="connsiteX0" fmla="*/ 0 w 552450"/>
                <a:gd name="connsiteY0" fmla="*/ 120650 h 848254"/>
                <a:gd name="connsiteX1" fmla="*/ 35338 w 552450"/>
                <a:gd name="connsiteY1" fmla="*/ 35338 h 848254"/>
                <a:gd name="connsiteX2" fmla="*/ 120651 w 552450"/>
                <a:gd name="connsiteY2" fmla="*/ 1 h 848254"/>
                <a:gd name="connsiteX3" fmla="*/ 431800 w 552450"/>
                <a:gd name="connsiteY3" fmla="*/ 0 h 848254"/>
                <a:gd name="connsiteX4" fmla="*/ 517112 w 552450"/>
                <a:gd name="connsiteY4" fmla="*/ 35338 h 848254"/>
                <a:gd name="connsiteX5" fmla="*/ 552449 w 552450"/>
                <a:gd name="connsiteY5" fmla="*/ 120651 h 848254"/>
                <a:gd name="connsiteX6" fmla="*/ 552450 w 552450"/>
                <a:gd name="connsiteY6" fmla="*/ 727075 h 848254"/>
                <a:gd name="connsiteX7" fmla="*/ 431800 w 552450"/>
                <a:gd name="connsiteY7" fmla="*/ 847725 h 848254"/>
                <a:gd name="connsiteX8" fmla="*/ 120650 w 552450"/>
                <a:gd name="connsiteY8" fmla="*/ 847725 h 848254"/>
                <a:gd name="connsiteX9" fmla="*/ 35338 w 552450"/>
                <a:gd name="connsiteY9" fmla="*/ 812387 h 848254"/>
                <a:gd name="connsiteX10" fmla="*/ 1 w 552450"/>
                <a:gd name="connsiteY10" fmla="*/ 727075 h 848254"/>
                <a:gd name="connsiteX11" fmla="*/ 0 w 552450"/>
                <a:gd name="connsiteY11" fmla="*/ 120650 h 848254"/>
                <a:gd name="connsiteX0" fmla="*/ 431800 w 552450"/>
                <a:gd name="connsiteY0" fmla="*/ 847725 h 939165"/>
                <a:gd name="connsiteX1" fmla="*/ 120650 w 552450"/>
                <a:gd name="connsiteY1" fmla="*/ 847725 h 939165"/>
                <a:gd name="connsiteX2" fmla="*/ 35338 w 552450"/>
                <a:gd name="connsiteY2" fmla="*/ 812387 h 939165"/>
                <a:gd name="connsiteX3" fmla="*/ 1 w 552450"/>
                <a:gd name="connsiteY3" fmla="*/ 727075 h 939165"/>
                <a:gd name="connsiteX4" fmla="*/ 0 w 552450"/>
                <a:gd name="connsiteY4" fmla="*/ 120650 h 939165"/>
                <a:gd name="connsiteX5" fmla="*/ 35338 w 552450"/>
                <a:gd name="connsiteY5" fmla="*/ 35338 h 939165"/>
                <a:gd name="connsiteX6" fmla="*/ 120651 w 552450"/>
                <a:gd name="connsiteY6" fmla="*/ 1 h 939165"/>
                <a:gd name="connsiteX7" fmla="*/ 431800 w 552450"/>
                <a:gd name="connsiteY7" fmla="*/ 0 h 939165"/>
                <a:gd name="connsiteX8" fmla="*/ 517112 w 552450"/>
                <a:gd name="connsiteY8" fmla="*/ 35338 h 939165"/>
                <a:gd name="connsiteX9" fmla="*/ 552449 w 552450"/>
                <a:gd name="connsiteY9" fmla="*/ 120651 h 939165"/>
                <a:gd name="connsiteX10" fmla="*/ 552450 w 552450"/>
                <a:gd name="connsiteY10" fmla="*/ 727075 h 939165"/>
                <a:gd name="connsiteX11" fmla="*/ 523240 w 552450"/>
                <a:gd name="connsiteY11" fmla="*/ 939165 h 939165"/>
                <a:gd name="connsiteX0" fmla="*/ 431800 w 552450"/>
                <a:gd name="connsiteY0" fmla="*/ 847725 h 847725"/>
                <a:gd name="connsiteX1" fmla="*/ 120650 w 552450"/>
                <a:gd name="connsiteY1" fmla="*/ 847725 h 847725"/>
                <a:gd name="connsiteX2" fmla="*/ 35338 w 552450"/>
                <a:gd name="connsiteY2" fmla="*/ 812387 h 847725"/>
                <a:gd name="connsiteX3" fmla="*/ 1 w 552450"/>
                <a:gd name="connsiteY3" fmla="*/ 727075 h 847725"/>
                <a:gd name="connsiteX4" fmla="*/ 0 w 552450"/>
                <a:gd name="connsiteY4" fmla="*/ 120650 h 847725"/>
                <a:gd name="connsiteX5" fmla="*/ 35338 w 552450"/>
                <a:gd name="connsiteY5" fmla="*/ 35338 h 847725"/>
                <a:gd name="connsiteX6" fmla="*/ 120651 w 552450"/>
                <a:gd name="connsiteY6" fmla="*/ 1 h 847725"/>
                <a:gd name="connsiteX7" fmla="*/ 431800 w 552450"/>
                <a:gd name="connsiteY7" fmla="*/ 0 h 847725"/>
                <a:gd name="connsiteX8" fmla="*/ 517112 w 552450"/>
                <a:gd name="connsiteY8" fmla="*/ 35338 h 847725"/>
                <a:gd name="connsiteX9" fmla="*/ 552449 w 552450"/>
                <a:gd name="connsiteY9" fmla="*/ 120651 h 847725"/>
                <a:gd name="connsiteX10" fmla="*/ 552450 w 552450"/>
                <a:gd name="connsiteY10" fmla="*/ 727075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2450" h="847725">
                  <a:moveTo>
                    <a:pt x="431800" y="847725"/>
                  </a:moveTo>
                  <a:lnTo>
                    <a:pt x="120650" y="847725"/>
                  </a:lnTo>
                  <a:cubicBezTo>
                    <a:pt x="88652" y="847725"/>
                    <a:pt x="57964" y="835014"/>
                    <a:pt x="35338" y="812387"/>
                  </a:cubicBezTo>
                  <a:cubicBezTo>
                    <a:pt x="12712" y="789761"/>
                    <a:pt x="0" y="759073"/>
                    <a:pt x="1" y="727075"/>
                  </a:cubicBezTo>
                  <a:cubicBezTo>
                    <a:pt x="1" y="524933"/>
                    <a:pt x="0" y="322792"/>
                    <a:pt x="0" y="120650"/>
                  </a:cubicBezTo>
                  <a:cubicBezTo>
                    <a:pt x="0" y="88652"/>
                    <a:pt x="12711" y="57964"/>
                    <a:pt x="35338" y="35338"/>
                  </a:cubicBezTo>
                  <a:cubicBezTo>
                    <a:pt x="57964" y="12712"/>
                    <a:pt x="88652" y="1"/>
                    <a:pt x="120651" y="1"/>
                  </a:cubicBezTo>
                  <a:lnTo>
                    <a:pt x="431800" y="0"/>
                  </a:lnTo>
                  <a:cubicBezTo>
                    <a:pt x="463798" y="0"/>
                    <a:pt x="494486" y="12711"/>
                    <a:pt x="517112" y="35338"/>
                  </a:cubicBezTo>
                  <a:cubicBezTo>
                    <a:pt x="539738" y="57964"/>
                    <a:pt x="552449" y="88652"/>
                    <a:pt x="552449" y="120651"/>
                  </a:cubicBezTo>
                  <a:cubicBezTo>
                    <a:pt x="552449" y="322792"/>
                    <a:pt x="552450" y="524934"/>
                    <a:pt x="552450" y="727075"/>
                  </a:cubicBezTo>
                </a:path>
              </a:pathLst>
            </a:cu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58" name="Forme libre 457"/>
            <p:cNvSpPr/>
            <p:nvPr/>
          </p:nvSpPr>
          <p:spPr>
            <a:xfrm>
              <a:off x="2005012" y="800100"/>
              <a:ext cx="280987" cy="466725"/>
            </a:xfrm>
            <a:custGeom>
              <a:avLst/>
              <a:gdLst>
                <a:gd name="connsiteX0" fmla="*/ 0 w 219075"/>
                <a:gd name="connsiteY0" fmla="*/ 36513 h 219075"/>
                <a:gd name="connsiteX1" fmla="*/ 10694 w 219075"/>
                <a:gd name="connsiteY1" fmla="*/ 10694 h 219075"/>
                <a:gd name="connsiteX2" fmla="*/ 36513 w 219075"/>
                <a:gd name="connsiteY2" fmla="*/ 0 h 219075"/>
                <a:gd name="connsiteX3" fmla="*/ 182562 w 219075"/>
                <a:gd name="connsiteY3" fmla="*/ 0 h 219075"/>
                <a:gd name="connsiteX4" fmla="*/ 208381 w 219075"/>
                <a:gd name="connsiteY4" fmla="*/ 10694 h 219075"/>
                <a:gd name="connsiteX5" fmla="*/ 219075 w 219075"/>
                <a:gd name="connsiteY5" fmla="*/ 36513 h 219075"/>
                <a:gd name="connsiteX6" fmla="*/ 219075 w 219075"/>
                <a:gd name="connsiteY6" fmla="*/ 182562 h 219075"/>
                <a:gd name="connsiteX7" fmla="*/ 208381 w 219075"/>
                <a:gd name="connsiteY7" fmla="*/ 208381 h 219075"/>
                <a:gd name="connsiteX8" fmla="*/ 182562 w 219075"/>
                <a:gd name="connsiteY8" fmla="*/ 219075 h 219075"/>
                <a:gd name="connsiteX9" fmla="*/ 36513 w 219075"/>
                <a:gd name="connsiteY9" fmla="*/ 219075 h 219075"/>
                <a:gd name="connsiteX10" fmla="*/ 10694 w 219075"/>
                <a:gd name="connsiteY10" fmla="*/ 208381 h 219075"/>
                <a:gd name="connsiteX11" fmla="*/ 0 w 219075"/>
                <a:gd name="connsiteY11" fmla="*/ 182562 h 219075"/>
                <a:gd name="connsiteX12" fmla="*/ 0 w 219075"/>
                <a:gd name="connsiteY12" fmla="*/ 36513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219075">
                  <a:moveTo>
                    <a:pt x="0" y="36513"/>
                  </a:moveTo>
                  <a:cubicBezTo>
                    <a:pt x="0" y="26829"/>
                    <a:pt x="3847" y="17542"/>
                    <a:pt x="10694" y="10694"/>
                  </a:cubicBezTo>
                  <a:cubicBezTo>
                    <a:pt x="17542" y="3846"/>
                    <a:pt x="26829" y="0"/>
                    <a:pt x="36513" y="0"/>
                  </a:cubicBezTo>
                  <a:lnTo>
                    <a:pt x="182562" y="0"/>
                  </a:lnTo>
                  <a:cubicBezTo>
                    <a:pt x="192246" y="0"/>
                    <a:pt x="201533" y="3847"/>
                    <a:pt x="208381" y="10694"/>
                  </a:cubicBezTo>
                  <a:cubicBezTo>
                    <a:pt x="215229" y="17542"/>
                    <a:pt x="219075" y="26829"/>
                    <a:pt x="219075" y="36513"/>
                  </a:cubicBezTo>
                  <a:lnTo>
                    <a:pt x="219075" y="182562"/>
                  </a:lnTo>
                  <a:cubicBezTo>
                    <a:pt x="219075" y="192246"/>
                    <a:pt x="215228" y="201533"/>
                    <a:pt x="208381" y="208381"/>
                  </a:cubicBezTo>
                  <a:cubicBezTo>
                    <a:pt x="201533" y="215229"/>
                    <a:pt x="192246" y="219075"/>
                    <a:pt x="182562" y="219075"/>
                  </a:cubicBezTo>
                  <a:lnTo>
                    <a:pt x="36513" y="219075"/>
                  </a:lnTo>
                  <a:cubicBezTo>
                    <a:pt x="26829" y="219075"/>
                    <a:pt x="17542" y="215228"/>
                    <a:pt x="10694" y="208381"/>
                  </a:cubicBezTo>
                  <a:cubicBezTo>
                    <a:pt x="3846" y="201533"/>
                    <a:pt x="0" y="192246"/>
                    <a:pt x="0" y="182562"/>
                  </a:cubicBezTo>
                  <a:lnTo>
                    <a:pt x="0" y="36513"/>
                  </a:lnTo>
                  <a:close/>
                </a:path>
              </a:pathLst>
            </a:cu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grpSp>
      <p:grpSp>
        <p:nvGrpSpPr>
          <p:cNvPr id="11" name="Groupe 133"/>
          <p:cNvGrpSpPr>
            <a:grpSpLocks noChangeAspect="1"/>
          </p:cNvGrpSpPr>
          <p:nvPr/>
        </p:nvGrpSpPr>
        <p:grpSpPr>
          <a:xfrm>
            <a:off x="5400676" y="5375275"/>
            <a:ext cx="220773" cy="540000"/>
            <a:chOff x="3028950" y="2727325"/>
            <a:chExt cx="117475" cy="287338"/>
          </a:xfrm>
        </p:grpSpPr>
        <p:sp>
          <p:nvSpPr>
            <p:cNvPr id="132" name="Freeform 523"/>
            <p:cNvSpPr>
              <a:spLocks/>
            </p:cNvSpPr>
            <p:nvPr/>
          </p:nvSpPr>
          <p:spPr bwMode="auto">
            <a:xfrm>
              <a:off x="3028950" y="2727325"/>
              <a:ext cx="117475" cy="138113"/>
            </a:xfrm>
            <a:custGeom>
              <a:avLst/>
              <a:gdLst/>
              <a:ahLst/>
              <a:cxnLst>
                <a:cxn ang="0">
                  <a:pos x="88" y="103"/>
                </a:cxn>
                <a:cxn ang="0">
                  <a:pos x="77" y="68"/>
                </a:cxn>
                <a:cxn ang="0">
                  <a:pos x="55" y="31"/>
                </a:cxn>
                <a:cxn ang="0">
                  <a:pos x="62" y="16"/>
                </a:cxn>
                <a:cxn ang="0">
                  <a:pos x="50" y="0"/>
                </a:cxn>
                <a:cxn ang="0">
                  <a:pos x="38" y="16"/>
                </a:cxn>
                <a:cxn ang="0">
                  <a:pos x="45" y="31"/>
                </a:cxn>
                <a:cxn ang="0">
                  <a:pos x="22" y="68"/>
                </a:cxn>
                <a:cxn ang="0">
                  <a:pos x="1" y="90"/>
                </a:cxn>
              </a:cxnLst>
              <a:rect l="0" t="0" r="r" b="b"/>
              <a:pathLst>
                <a:path w="88" h="103">
                  <a:moveTo>
                    <a:pt x="88" y="103"/>
                  </a:moveTo>
                  <a:cubicBezTo>
                    <a:pt x="88" y="99"/>
                    <a:pt x="77" y="84"/>
                    <a:pt x="77" y="68"/>
                  </a:cubicBezTo>
                  <a:cubicBezTo>
                    <a:pt x="78" y="47"/>
                    <a:pt x="70" y="31"/>
                    <a:pt x="55" y="31"/>
                  </a:cubicBezTo>
                  <a:cubicBezTo>
                    <a:pt x="57" y="28"/>
                    <a:pt x="62" y="21"/>
                    <a:pt x="62" y="16"/>
                  </a:cubicBezTo>
                  <a:cubicBezTo>
                    <a:pt x="62" y="7"/>
                    <a:pt x="57" y="0"/>
                    <a:pt x="50" y="0"/>
                  </a:cubicBezTo>
                  <a:cubicBezTo>
                    <a:pt x="43" y="0"/>
                    <a:pt x="38" y="7"/>
                    <a:pt x="38" y="16"/>
                  </a:cubicBezTo>
                  <a:cubicBezTo>
                    <a:pt x="38" y="21"/>
                    <a:pt x="42" y="28"/>
                    <a:pt x="45" y="31"/>
                  </a:cubicBezTo>
                  <a:cubicBezTo>
                    <a:pt x="26" y="33"/>
                    <a:pt x="22" y="47"/>
                    <a:pt x="22" y="68"/>
                  </a:cubicBezTo>
                  <a:cubicBezTo>
                    <a:pt x="22" y="72"/>
                    <a:pt x="0" y="86"/>
                    <a:pt x="1" y="90"/>
                  </a:cubicBezTo>
                </a:path>
              </a:pathLst>
            </a:custGeom>
            <a:noFill/>
            <a:ln w="11113"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524"/>
            <p:cNvSpPr>
              <a:spLocks/>
            </p:cNvSpPr>
            <p:nvPr/>
          </p:nvSpPr>
          <p:spPr bwMode="auto">
            <a:xfrm>
              <a:off x="3060700" y="2798763"/>
              <a:ext cx="66675" cy="215900"/>
            </a:xfrm>
            <a:custGeom>
              <a:avLst/>
              <a:gdLst/>
              <a:ahLst/>
              <a:cxnLst>
                <a:cxn ang="0">
                  <a:pos x="8" y="0"/>
                </a:cxn>
                <a:cxn ang="0">
                  <a:pos x="11" y="10"/>
                </a:cxn>
                <a:cxn ang="0">
                  <a:pos x="13" y="16"/>
                </a:cxn>
                <a:cxn ang="0">
                  <a:pos x="8" y="32"/>
                </a:cxn>
                <a:cxn ang="0">
                  <a:pos x="7" y="94"/>
                </a:cxn>
                <a:cxn ang="0">
                  <a:pos x="0" y="118"/>
                </a:cxn>
                <a:cxn ang="0">
                  <a:pos x="6" y="118"/>
                </a:cxn>
                <a:cxn ang="0">
                  <a:pos x="8" y="118"/>
                </a:cxn>
                <a:cxn ang="0">
                  <a:pos x="12" y="161"/>
                </a:cxn>
                <a:cxn ang="0">
                  <a:pos x="27" y="162"/>
                </a:cxn>
                <a:cxn ang="0">
                  <a:pos x="18" y="147"/>
                </a:cxn>
                <a:cxn ang="0">
                  <a:pos x="19" y="128"/>
                </a:cxn>
                <a:cxn ang="0">
                  <a:pos x="21" y="119"/>
                </a:cxn>
                <a:cxn ang="0">
                  <a:pos x="20" y="119"/>
                </a:cxn>
                <a:cxn ang="0">
                  <a:pos x="29" y="118"/>
                </a:cxn>
                <a:cxn ang="0">
                  <a:pos x="29" y="119"/>
                </a:cxn>
                <a:cxn ang="0">
                  <a:pos x="35" y="161"/>
                </a:cxn>
                <a:cxn ang="0">
                  <a:pos x="50" y="162"/>
                </a:cxn>
                <a:cxn ang="0">
                  <a:pos x="39" y="147"/>
                </a:cxn>
                <a:cxn ang="0">
                  <a:pos x="40" y="128"/>
                </a:cxn>
                <a:cxn ang="0">
                  <a:pos x="42" y="119"/>
                </a:cxn>
                <a:cxn ang="0">
                  <a:pos x="42" y="118"/>
                </a:cxn>
                <a:cxn ang="0">
                  <a:pos x="44" y="118"/>
                </a:cxn>
                <a:cxn ang="0">
                  <a:pos x="45" y="44"/>
                </a:cxn>
                <a:cxn ang="0">
                  <a:pos x="40" y="29"/>
                </a:cxn>
                <a:cxn ang="0">
                  <a:pos x="41" y="10"/>
                </a:cxn>
                <a:cxn ang="0">
                  <a:pos x="44" y="1"/>
                </a:cxn>
              </a:cxnLst>
              <a:rect l="0" t="0" r="r" b="b"/>
              <a:pathLst>
                <a:path w="50" h="162">
                  <a:moveTo>
                    <a:pt x="8" y="0"/>
                  </a:moveTo>
                  <a:cubicBezTo>
                    <a:pt x="11" y="10"/>
                    <a:pt x="11" y="10"/>
                    <a:pt x="11" y="10"/>
                  </a:cubicBezTo>
                  <a:cubicBezTo>
                    <a:pt x="11" y="10"/>
                    <a:pt x="12" y="12"/>
                    <a:pt x="13" y="16"/>
                  </a:cubicBezTo>
                  <a:cubicBezTo>
                    <a:pt x="13" y="20"/>
                    <a:pt x="13" y="24"/>
                    <a:pt x="8" y="32"/>
                  </a:cubicBezTo>
                  <a:cubicBezTo>
                    <a:pt x="0" y="44"/>
                    <a:pt x="9" y="77"/>
                    <a:pt x="7" y="94"/>
                  </a:cubicBezTo>
                  <a:cubicBezTo>
                    <a:pt x="0" y="118"/>
                    <a:pt x="0" y="118"/>
                    <a:pt x="0" y="118"/>
                  </a:cubicBezTo>
                  <a:cubicBezTo>
                    <a:pt x="6" y="118"/>
                    <a:pt x="6" y="118"/>
                    <a:pt x="6" y="118"/>
                  </a:cubicBezTo>
                  <a:cubicBezTo>
                    <a:pt x="8" y="118"/>
                    <a:pt x="8" y="118"/>
                    <a:pt x="8" y="118"/>
                  </a:cubicBezTo>
                  <a:cubicBezTo>
                    <a:pt x="8" y="124"/>
                    <a:pt x="10" y="160"/>
                    <a:pt x="12" y="161"/>
                  </a:cubicBezTo>
                  <a:cubicBezTo>
                    <a:pt x="13" y="162"/>
                    <a:pt x="27" y="162"/>
                    <a:pt x="27" y="162"/>
                  </a:cubicBezTo>
                  <a:cubicBezTo>
                    <a:pt x="27" y="162"/>
                    <a:pt x="19" y="150"/>
                    <a:pt x="18" y="147"/>
                  </a:cubicBezTo>
                  <a:cubicBezTo>
                    <a:pt x="18" y="144"/>
                    <a:pt x="18" y="131"/>
                    <a:pt x="19" y="128"/>
                  </a:cubicBezTo>
                  <a:cubicBezTo>
                    <a:pt x="20" y="127"/>
                    <a:pt x="20" y="123"/>
                    <a:pt x="21" y="119"/>
                  </a:cubicBezTo>
                  <a:cubicBezTo>
                    <a:pt x="20" y="119"/>
                    <a:pt x="20" y="119"/>
                    <a:pt x="20" y="119"/>
                  </a:cubicBezTo>
                  <a:cubicBezTo>
                    <a:pt x="29" y="118"/>
                    <a:pt x="29" y="118"/>
                    <a:pt x="29" y="118"/>
                  </a:cubicBezTo>
                  <a:cubicBezTo>
                    <a:pt x="29" y="119"/>
                    <a:pt x="29" y="119"/>
                    <a:pt x="29" y="119"/>
                  </a:cubicBezTo>
                  <a:cubicBezTo>
                    <a:pt x="29" y="124"/>
                    <a:pt x="34" y="160"/>
                    <a:pt x="35" y="161"/>
                  </a:cubicBezTo>
                  <a:cubicBezTo>
                    <a:pt x="36" y="162"/>
                    <a:pt x="50" y="162"/>
                    <a:pt x="50" y="162"/>
                  </a:cubicBezTo>
                  <a:cubicBezTo>
                    <a:pt x="50" y="162"/>
                    <a:pt x="40" y="150"/>
                    <a:pt x="39" y="147"/>
                  </a:cubicBezTo>
                  <a:cubicBezTo>
                    <a:pt x="38" y="145"/>
                    <a:pt x="39" y="132"/>
                    <a:pt x="40" y="128"/>
                  </a:cubicBezTo>
                  <a:cubicBezTo>
                    <a:pt x="41" y="127"/>
                    <a:pt x="41" y="123"/>
                    <a:pt x="42" y="119"/>
                  </a:cubicBezTo>
                  <a:cubicBezTo>
                    <a:pt x="42" y="118"/>
                    <a:pt x="42" y="118"/>
                    <a:pt x="42" y="118"/>
                  </a:cubicBezTo>
                  <a:cubicBezTo>
                    <a:pt x="44" y="118"/>
                    <a:pt x="44" y="118"/>
                    <a:pt x="44" y="118"/>
                  </a:cubicBezTo>
                  <a:cubicBezTo>
                    <a:pt x="44" y="118"/>
                    <a:pt x="50" y="65"/>
                    <a:pt x="45" y="44"/>
                  </a:cubicBezTo>
                  <a:cubicBezTo>
                    <a:pt x="43" y="38"/>
                    <a:pt x="41" y="32"/>
                    <a:pt x="40" y="29"/>
                  </a:cubicBezTo>
                  <a:cubicBezTo>
                    <a:pt x="37" y="21"/>
                    <a:pt x="41" y="10"/>
                    <a:pt x="41" y="10"/>
                  </a:cubicBezTo>
                  <a:cubicBezTo>
                    <a:pt x="44" y="1"/>
                    <a:pt x="44" y="1"/>
                    <a:pt x="44" y="1"/>
                  </a:cubicBezTo>
                </a:path>
              </a:pathLst>
            </a:custGeom>
            <a:noFill/>
            <a:ln w="11113"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A52C95-D358-489E-A0A7-8D5EC44DD0B7}"/>
              </a:ext>
            </a:extLst>
          </p:cNvPr>
          <p:cNvSpPr>
            <a:spLocks noGrp="1"/>
          </p:cNvSpPr>
          <p:nvPr>
            <p:ph type="title"/>
          </p:nvPr>
        </p:nvSpPr>
        <p:spPr/>
        <p:txBody>
          <a:bodyPr/>
          <a:lstStyle/>
          <a:p>
            <a:r>
              <a:rPr lang="en-US"/>
              <a:t>Data linage</a:t>
            </a:r>
          </a:p>
        </p:txBody>
      </p:sp>
      <p:sp>
        <p:nvSpPr>
          <p:cNvPr id="4" name="Rectangle: Rounded Corners 3">
            <a:extLst>
              <a:ext uri="{FF2B5EF4-FFF2-40B4-BE49-F238E27FC236}">
                <a16:creationId xmlns:a16="http://schemas.microsoft.com/office/drawing/2014/main" id="{C21A237B-BF2E-4C15-BFF4-C87AAFD6C7F5}"/>
              </a:ext>
            </a:extLst>
          </p:cNvPr>
          <p:cNvSpPr/>
          <p:nvPr/>
        </p:nvSpPr>
        <p:spPr>
          <a:xfrm>
            <a:off x="404333" y="1334782"/>
            <a:ext cx="11379200" cy="115811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WHAT?</a:t>
            </a:r>
          </a:p>
          <a:p>
            <a:pPr algn="ctr"/>
            <a:r>
              <a:rPr lang="en-US" sz="1800" b="0" i="0">
                <a:solidFill>
                  <a:srgbClr val="202124"/>
                </a:solidFill>
                <a:effectLst/>
                <a:latin typeface="arial" panose="020B0604020202020204" pitchFamily="34" charset="0"/>
              </a:rPr>
              <a:t>Data lineage is </a:t>
            </a:r>
            <a:r>
              <a:rPr lang="en-US" sz="1800" b="1" i="0">
                <a:solidFill>
                  <a:srgbClr val="202124"/>
                </a:solidFill>
                <a:effectLst/>
                <a:latin typeface="arial" panose="020B0604020202020204" pitchFamily="34" charset="0"/>
              </a:rPr>
              <a:t>the process of understanding, recording, and visualizing data</a:t>
            </a:r>
            <a:r>
              <a:rPr lang="en-US" sz="1800" b="0" i="0">
                <a:solidFill>
                  <a:srgbClr val="202124"/>
                </a:solidFill>
                <a:effectLst/>
                <a:latin typeface="arial" panose="020B0604020202020204" pitchFamily="34" charset="0"/>
              </a:rPr>
              <a:t> as it flows from data sources to consumption. </a:t>
            </a:r>
            <a:endParaRPr lang="en-US" sz="1800"/>
          </a:p>
        </p:txBody>
      </p:sp>
      <p:pic>
        <p:nvPicPr>
          <p:cNvPr id="5" name="Graphic 4" descr="Database with solid fill">
            <a:extLst>
              <a:ext uri="{FF2B5EF4-FFF2-40B4-BE49-F238E27FC236}">
                <a16:creationId xmlns:a16="http://schemas.microsoft.com/office/drawing/2014/main" id="{08D4BD1F-2D62-45D7-93F2-D8A31EE397C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9574" y="3018201"/>
            <a:ext cx="914400" cy="914400"/>
          </a:xfrm>
          <a:prstGeom prst="rect">
            <a:avLst/>
          </a:prstGeom>
        </p:spPr>
      </p:pic>
      <p:pic>
        <p:nvPicPr>
          <p:cNvPr id="12" name="Graphic 11" descr="Database with solid fill">
            <a:extLst>
              <a:ext uri="{FF2B5EF4-FFF2-40B4-BE49-F238E27FC236}">
                <a16:creationId xmlns:a16="http://schemas.microsoft.com/office/drawing/2014/main" id="{600A5BAD-646E-47D1-AE86-1E73EBEF4AB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04590" y="2990018"/>
            <a:ext cx="914400" cy="914400"/>
          </a:xfrm>
          <a:prstGeom prst="rect">
            <a:avLst/>
          </a:prstGeom>
        </p:spPr>
      </p:pic>
      <p:pic>
        <p:nvPicPr>
          <p:cNvPr id="7" name="Graphic 6" descr="Cause And Effect with solid fill">
            <a:extLst>
              <a:ext uri="{FF2B5EF4-FFF2-40B4-BE49-F238E27FC236}">
                <a16:creationId xmlns:a16="http://schemas.microsoft.com/office/drawing/2014/main" id="{019569D1-F0A7-4C06-A34C-CE7E632D530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14942" y="3010099"/>
            <a:ext cx="914400" cy="914400"/>
          </a:xfrm>
          <a:prstGeom prst="rect">
            <a:avLst/>
          </a:prstGeom>
        </p:spPr>
      </p:pic>
      <p:cxnSp>
        <p:nvCxnSpPr>
          <p:cNvPr id="9" name="Connector: Elbow 8">
            <a:extLst>
              <a:ext uri="{FF2B5EF4-FFF2-40B4-BE49-F238E27FC236}">
                <a16:creationId xmlns:a16="http://schemas.microsoft.com/office/drawing/2014/main" id="{A085CCBE-0670-42A1-81DE-35894F9477F1}"/>
              </a:ext>
            </a:extLst>
          </p:cNvPr>
          <p:cNvCxnSpPr>
            <a:cxnSpLocks/>
            <a:endCxn id="12" idx="1"/>
          </p:cNvCxnSpPr>
          <p:nvPr/>
        </p:nvCxnSpPr>
        <p:spPr>
          <a:xfrm flipV="1">
            <a:off x="6629342" y="3447218"/>
            <a:ext cx="3575248" cy="291064"/>
          </a:xfrm>
          <a:prstGeom prst="bentConnector3">
            <a:avLst/>
          </a:prstGeom>
          <a:ln w="57150">
            <a:tailEnd type="triangle"/>
          </a:ln>
        </p:spPr>
        <p:style>
          <a:lnRef idx="1">
            <a:schemeClr val="dk1"/>
          </a:lnRef>
          <a:fillRef idx="0">
            <a:schemeClr val="dk1"/>
          </a:fillRef>
          <a:effectRef idx="0">
            <a:schemeClr val="dk1"/>
          </a:effectRef>
          <a:fontRef idx="minor">
            <a:schemeClr val="tx1"/>
          </a:fontRef>
        </p:style>
      </p:cxnSp>
      <p:cxnSp>
        <p:nvCxnSpPr>
          <p:cNvPr id="14" name="Connector: Elbow 13">
            <a:extLst>
              <a:ext uri="{FF2B5EF4-FFF2-40B4-BE49-F238E27FC236}">
                <a16:creationId xmlns:a16="http://schemas.microsoft.com/office/drawing/2014/main" id="{01CA7391-312F-4C70-8542-0C0590D08087}"/>
              </a:ext>
            </a:extLst>
          </p:cNvPr>
          <p:cNvCxnSpPr>
            <a:cxnSpLocks/>
          </p:cNvCxnSpPr>
          <p:nvPr/>
        </p:nvCxnSpPr>
        <p:spPr>
          <a:xfrm flipV="1">
            <a:off x="2135560" y="3284984"/>
            <a:ext cx="3577315" cy="453298"/>
          </a:xfrm>
          <a:prstGeom prst="bentConnector3">
            <a:avLst/>
          </a:prstGeom>
          <a:ln w="57150">
            <a:tailEnd type="triangle"/>
          </a:ln>
        </p:spPr>
        <p:style>
          <a:lnRef idx="1">
            <a:schemeClr val="dk1"/>
          </a:lnRef>
          <a:fillRef idx="0">
            <a:schemeClr val="dk1"/>
          </a:fillRef>
          <a:effectRef idx="0">
            <a:schemeClr val="dk1"/>
          </a:effectRef>
          <a:fontRef idx="minor">
            <a:schemeClr val="tx1"/>
          </a:fontRef>
        </p:style>
      </p:cxnSp>
      <p:sp>
        <p:nvSpPr>
          <p:cNvPr id="19" name="Rectangle: Rounded Corners 18">
            <a:extLst>
              <a:ext uri="{FF2B5EF4-FFF2-40B4-BE49-F238E27FC236}">
                <a16:creationId xmlns:a16="http://schemas.microsoft.com/office/drawing/2014/main" id="{17642D84-B6AF-4297-9B52-34BCD9A32D5E}"/>
              </a:ext>
            </a:extLst>
          </p:cNvPr>
          <p:cNvSpPr/>
          <p:nvPr/>
        </p:nvSpPr>
        <p:spPr>
          <a:xfrm>
            <a:off x="3356111" y="4664274"/>
            <a:ext cx="5475643" cy="1331886"/>
          </a:xfrm>
          <a:prstGeom prst="roundRect">
            <a:avLst/>
          </a:prstGeom>
          <a:solidFill>
            <a:srgbClr val="CCE9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WHY?</a:t>
            </a:r>
          </a:p>
          <a:p>
            <a:pPr algn="ctr"/>
            <a:r>
              <a:rPr lang="en-US" sz="1600" b="1" i="0" dirty="0">
                <a:solidFill>
                  <a:srgbClr val="202124"/>
                </a:solidFill>
                <a:effectLst/>
                <a:latin typeface="arial" panose="020B0604020202020204" pitchFamily="34" charset="0"/>
              </a:rPr>
              <a:t>Helps</a:t>
            </a:r>
            <a:r>
              <a:rPr lang="en-US" sz="1600" b="1" i="0">
                <a:solidFill>
                  <a:srgbClr val="202124"/>
                </a:solidFill>
                <a:effectLst/>
                <a:latin typeface="arial" panose="020B0604020202020204" pitchFamily="34" charset="0"/>
              </a:rPr>
              <a:t> users make sure their data is coming from a trusted source</a:t>
            </a:r>
            <a:r>
              <a:rPr lang="en-US" sz="1600" b="0" i="0">
                <a:solidFill>
                  <a:srgbClr val="202124"/>
                </a:solidFill>
                <a:effectLst/>
                <a:latin typeface="arial" panose="020B0604020202020204" pitchFamily="34" charset="0"/>
              </a:rPr>
              <a:t>, has been transformed correctly, and loaded to the specified location.</a:t>
            </a:r>
            <a:endParaRPr lang="en-US" sz="1600"/>
          </a:p>
        </p:txBody>
      </p:sp>
    </p:spTree>
    <p:extLst>
      <p:ext uri="{BB962C8B-B14F-4D97-AF65-F5344CB8AC3E}">
        <p14:creationId xmlns:p14="http://schemas.microsoft.com/office/powerpoint/2010/main" val="2358576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Icons Collection </a:t>
            </a:r>
            <a:r>
              <a:rPr lang="en-US" sz="2000"/>
              <a:t>(non-exhaustive list)</a:t>
            </a:r>
          </a:p>
        </p:txBody>
      </p:sp>
      <p:sp>
        <p:nvSpPr>
          <p:cNvPr id="309" name="ZoneTexte 308"/>
          <p:cNvSpPr txBox="1"/>
          <p:nvPr/>
        </p:nvSpPr>
        <p:spPr>
          <a:xfrm>
            <a:off x="1205792" y="2237706"/>
            <a:ext cx="881339" cy="423344"/>
          </a:xfrm>
          <a:prstGeom prst="rect">
            <a:avLst/>
          </a:prstGeom>
          <a:noFill/>
        </p:spPr>
        <p:txBody>
          <a:bodyPr wrap="square" lIns="83969" tIns="41985" rIns="83969" bIns="41985" rtlCol="0">
            <a:spAutoFit/>
          </a:bodyPr>
          <a:lstStyle/>
          <a:p>
            <a:pPr algn="ctr"/>
            <a:r>
              <a:rPr lang="en-US" sz="1100">
                <a:solidFill>
                  <a:srgbClr val="494949"/>
                </a:solidFill>
              </a:rPr>
              <a:t>Consumer product</a:t>
            </a:r>
          </a:p>
        </p:txBody>
      </p:sp>
      <p:sp>
        <p:nvSpPr>
          <p:cNvPr id="324" name="ZoneTexte 323"/>
          <p:cNvSpPr txBox="1"/>
          <p:nvPr/>
        </p:nvSpPr>
        <p:spPr>
          <a:xfrm>
            <a:off x="3119285" y="2237706"/>
            <a:ext cx="738723" cy="423344"/>
          </a:xfrm>
          <a:prstGeom prst="rect">
            <a:avLst/>
          </a:prstGeom>
          <a:noFill/>
        </p:spPr>
        <p:txBody>
          <a:bodyPr wrap="square" lIns="83969" tIns="41985" rIns="83969" bIns="41985" rtlCol="0">
            <a:spAutoFit/>
          </a:bodyPr>
          <a:lstStyle/>
          <a:p>
            <a:pPr algn="ctr"/>
            <a:r>
              <a:rPr lang="en-US" sz="1100">
                <a:solidFill>
                  <a:srgbClr val="494949"/>
                </a:solidFill>
              </a:rPr>
              <a:t>Label / Price</a:t>
            </a:r>
          </a:p>
        </p:txBody>
      </p:sp>
      <p:sp>
        <p:nvSpPr>
          <p:cNvPr id="325" name="ZoneTexte 324"/>
          <p:cNvSpPr txBox="1"/>
          <p:nvPr/>
        </p:nvSpPr>
        <p:spPr>
          <a:xfrm>
            <a:off x="4003909" y="2237707"/>
            <a:ext cx="738723" cy="254067"/>
          </a:xfrm>
          <a:prstGeom prst="rect">
            <a:avLst/>
          </a:prstGeom>
          <a:noFill/>
        </p:spPr>
        <p:txBody>
          <a:bodyPr wrap="square" lIns="83969" tIns="41985" rIns="83969" bIns="41985" rtlCol="0">
            <a:spAutoFit/>
          </a:bodyPr>
          <a:lstStyle/>
          <a:p>
            <a:pPr algn="ctr"/>
            <a:r>
              <a:rPr lang="en-US" sz="1100">
                <a:solidFill>
                  <a:srgbClr val="494949"/>
                </a:solidFill>
              </a:rPr>
              <a:t>Tailor</a:t>
            </a:r>
          </a:p>
        </p:txBody>
      </p:sp>
      <p:sp>
        <p:nvSpPr>
          <p:cNvPr id="326" name="ZoneTexte 325"/>
          <p:cNvSpPr txBox="1"/>
          <p:nvPr/>
        </p:nvSpPr>
        <p:spPr>
          <a:xfrm>
            <a:off x="4762742" y="2237707"/>
            <a:ext cx="738723" cy="254067"/>
          </a:xfrm>
          <a:prstGeom prst="rect">
            <a:avLst/>
          </a:prstGeom>
          <a:noFill/>
        </p:spPr>
        <p:txBody>
          <a:bodyPr wrap="square" lIns="83969" tIns="41985" rIns="83969" bIns="41985" rtlCol="0">
            <a:spAutoFit/>
          </a:bodyPr>
          <a:lstStyle/>
          <a:p>
            <a:pPr algn="ctr"/>
            <a:r>
              <a:rPr lang="en-US" sz="1100">
                <a:solidFill>
                  <a:srgbClr val="494949"/>
                </a:solidFill>
              </a:rPr>
              <a:t>Retail</a:t>
            </a:r>
          </a:p>
        </p:txBody>
      </p:sp>
      <p:sp>
        <p:nvSpPr>
          <p:cNvPr id="327" name="ZoneTexte 326"/>
          <p:cNvSpPr txBox="1"/>
          <p:nvPr/>
        </p:nvSpPr>
        <p:spPr>
          <a:xfrm>
            <a:off x="6473088" y="2237707"/>
            <a:ext cx="828808" cy="254067"/>
          </a:xfrm>
          <a:prstGeom prst="rect">
            <a:avLst/>
          </a:prstGeom>
          <a:noFill/>
        </p:spPr>
        <p:txBody>
          <a:bodyPr wrap="square" lIns="83969" tIns="41985" rIns="83969" bIns="41985" rtlCol="0">
            <a:spAutoFit/>
          </a:bodyPr>
          <a:lstStyle/>
          <a:p>
            <a:pPr algn="ctr"/>
            <a:r>
              <a:rPr lang="en-US" sz="1100">
                <a:solidFill>
                  <a:srgbClr val="494949"/>
                </a:solidFill>
              </a:rPr>
              <a:t>Telecom 1</a:t>
            </a:r>
          </a:p>
        </p:txBody>
      </p:sp>
      <p:sp>
        <p:nvSpPr>
          <p:cNvPr id="328" name="ZoneTexte 327"/>
          <p:cNvSpPr txBox="1"/>
          <p:nvPr/>
        </p:nvSpPr>
        <p:spPr>
          <a:xfrm>
            <a:off x="7354840" y="2237707"/>
            <a:ext cx="867793" cy="254067"/>
          </a:xfrm>
          <a:prstGeom prst="rect">
            <a:avLst/>
          </a:prstGeom>
          <a:noFill/>
        </p:spPr>
        <p:txBody>
          <a:bodyPr wrap="square" lIns="83969" tIns="41985" rIns="83969" bIns="41985" rtlCol="0">
            <a:spAutoFit/>
          </a:bodyPr>
          <a:lstStyle/>
          <a:p>
            <a:pPr algn="ctr"/>
            <a:r>
              <a:rPr lang="en-US" sz="1100">
                <a:solidFill>
                  <a:srgbClr val="494949"/>
                </a:solidFill>
              </a:rPr>
              <a:t>Telecom 2</a:t>
            </a:r>
          </a:p>
        </p:txBody>
      </p:sp>
      <p:sp>
        <p:nvSpPr>
          <p:cNvPr id="329" name="ZoneTexte 328"/>
          <p:cNvSpPr txBox="1"/>
          <p:nvPr/>
        </p:nvSpPr>
        <p:spPr>
          <a:xfrm>
            <a:off x="9346077" y="2237707"/>
            <a:ext cx="738723" cy="254067"/>
          </a:xfrm>
          <a:prstGeom prst="rect">
            <a:avLst/>
          </a:prstGeom>
          <a:noFill/>
        </p:spPr>
        <p:txBody>
          <a:bodyPr wrap="square" lIns="83969" tIns="41985" rIns="83969" bIns="41985" rtlCol="0">
            <a:spAutoFit/>
          </a:bodyPr>
          <a:lstStyle/>
          <a:p>
            <a:pPr algn="ctr"/>
            <a:r>
              <a:rPr lang="en-US" sz="1100">
                <a:solidFill>
                  <a:srgbClr val="494949"/>
                </a:solidFill>
              </a:rPr>
              <a:t>Home</a:t>
            </a:r>
          </a:p>
        </p:txBody>
      </p:sp>
      <p:sp>
        <p:nvSpPr>
          <p:cNvPr id="330" name="ZoneTexte 329"/>
          <p:cNvSpPr txBox="1"/>
          <p:nvPr/>
        </p:nvSpPr>
        <p:spPr>
          <a:xfrm>
            <a:off x="10153071" y="2237706"/>
            <a:ext cx="738723" cy="423344"/>
          </a:xfrm>
          <a:prstGeom prst="rect">
            <a:avLst/>
          </a:prstGeom>
          <a:noFill/>
        </p:spPr>
        <p:txBody>
          <a:bodyPr wrap="square" lIns="83969" tIns="41985" rIns="83969" bIns="41985" rtlCol="0">
            <a:spAutoFit/>
          </a:bodyPr>
          <a:lstStyle/>
          <a:p>
            <a:pPr algn="ctr"/>
            <a:r>
              <a:rPr lang="en-US" sz="1100">
                <a:solidFill>
                  <a:srgbClr val="494949"/>
                </a:solidFill>
              </a:rPr>
              <a:t>Public Security</a:t>
            </a:r>
          </a:p>
        </p:txBody>
      </p:sp>
      <p:sp>
        <p:nvSpPr>
          <p:cNvPr id="331" name="ZoneTexte 330"/>
          <p:cNvSpPr txBox="1"/>
          <p:nvPr/>
        </p:nvSpPr>
        <p:spPr>
          <a:xfrm>
            <a:off x="2379385" y="4753035"/>
            <a:ext cx="885033" cy="254067"/>
          </a:xfrm>
          <a:prstGeom prst="rect">
            <a:avLst/>
          </a:prstGeom>
          <a:noFill/>
        </p:spPr>
        <p:txBody>
          <a:bodyPr wrap="square" lIns="83969" tIns="41985" rIns="83969" bIns="41985" rtlCol="0">
            <a:spAutoFit/>
          </a:bodyPr>
          <a:lstStyle/>
          <a:p>
            <a:pPr algn="ctr"/>
            <a:r>
              <a:rPr lang="en-US" sz="1100">
                <a:solidFill>
                  <a:srgbClr val="494949"/>
                </a:solidFill>
              </a:rPr>
              <a:t>Chemical</a:t>
            </a:r>
          </a:p>
        </p:txBody>
      </p:sp>
      <p:sp>
        <p:nvSpPr>
          <p:cNvPr id="332" name="ZoneTexte 331"/>
          <p:cNvSpPr txBox="1"/>
          <p:nvPr/>
        </p:nvSpPr>
        <p:spPr>
          <a:xfrm>
            <a:off x="5436004" y="2237706"/>
            <a:ext cx="1151178" cy="423344"/>
          </a:xfrm>
          <a:prstGeom prst="rect">
            <a:avLst/>
          </a:prstGeom>
          <a:noFill/>
        </p:spPr>
        <p:txBody>
          <a:bodyPr wrap="square" lIns="83969" tIns="41985" rIns="83969" bIns="41985" rtlCol="0">
            <a:spAutoFit/>
          </a:bodyPr>
          <a:lstStyle/>
          <a:p>
            <a:pPr algn="ctr"/>
            <a:r>
              <a:rPr lang="en-US" sz="1100">
                <a:solidFill>
                  <a:srgbClr val="494949"/>
                </a:solidFill>
              </a:rPr>
              <a:t>Tax, Welfare, Banking</a:t>
            </a:r>
          </a:p>
        </p:txBody>
      </p:sp>
      <p:sp>
        <p:nvSpPr>
          <p:cNvPr id="333" name="ZoneTexte 332"/>
          <p:cNvSpPr txBox="1"/>
          <p:nvPr/>
        </p:nvSpPr>
        <p:spPr>
          <a:xfrm>
            <a:off x="2114626" y="2263624"/>
            <a:ext cx="881339" cy="254067"/>
          </a:xfrm>
          <a:prstGeom prst="rect">
            <a:avLst/>
          </a:prstGeom>
          <a:noFill/>
        </p:spPr>
        <p:txBody>
          <a:bodyPr wrap="square" lIns="83969" tIns="41985" rIns="83969" bIns="41985" rtlCol="0">
            <a:spAutoFit/>
          </a:bodyPr>
          <a:lstStyle/>
          <a:p>
            <a:pPr algn="ctr"/>
            <a:r>
              <a:rPr lang="en-US" sz="1100">
                <a:solidFill>
                  <a:srgbClr val="494949"/>
                </a:solidFill>
              </a:rPr>
              <a:t>Shopping</a:t>
            </a:r>
          </a:p>
        </p:txBody>
      </p:sp>
      <p:sp>
        <p:nvSpPr>
          <p:cNvPr id="334" name="ZoneTexte 333"/>
          <p:cNvSpPr txBox="1"/>
          <p:nvPr/>
        </p:nvSpPr>
        <p:spPr>
          <a:xfrm>
            <a:off x="1346970" y="3585406"/>
            <a:ext cx="738723" cy="254067"/>
          </a:xfrm>
          <a:prstGeom prst="rect">
            <a:avLst/>
          </a:prstGeom>
          <a:noFill/>
        </p:spPr>
        <p:txBody>
          <a:bodyPr wrap="square" lIns="83969" tIns="41985" rIns="83969" bIns="41985" rtlCol="0">
            <a:spAutoFit/>
          </a:bodyPr>
          <a:lstStyle/>
          <a:p>
            <a:pPr algn="ctr"/>
            <a:r>
              <a:rPr lang="en-US" sz="1100">
                <a:solidFill>
                  <a:srgbClr val="494949"/>
                </a:solidFill>
              </a:rPr>
              <a:t>Industry</a:t>
            </a:r>
          </a:p>
        </p:txBody>
      </p:sp>
      <p:sp>
        <p:nvSpPr>
          <p:cNvPr id="335" name="ZoneTexte 334"/>
          <p:cNvSpPr txBox="1"/>
          <p:nvPr/>
        </p:nvSpPr>
        <p:spPr>
          <a:xfrm>
            <a:off x="2149715" y="3585405"/>
            <a:ext cx="738723" cy="423344"/>
          </a:xfrm>
          <a:prstGeom prst="rect">
            <a:avLst/>
          </a:prstGeom>
          <a:noFill/>
        </p:spPr>
        <p:txBody>
          <a:bodyPr wrap="square" lIns="83969" tIns="41985" rIns="83969" bIns="41985" rtlCol="0">
            <a:spAutoFit/>
          </a:bodyPr>
          <a:lstStyle/>
          <a:p>
            <a:pPr algn="ctr"/>
            <a:r>
              <a:rPr lang="en-US" sz="1100">
                <a:solidFill>
                  <a:srgbClr val="494949"/>
                </a:solidFill>
              </a:rPr>
              <a:t>Solar energy 1</a:t>
            </a:r>
          </a:p>
        </p:txBody>
      </p:sp>
      <p:sp>
        <p:nvSpPr>
          <p:cNvPr id="336" name="ZoneTexte 335"/>
          <p:cNvSpPr txBox="1"/>
          <p:nvPr/>
        </p:nvSpPr>
        <p:spPr>
          <a:xfrm>
            <a:off x="3022225" y="3585405"/>
            <a:ext cx="738723" cy="423344"/>
          </a:xfrm>
          <a:prstGeom prst="rect">
            <a:avLst/>
          </a:prstGeom>
          <a:noFill/>
        </p:spPr>
        <p:txBody>
          <a:bodyPr wrap="square" lIns="83969" tIns="41985" rIns="83969" bIns="41985" rtlCol="0">
            <a:spAutoFit/>
          </a:bodyPr>
          <a:lstStyle/>
          <a:p>
            <a:pPr algn="ctr"/>
            <a:r>
              <a:rPr lang="en-US" sz="1100">
                <a:solidFill>
                  <a:srgbClr val="494949"/>
                </a:solidFill>
              </a:rPr>
              <a:t>Solar energy 2</a:t>
            </a:r>
          </a:p>
        </p:txBody>
      </p:sp>
      <p:sp>
        <p:nvSpPr>
          <p:cNvPr id="337" name="ZoneTexte 336"/>
          <p:cNvSpPr txBox="1"/>
          <p:nvPr/>
        </p:nvSpPr>
        <p:spPr>
          <a:xfrm>
            <a:off x="3837173" y="3585405"/>
            <a:ext cx="738723" cy="423344"/>
          </a:xfrm>
          <a:prstGeom prst="rect">
            <a:avLst/>
          </a:prstGeom>
          <a:noFill/>
        </p:spPr>
        <p:txBody>
          <a:bodyPr wrap="square" lIns="83969" tIns="41985" rIns="83969" bIns="41985" rtlCol="0">
            <a:spAutoFit/>
          </a:bodyPr>
          <a:lstStyle/>
          <a:p>
            <a:pPr algn="ctr"/>
            <a:r>
              <a:rPr lang="en-US" sz="1100">
                <a:solidFill>
                  <a:srgbClr val="494949"/>
                </a:solidFill>
              </a:rPr>
              <a:t>Nuclear energy</a:t>
            </a:r>
          </a:p>
        </p:txBody>
      </p:sp>
      <p:sp>
        <p:nvSpPr>
          <p:cNvPr id="338" name="ZoneTexte 337"/>
          <p:cNvSpPr txBox="1"/>
          <p:nvPr/>
        </p:nvSpPr>
        <p:spPr>
          <a:xfrm>
            <a:off x="4664490" y="3585405"/>
            <a:ext cx="738723" cy="423344"/>
          </a:xfrm>
          <a:prstGeom prst="rect">
            <a:avLst/>
          </a:prstGeom>
          <a:noFill/>
        </p:spPr>
        <p:txBody>
          <a:bodyPr wrap="square" lIns="83969" tIns="41985" rIns="83969" bIns="41985" rtlCol="0">
            <a:spAutoFit/>
          </a:bodyPr>
          <a:lstStyle/>
          <a:p>
            <a:pPr algn="ctr"/>
            <a:r>
              <a:rPr lang="en-US" sz="1100">
                <a:solidFill>
                  <a:srgbClr val="494949"/>
                </a:solidFill>
              </a:rPr>
              <a:t>Electric car</a:t>
            </a:r>
          </a:p>
        </p:txBody>
      </p:sp>
      <p:sp>
        <p:nvSpPr>
          <p:cNvPr id="339" name="ZoneTexte 338"/>
          <p:cNvSpPr txBox="1"/>
          <p:nvPr/>
        </p:nvSpPr>
        <p:spPr>
          <a:xfrm>
            <a:off x="6652323" y="3585406"/>
            <a:ext cx="738723" cy="254067"/>
          </a:xfrm>
          <a:prstGeom prst="rect">
            <a:avLst/>
          </a:prstGeom>
          <a:noFill/>
        </p:spPr>
        <p:txBody>
          <a:bodyPr wrap="square" lIns="83969" tIns="41985" rIns="83969" bIns="41985" rtlCol="0">
            <a:spAutoFit/>
          </a:bodyPr>
          <a:lstStyle/>
          <a:p>
            <a:pPr algn="ctr"/>
            <a:r>
              <a:rPr lang="en-US" sz="1100">
                <a:solidFill>
                  <a:srgbClr val="494949"/>
                </a:solidFill>
              </a:rPr>
              <a:t>Windmill</a:t>
            </a:r>
          </a:p>
        </p:txBody>
      </p:sp>
      <p:sp>
        <p:nvSpPr>
          <p:cNvPr id="340" name="ZoneTexte 339"/>
          <p:cNvSpPr txBox="1"/>
          <p:nvPr/>
        </p:nvSpPr>
        <p:spPr>
          <a:xfrm>
            <a:off x="7381241" y="3585406"/>
            <a:ext cx="738723" cy="254067"/>
          </a:xfrm>
          <a:prstGeom prst="rect">
            <a:avLst/>
          </a:prstGeom>
          <a:noFill/>
        </p:spPr>
        <p:txBody>
          <a:bodyPr wrap="square" lIns="83969" tIns="41985" rIns="83969" bIns="41985" rtlCol="0">
            <a:spAutoFit/>
          </a:bodyPr>
          <a:lstStyle/>
          <a:p>
            <a:pPr algn="ctr"/>
            <a:r>
              <a:rPr lang="en-US" sz="1100">
                <a:solidFill>
                  <a:srgbClr val="494949"/>
                </a:solidFill>
              </a:rPr>
              <a:t>Windmill</a:t>
            </a:r>
          </a:p>
        </p:txBody>
      </p:sp>
      <p:sp>
        <p:nvSpPr>
          <p:cNvPr id="341" name="ZoneTexte 340"/>
          <p:cNvSpPr txBox="1"/>
          <p:nvPr/>
        </p:nvSpPr>
        <p:spPr>
          <a:xfrm>
            <a:off x="8003669" y="3585406"/>
            <a:ext cx="738723" cy="254067"/>
          </a:xfrm>
          <a:prstGeom prst="rect">
            <a:avLst/>
          </a:prstGeom>
          <a:noFill/>
        </p:spPr>
        <p:txBody>
          <a:bodyPr wrap="square" lIns="83969" tIns="41985" rIns="83969" bIns="41985" rtlCol="0">
            <a:spAutoFit/>
          </a:bodyPr>
          <a:lstStyle/>
          <a:p>
            <a:pPr algn="ctr"/>
            <a:r>
              <a:rPr lang="en-US" sz="1100">
                <a:solidFill>
                  <a:srgbClr val="494949"/>
                </a:solidFill>
              </a:rPr>
              <a:t>Oil</a:t>
            </a:r>
          </a:p>
        </p:txBody>
      </p:sp>
      <p:sp>
        <p:nvSpPr>
          <p:cNvPr id="343" name="ZoneTexte 342"/>
          <p:cNvSpPr txBox="1"/>
          <p:nvPr/>
        </p:nvSpPr>
        <p:spPr>
          <a:xfrm>
            <a:off x="10149262" y="3585405"/>
            <a:ext cx="738723" cy="423344"/>
          </a:xfrm>
          <a:prstGeom prst="rect">
            <a:avLst/>
          </a:prstGeom>
          <a:noFill/>
        </p:spPr>
        <p:txBody>
          <a:bodyPr wrap="square" lIns="83969" tIns="41985" rIns="83969" bIns="41985" rtlCol="0">
            <a:spAutoFit/>
          </a:bodyPr>
          <a:lstStyle/>
          <a:p>
            <a:pPr algn="ctr"/>
            <a:r>
              <a:rPr lang="en-US" sz="1100">
                <a:solidFill>
                  <a:srgbClr val="494949"/>
                </a:solidFill>
              </a:rPr>
              <a:t>Water drop</a:t>
            </a:r>
          </a:p>
        </p:txBody>
      </p:sp>
      <p:sp>
        <p:nvSpPr>
          <p:cNvPr id="344" name="ZoneTexte 343"/>
          <p:cNvSpPr txBox="1"/>
          <p:nvPr/>
        </p:nvSpPr>
        <p:spPr>
          <a:xfrm>
            <a:off x="5420450" y="3585405"/>
            <a:ext cx="738723" cy="423344"/>
          </a:xfrm>
          <a:prstGeom prst="rect">
            <a:avLst/>
          </a:prstGeom>
          <a:noFill/>
        </p:spPr>
        <p:txBody>
          <a:bodyPr wrap="square" lIns="83969" tIns="41985" rIns="83969" bIns="41985" rtlCol="0">
            <a:spAutoFit/>
          </a:bodyPr>
          <a:lstStyle/>
          <a:p>
            <a:pPr algn="ctr"/>
            <a:r>
              <a:rPr lang="en-US" sz="1100">
                <a:solidFill>
                  <a:srgbClr val="494949"/>
                </a:solidFill>
              </a:rPr>
              <a:t>Electric energy</a:t>
            </a:r>
          </a:p>
        </p:txBody>
      </p:sp>
      <p:sp>
        <p:nvSpPr>
          <p:cNvPr id="346" name="ZoneTexte 345"/>
          <p:cNvSpPr txBox="1"/>
          <p:nvPr/>
        </p:nvSpPr>
        <p:spPr>
          <a:xfrm>
            <a:off x="8611900" y="3585406"/>
            <a:ext cx="738723" cy="254067"/>
          </a:xfrm>
          <a:prstGeom prst="rect">
            <a:avLst/>
          </a:prstGeom>
          <a:noFill/>
        </p:spPr>
        <p:txBody>
          <a:bodyPr wrap="square" lIns="83969" tIns="41985" rIns="83969" bIns="41985" rtlCol="0">
            <a:spAutoFit/>
          </a:bodyPr>
          <a:lstStyle/>
          <a:p>
            <a:pPr algn="ctr"/>
            <a:r>
              <a:rPr lang="en-US" sz="1100">
                <a:solidFill>
                  <a:srgbClr val="494949"/>
                </a:solidFill>
              </a:rPr>
              <a:t>Fire</a:t>
            </a:r>
          </a:p>
        </p:txBody>
      </p:sp>
      <p:sp>
        <p:nvSpPr>
          <p:cNvPr id="347" name="ZoneTexte 346"/>
          <p:cNvSpPr txBox="1"/>
          <p:nvPr/>
        </p:nvSpPr>
        <p:spPr>
          <a:xfrm>
            <a:off x="3241833" y="4743044"/>
            <a:ext cx="738723" cy="254067"/>
          </a:xfrm>
          <a:prstGeom prst="rect">
            <a:avLst/>
          </a:prstGeom>
          <a:noFill/>
        </p:spPr>
        <p:txBody>
          <a:bodyPr wrap="square" lIns="83969" tIns="41985" rIns="83969" bIns="41985" rtlCol="0">
            <a:spAutoFit/>
          </a:bodyPr>
          <a:lstStyle/>
          <a:p>
            <a:pPr algn="ctr"/>
            <a:r>
              <a:rPr lang="en-US" sz="1100">
                <a:solidFill>
                  <a:srgbClr val="494949"/>
                </a:solidFill>
              </a:rPr>
              <a:t>Bicycle</a:t>
            </a:r>
          </a:p>
        </p:txBody>
      </p:sp>
      <p:sp>
        <p:nvSpPr>
          <p:cNvPr id="348" name="ZoneTexte 347"/>
          <p:cNvSpPr txBox="1"/>
          <p:nvPr/>
        </p:nvSpPr>
        <p:spPr>
          <a:xfrm>
            <a:off x="4105523" y="4743044"/>
            <a:ext cx="1005072" cy="254067"/>
          </a:xfrm>
          <a:prstGeom prst="rect">
            <a:avLst/>
          </a:prstGeom>
          <a:noFill/>
        </p:spPr>
        <p:txBody>
          <a:bodyPr wrap="square" lIns="83969" tIns="41985" rIns="83969" bIns="41985" rtlCol="0">
            <a:spAutoFit/>
          </a:bodyPr>
          <a:lstStyle/>
          <a:p>
            <a:pPr algn="ctr"/>
            <a:r>
              <a:rPr lang="en-US" sz="1100">
                <a:solidFill>
                  <a:srgbClr val="494949"/>
                </a:solidFill>
              </a:rPr>
              <a:t>Scooter/Bike</a:t>
            </a:r>
          </a:p>
        </p:txBody>
      </p:sp>
      <p:sp>
        <p:nvSpPr>
          <p:cNvPr id="349" name="ZoneTexte 348"/>
          <p:cNvSpPr txBox="1"/>
          <p:nvPr/>
        </p:nvSpPr>
        <p:spPr>
          <a:xfrm>
            <a:off x="5252386" y="4743044"/>
            <a:ext cx="738723" cy="254067"/>
          </a:xfrm>
          <a:prstGeom prst="rect">
            <a:avLst/>
          </a:prstGeom>
          <a:noFill/>
        </p:spPr>
        <p:txBody>
          <a:bodyPr wrap="square" lIns="83969" tIns="41985" rIns="83969" bIns="41985" rtlCol="0">
            <a:spAutoFit/>
          </a:bodyPr>
          <a:lstStyle/>
          <a:p>
            <a:pPr algn="ctr"/>
            <a:r>
              <a:rPr lang="en-US" sz="1100">
                <a:solidFill>
                  <a:srgbClr val="494949"/>
                </a:solidFill>
              </a:rPr>
              <a:t>Car 1</a:t>
            </a:r>
          </a:p>
        </p:txBody>
      </p:sp>
      <p:sp>
        <p:nvSpPr>
          <p:cNvPr id="351" name="ZoneTexte 350"/>
          <p:cNvSpPr txBox="1"/>
          <p:nvPr/>
        </p:nvSpPr>
        <p:spPr>
          <a:xfrm>
            <a:off x="6216423" y="4743044"/>
            <a:ext cx="738723" cy="254067"/>
          </a:xfrm>
          <a:prstGeom prst="rect">
            <a:avLst/>
          </a:prstGeom>
          <a:noFill/>
        </p:spPr>
        <p:txBody>
          <a:bodyPr wrap="square" lIns="83969" tIns="41985" rIns="83969" bIns="41985" rtlCol="0">
            <a:spAutoFit/>
          </a:bodyPr>
          <a:lstStyle/>
          <a:p>
            <a:pPr algn="ctr"/>
            <a:r>
              <a:rPr lang="en-US" sz="1100">
                <a:solidFill>
                  <a:srgbClr val="494949"/>
                </a:solidFill>
              </a:rPr>
              <a:t>Car 2</a:t>
            </a:r>
          </a:p>
        </p:txBody>
      </p:sp>
      <p:sp>
        <p:nvSpPr>
          <p:cNvPr id="352" name="ZoneTexte 351"/>
          <p:cNvSpPr txBox="1"/>
          <p:nvPr/>
        </p:nvSpPr>
        <p:spPr>
          <a:xfrm>
            <a:off x="7953242" y="4743044"/>
            <a:ext cx="738723" cy="254067"/>
          </a:xfrm>
          <a:prstGeom prst="rect">
            <a:avLst/>
          </a:prstGeom>
          <a:noFill/>
        </p:spPr>
        <p:txBody>
          <a:bodyPr wrap="square" lIns="83969" tIns="41985" rIns="83969" bIns="41985" rtlCol="0">
            <a:spAutoFit/>
          </a:bodyPr>
          <a:lstStyle/>
          <a:p>
            <a:pPr algn="ctr"/>
            <a:r>
              <a:rPr lang="en-US" sz="1100">
                <a:solidFill>
                  <a:srgbClr val="494949"/>
                </a:solidFill>
              </a:rPr>
              <a:t>Van</a:t>
            </a:r>
          </a:p>
        </p:txBody>
      </p:sp>
      <p:sp>
        <p:nvSpPr>
          <p:cNvPr id="353" name="ZoneTexte 352"/>
          <p:cNvSpPr txBox="1"/>
          <p:nvPr/>
        </p:nvSpPr>
        <p:spPr>
          <a:xfrm>
            <a:off x="8946414" y="4743044"/>
            <a:ext cx="738723" cy="254067"/>
          </a:xfrm>
          <a:prstGeom prst="rect">
            <a:avLst/>
          </a:prstGeom>
          <a:noFill/>
        </p:spPr>
        <p:txBody>
          <a:bodyPr wrap="square" lIns="83969" tIns="41985" rIns="83969" bIns="41985" rtlCol="0">
            <a:spAutoFit/>
          </a:bodyPr>
          <a:lstStyle/>
          <a:p>
            <a:pPr algn="ctr"/>
            <a:r>
              <a:rPr lang="en-US" sz="1100">
                <a:solidFill>
                  <a:srgbClr val="494949"/>
                </a:solidFill>
              </a:rPr>
              <a:t>Plane 1</a:t>
            </a:r>
          </a:p>
        </p:txBody>
      </p:sp>
      <p:sp>
        <p:nvSpPr>
          <p:cNvPr id="354" name="ZoneTexte 353"/>
          <p:cNvSpPr txBox="1"/>
          <p:nvPr/>
        </p:nvSpPr>
        <p:spPr>
          <a:xfrm>
            <a:off x="10102105" y="4743044"/>
            <a:ext cx="738723" cy="254067"/>
          </a:xfrm>
          <a:prstGeom prst="rect">
            <a:avLst/>
          </a:prstGeom>
          <a:noFill/>
        </p:spPr>
        <p:txBody>
          <a:bodyPr wrap="square" lIns="83969" tIns="41985" rIns="83969" bIns="41985" rtlCol="0">
            <a:spAutoFit/>
          </a:bodyPr>
          <a:lstStyle/>
          <a:p>
            <a:pPr algn="ctr"/>
            <a:r>
              <a:rPr lang="en-US" sz="1100">
                <a:solidFill>
                  <a:srgbClr val="494949"/>
                </a:solidFill>
              </a:rPr>
              <a:t>Plane 2</a:t>
            </a:r>
          </a:p>
        </p:txBody>
      </p:sp>
      <p:sp>
        <p:nvSpPr>
          <p:cNvPr id="357" name="ZoneTexte 356"/>
          <p:cNvSpPr txBox="1"/>
          <p:nvPr/>
        </p:nvSpPr>
        <p:spPr>
          <a:xfrm>
            <a:off x="7078267" y="4743044"/>
            <a:ext cx="738723" cy="254067"/>
          </a:xfrm>
          <a:prstGeom prst="rect">
            <a:avLst/>
          </a:prstGeom>
          <a:noFill/>
        </p:spPr>
        <p:txBody>
          <a:bodyPr wrap="square" lIns="83969" tIns="41985" rIns="83969" bIns="41985" rtlCol="0">
            <a:spAutoFit/>
          </a:bodyPr>
          <a:lstStyle/>
          <a:p>
            <a:pPr algn="ctr"/>
            <a:r>
              <a:rPr lang="en-US" sz="1100">
                <a:solidFill>
                  <a:srgbClr val="494949"/>
                </a:solidFill>
              </a:rPr>
              <a:t>4x4</a:t>
            </a:r>
          </a:p>
        </p:txBody>
      </p:sp>
      <p:sp>
        <p:nvSpPr>
          <p:cNvPr id="358" name="ZoneTexte 357"/>
          <p:cNvSpPr txBox="1"/>
          <p:nvPr/>
        </p:nvSpPr>
        <p:spPr>
          <a:xfrm>
            <a:off x="1316412" y="5745179"/>
            <a:ext cx="738723" cy="254067"/>
          </a:xfrm>
          <a:prstGeom prst="rect">
            <a:avLst/>
          </a:prstGeom>
          <a:noFill/>
        </p:spPr>
        <p:txBody>
          <a:bodyPr wrap="square" lIns="83969" tIns="41985" rIns="83969" bIns="41985" rtlCol="0">
            <a:spAutoFit/>
          </a:bodyPr>
          <a:lstStyle/>
          <a:p>
            <a:pPr algn="ctr"/>
            <a:r>
              <a:rPr lang="en-US" sz="1100">
                <a:solidFill>
                  <a:srgbClr val="494949"/>
                </a:solidFill>
              </a:rPr>
              <a:t>Testing</a:t>
            </a:r>
          </a:p>
        </p:txBody>
      </p:sp>
      <p:sp>
        <p:nvSpPr>
          <p:cNvPr id="359" name="ZoneTexte 358"/>
          <p:cNvSpPr txBox="1"/>
          <p:nvPr/>
        </p:nvSpPr>
        <p:spPr>
          <a:xfrm>
            <a:off x="2294808" y="5745178"/>
            <a:ext cx="1005072" cy="423344"/>
          </a:xfrm>
          <a:prstGeom prst="rect">
            <a:avLst/>
          </a:prstGeom>
          <a:noFill/>
        </p:spPr>
        <p:txBody>
          <a:bodyPr wrap="square" lIns="83969" tIns="41985" rIns="83969" bIns="41985" rtlCol="0">
            <a:spAutoFit/>
          </a:bodyPr>
          <a:lstStyle/>
          <a:p>
            <a:pPr algn="ctr"/>
            <a:r>
              <a:rPr lang="en-US" sz="1100">
                <a:solidFill>
                  <a:srgbClr val="494949"/>
                </a:solidFill>
              </a:rPr>
              <a:t>Smart Energy</a:t>
            </a:r>
          </a:p>
        </p:txBody>
      </p:sp>
      <p:sp>
        <p:nvSpPr>
          <p:cNvPr id="360" name="ZoneTexte 359"/>
          <p:cNvSpPr txBox="1"/>
          <p:nvPr/>
        </p:nvSpPr>
        <p:spPr>
          <a:xfrm>
            <a:off x="3412527" y="5745178"/>
            <a:ext cx="938188" cy="423344"/>
          </a:xfrm>
          <a:prstGeom prst="rect">
            <a:avLst/>
          </a:prstGeom>
          <a:noFill/>
        </p:spPr>
        <p:txBody>
          <a:bodyPr wrap="square" lIns="83969" tIns="41985" rIns="83969" bIns="41985" rtlCol="0">
            <a:spAutoFit/>
          </a:bodyPr>
          <a:lstStyle/>
          <a:p>
            <a:pPr algn="ctr"/>
            <a:r>
              <a:rPr lang="en-US" sz="1100">
                <a:solidFill>
                  <a:srgbClr val="494949"/>
                </a:solidFill>
              </a:rPr>
              <a:t>Mobile Solutions</a:t>
            </a:r>
          </a:p>
        </p:txBody>
      </p:sp>
      <p:sp>
        <p:nvSpPr>
          <p:cNvPr id="361" name="ZoneTexte 360"/>
          <p:cNvSpPr txBox="1"/>
          <p:nvPr/>
        </p:nvSpPr>
        <p:spPr>
          <a:xfrm>
            <a:off x="4405296" y="5745178"/>
            <a:ext cx="1127786" cy="423344"/>
          </a:xfrm>
          <a:prstGeom prst="rect">
            <a:avLst/>
          </a:prstGeom>
          <a:noFill/>
        </p:spPr>
        <p:txBody>
          <a:bodyPr wrap="square" lIns="83969" tIns="41985" rIns="83969" bIns="41985" rtlCol="0">
            <a:spAutoFit/>
          </a:bodyPr>
          <a:lstStyle/>
          <a:p>
            <a:pPr algn="ctr"/>
            <a:r>
              <a:rPr lang="en-US" sz="1100">
                <a:solidFill>
                  <a:srgbClr val="494949"/>
                </a:solidFill>
              </a:rPr>
              <a:t>Business Information</a:t>
            </a:r>
          </a:p>
        </p:txBody>
      </p:sp>
      <p:sp>
        <p:nvSpPr>
          <p:cNvPr id="362" name="ZoneTexte 361"/>
          <p:cNvSpPr txBox="1"/>
          <p:nvPr/>
        </p:nvSpPr>
        <p:spPr>
          <a:xfrm>
            <a:off x="6786653" y="5745178"/>
            <a:ext cx="738723" cy="423344"/>
          </a:xfrm>
          <a:prstGeom prst="rect">
            <a:avLst/>
          </a:prstGeom>
          <a:noFill/>
        </p:spPr>
        <p:txBody>
          <a:bodyPr wrap="square" lIns="83969" tIns="41985" rIns="83969" bIns="41985" rtlCol="0">
            <a:spAutoFit/>
          </a:bodyPr>
          <a:lstStyle/>
          <a:p>
            <a:pPr algn="ctr"/>
            <a:r>
              <a:rPr lang="en-US" sz="1100">
                <a:solidFill>
                  <a:srgbClr val="494949"/>
                </a:solidFill>
              </a:rPr>
              <a:t>Remote working</a:t>
            </a:r>
          </a:p>
        </p:txBody>
      </p:sp>
      <p:sp>
        <p:nvSpPr>
          <p:cNvPr id="365" name="ZoneTexte 364"/>
          <p:cNvSpPr txBox="1"/>
          <p:nvPr/>
        </p:nvSpPr>
        <p:spPr>
          <a:xfrm>
            <a:off x="7740137" y="5745178"/>
            <a:ext cx="1051446" cy="423344"/>
          </a:xfrm>
          <a:prstGeom prst="rect">
            <a:avLst/>
          </a:prstGeom>
          <a:noFill/>
        </p:spPr>
        <p:txBody>
          <a:bodyPr wrap="square" lIns="83969" tIns="41985" rIns="83969" bIns="41985" rtlCol="0">
            <a:spAutoFit/>
          </a:bodyPr>
          <a:lstStyle/>
          <a:p>
            <a:pPr algn="ctr"/>
            <a:r>
              <a:rPr lang="en-US" sz="1100">
                <a:solidFill>
                  <a:srgbClr val="494949"/>
                </a:solidFill>
              </a:rPr>
              <a:t>Cloud computing</a:t>
            </a:r>
          </a:p>
        </p:txBody>
      </p:sp>
      <p:sp>
        <p:nvSpPr>
          <p:cNvPr id="366" name="ZoneTexte 365"/>
          <p:cNvSpPr txBox="1"/>
          <p:nvPr/>
        </p:nvSpPr>
        <p:spPr>
          <a:xfrm>
            <a:off x="8893364" y="5745179"/>
            <a:ext cx="738723" cy="254067"/>
          </a:xfrm>
          <a:prstGeom prst="rect">
            <a:avLst/>
          </a:prstGeom>
          <a:noFill/>
        </p:spPr>
        <p:txBody>
          <a:bodyPr wrap="square" lIns="83969" tIns="41985" rIns="83969" bIns="41985" rtlCol="0">
            <a:spAutoFit/>
          </a:bodyPr>
          <a:lstStyle/>
          <a:p>
            <a:pPr algn="ctr"/>
            <a:r>
              <a:rPr lang="en-US" sz="1100">
                <a:solidFill>
                  <a:srgbClr val="494949"/>
                </a:solidFill>
              </a:rPr>
              <a:t>Cloud</a:t>
            </a:r>
          </a:p>
        </p:txBody>
      </p:sp>
      <p:sp>
        <p:nvSpPr>
          <p:cNvPr id="367" name="ZoneTexte 366"/>
          <p:cNvSpPr txBox="1"/>
          <p:nvPr/>
        </p:nvSpPr>
        <p:spPr>
          <a:xfrm>
            <a:off x="5594847" y="5745178"/>
            <a:ext cx="931200" cy="423344"/>
          </a:xfrm>
          <a:prstGeom prst="rect">
            <a:avLst/>
          </a:prstGeom>
          <a:noFill/>
        </p:spPr>
        <p:txBody>
          <a:bodyPr wrap="square" lIns="83969" tIns="41985" rIns="83969" bIns="41985" rtlCol="0">
            <a:spAutoFit/>
          </a:bodyPr>
          <a:lstStyle/>
          <a:p>
            <a:pPr algn="ctr"/>
            <a:r>
              <a:rPr lang="en-US" sz="1100">
                <a:solidFill>
                  <a:srgbClr val="494949"/>
                </a:solidFill>
              </a:rPr>
              <a:t>Business Process</a:t>
            </a:r>
          </a:p>
        </p:txBody>
      </p:sp>
      <p:sp>
        <p:nvSpPr>
          <p:cNvPr id="373" name="ZoneTexte 372"/>
          <p:cNvSpPr txBox="1"/>
          <p:nvPr/>
        </p:nvSpPr>
        <p:spPr>
          <a:xfrm>
            <a:off x="6039287" y="3619053"/>
            <a:ext cx="738723" cy="254067"/>
          </a:xfrm>
          <a:prstGeom prst="rect">
            <a:avLst/>
          </a:prstGeom>
          <a:noFill/>
        </p:spPr>
        <p:txBody>
          <a:bodyPr wrap="square" lIns="83969" tIns="41985" rIns="83969" bIns="41985" rtlCol="0">
            <a:spAutoFit/>
          </a:bodyPr>
          <a:lstStyle/>
          <a:p>
            <a:pPr algn="ctr"/>
            <a:r>
              <a:rPr lang="en-US" sz="1100">
                <a:solidFill>
                  <a:srgbClr val="494949"/>
                </a:solidFill>
              </a:rPr>
              <a:t>Pylon</a:t>
            </a:r>
          </a:p>
        </p:txBody>
      </p:sp>
      <p:sp>
        <p:nvSpPr>
          <p:cNvPr id="308" name="Freeform 740"/>
          <p:cNvSpPr>
            <a:spLocks noChangeAspect="1" noEditPoints="1"/>
          </p:cNvSpPr>
          <p:nvPr/>
        </p:nvSpPr>
        <p:spPr bwMode="auto">
          <a:xfrm>
            <a:off x="1482727" y="1651000"/>
            <a:ext cx="528905" cy="540000"/>
          </a:xfrm>
          <a:custGeom>
            <a:avLst/>
            <a:gdLst/>
            <a:ahLst/>
            <a:cxnLst>
              <a:cxn ang="0">
                <a:pos x="91" y="163"/>
              </a:cxn>
              <a:cxn ang="0">
                <a:pos x="94" y="170"/>
              </a:cxn>
              <a:cxn ang="0">
                <a:pos x="102" y="173"/>
              </a:cxn>
              <a:cxn ang="0">
                <a:pos x="109" y="170"/>
              </a:cxn>
              <a:cxn ang="0">
                <a:pos x="113" y="163"/>
              </a:cxn>
              <a:cxn ang="0">
                <a:pos x="109" y="155"/>
              </a:cxn>
              <a:cxn ang="0">
                <a:pos x="102" y="152"/>
              </a:cxn>
              <a:cxn ang="0">
                <a:pos x="21" y="163"/>
              </a:cxn>
              <a:cxn ang="0">
                <a:pos x="18" y="170"/>
              </a:cxn>
              <a:cxn ang="0">
                <a:pos x="11" y="173"/>
              </a:cxn>
              <a:cxn ang="0">
                <a:pos x="3" y="170"/>
              </a:cxn>
              <a:cxn ang="0">
                <a:pos x="0" y="163"/>
              </a:cxn>
              <a:cxn ang="0">
                <a:pos x="3" y="155"/>
              </a:cxn>
              <a:cxn ang="0">
                <a:pos x="11" y="152"/>
              </a:cxn>
              <a:cxn ang="0">
                <a:pos x="128" y="31"/>
              </a:cxn>
              <a:cxn ang="0">
                <a:pos x="135" y="4"/>
              </a:cxn>
              <a:cxn ang="0">
                <a:pos x="170" y="0"/>
              </a:cxn>
              <a:cxn ang="0">
                <a:pos x="88" y="115"/>
              </a:cxn>
              <a:cxn ang="0">
                <a:pos x="0" y="115"/>
              </a:cxn>
              <a:cxn ang="0">
                <a:pos x="0" y="56"/>
              </a:cxn>
              <a:cxn ang="0">
                <a:pos x="128" y="31"/>
              </a:cxn>
              <a:cxn ang="0">
                <a:pos x="102" y="152"/>
              </a:cxn>
              <a:cxn ang="0">
                <a:pos x="11" y="152"/>
              </a:cxn>
            </a:cxnLst>
            <a:rect l="0" t="0" r="r" b="b"/>
            <a:pathLst>
              <a:path w="170" h="173">
                <a:moveTo>
                  <a:pt x="91" y="163"/>
                </a:moveTo>
                <a:cubicBezTo>
                  <a:pt x="91" y="166"/>
                  <a:pt x="92" y="168"/>
                  <a:pt x="94" y="170"/>
                </a:cubicBezTo>
                <a:cubicBezTo>
                  <a:pt x="96" y="172"/>
                  <a:pt x="99" y="173"/>
                  <a:pt x="102" y="173"/>
                </a:cubicBezTo>
                <a:cubicBezTo>
                  <a:pt x="105" y="173"/>
                  <a:pt x="107" y="172"/>
                  <a:pt x="109" y="170"/>
                </a:cubicBezTo>
                <a:cubicBezTo>
                  <a:pt x="111" y="168"/>
                  <a:pt x="113" y="166"/>
                  <a:pt x="113" y="163"/>
                </a:cubicBezTo>
                <a:cubicBezTo>
                  <a:pt x="113" y="160"/>
                  <a:pt x="111" y="157"/>
                  <a:pt x="109" y="155"/>
                </a:cubicBezTo>
                <a:cubicBezTo>
                  <a:pt x="107" y="153"/>
                  <a:pt x="105" y="152"/>
                  <a:pt x="102" y="152"/>
                </a:cubicBezTo>
                <a:moveTo>
                  <a:pt x="21" y="163"/>
                </a:moveTo>
                <a:cubicBezTo>
                  <a:pt x="21" y="166"/>
                  <a:pt x="20" y="168"/>
                  <a:pt x="18" y="170"/>
                </a:cubicBezTo>
                <a:cubicBezTo>
                  <a:pt x="16" y="172"/>
                  <a:pt x="14" y="173"/>
                  <a:pt x="11" y="173"/>
                </a:cubicBezTo>
                <a:cubicBezTo>
                  <a:pt x="8" y="173"/>
                  <a:pt x="5" y="172"/>
                  <a:pt x="3" y="170"/>
                </a:cubicBezTo>
                <a:cubicBezTo>
                  <a:pt x="1" y="168"/>
                  <a:pt x="0" y="166"/>
                  <a:pt x="0" y="163"/>
                </a:cubicBezTo>
                <a:cubicBezTo>
                  <a:pt x="0" y="160"/>
                  <a:pt x="1" y="157"/>
                  <a:pt x="3" y="155"/>
                </a:cubicBezTo>
                <a:cubicBezTo>
                  <a:pt x="5" y="153"/>
                  <a:pt x="8" y="152"/>
                  <a:pt x="11" y="152"/>
                </a:cubicBezTo>
                <a:moveTo>
                  <a:pt x="128" y="31"/>
                </a:moveTo>
                <a:cubicBezTo>
                  <a:pt x="135" y="4"/>
                  <a:pt x="135" y="4"/>
                  <a:pt x="135" y="4"/>
                </a:cubicBezTo>
                <a:cubicBezTo>
                  <a:pt x="170" y="0"/>
                  <a:pt x="170" y="0"/>
                  <a:pt x="170" y="0"/>
                </a:cubicBezTo>
                <a:moveTo>
                  <a:pt x="88" y="115"/>
                </a:moveTo>
                <a:cubicBezTo>
                  <a:pt x="0" y="115"/>
                  <a:pt x="0" y="115"/>
                  <a:pt x="0" y="115"/>
                </a:cubicBezTo>
                <a:cubicBezTo>
                  <a:pt x="0" y="56"/>
                  <a:pt x="0" y="56"/>
                  <a:pt x="0" y="56"/>
                </a:cubicBezTo>
                <a:cubicBezTo>
                  <a:pt x="128" y="31"/>
                  <a:pt x="128" y="31"/>
                  <a:pt x="128" y="31"/>
                </a:cubicBezTo>
                <a:cubicBezTo>
                  <a:pt x="102" y="152"/>
                  <a:pt x="102" y="152"/>
                  <a:pt x="102" y="152"/>
                </a:cubicBezTo>
                <a:cubicBezTo>
                  <a:pt x="11" y="152"/>
                  <a:pt x="11" y="152"/>
                  <a:pt x="11" y="15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741"/>
          <p:cNvSpPr>
            <a:spLocks noChangeAspect="1" noEditPoints="1"/>
          </p:cNvSpPr>
          <p:nvPr/>
        </p:nvSpPr>
        <p:spPr bwMode="auto">
          <a:xfrm>
            <a:off x="2389187" y="1625600"/>
            <a:ext cx="465182" cy="540000"/>
          </a:xfrm>
          <a:custGeom>
            <a:avLst/>
            <a:gdLst/>
            <a:ahLst/>
            <a:cxnLst>
              <a:cxn ang="0">
                <a:pos x="20" y="65"/>
              </a:cxn>
              <a:cxn ang="0">
                <a:pos x="9" y="12"/>
              </a:cxn>
              <a:cxn ang="0">
                <a:pos x="76" y="0"/>
              </a:cxn>
              <a:cxn ang="0">
                <a:pos x="86" y="53"/>
              </a:cxn>
              <a:cxn ang="0">
                <a:pos x="92" y="186"/>
              </a:cxn>
              <a:cxn ang="0">
                <a:pos x="95" y="194"/>
              </a:cxn>
              <a:cxn ang="0">
                <a:pos x="102" y="197"/>
              </a:cxn>
              <a:cxn ang="0">
                <a:pos x="110" y="194"/>
              </a:cxn>
              <a:cxn ang="0">
                <a:pos x="113" y="186"/>
              </a:cxn>
              <a:cxn ang="0">
                <a:pos x="110" y="179"/>
              </a:cxn>
              <a:cxn ang="0">
                <a:pos x="102" y="175"/>
              </a:cxn>
              <a:cxn ang="0">
                <a:pos x="22" y="186"/>
              </a:cxn>
              <a:cxn ang="0">
                <a:pos x="19" y="194"/>
              </a:cxn>
              <a:cxn ang="0">
                <a:pos x="11" y="197"/>
              </a:cxn>
              <a:cxn ang="0">
                <a:pos x="4" y="194"/>
              </a:cxn>
              <a:cxn ang="0">
                <a:pos x="0" y="186"/>
              </a:cxn>
              <a:cxn ang="0">
                <a:pos x="4" y="179"/>
              </a:cxn>
              <a:cxn ang="0">
                <a:pos x="11" y="175"/>
              </a:cxn>
              <a:cxn ang="0">
                <a:pos x="128" y="55"/>
              </a:cxn>
              <a:cxn ang="0">
                <a:pos x="135" y="28"/>
              </a:cxn>
              <a:cxn ang="0">
                <a:pos x="170" y="24"/>
              </a:cxn>
              <a:cxn ang="0">
                <a:pos x="88" y="138"/>
              </a:cxn>
              <a:cxn ang="0">
                <a:pos x="0" y="138"/>
              </a:cxn>
              <a:cxn ang="0">
                <a:pos x="0" y="80"/>
              </a:cxn>
              <a:cxn ang="0">
                <a:pos x="128" y="55"/>
              </a:cxn>
              <a:cxn ang="0">
                <a:pos x="102" y="175"/>
              </a:cxn>
              <a:cxn ang="0">
                <a:pos x="11" y="175"/>
              </a:cxn>
            </a:cxnLst>
            <a:rect l="0" t="0" r="r" b="b"/>
            <a:pathLst>
              <a:path w="170" h="197">
                <a:moveTo>
                  <a:pt x="20" y="65"/>
                </a:moveTo>
                <a:cubicBezTo>
                  <a:pt x="9" y="12"/>
                  <a:pt x="9" y="12"/>
                  <a:pt x="9" y="12"/>
                </a:cubicBezTo>
                <a:cubicBezTo>
                  <a:pt x="76" y="0"/>
                  <a:pt x="76" y="0"/>
                  <a:pt x="76" y="0"/>
                </a:cubicBezTo>
                <a:cubicBezTo>
                  <a:pt x="86" y="53"/>
                  <a:pt x="86" y="53"/>
                  <a:pt x="86" y="53"/>
                </a:cubicBezTo>
                <a:moveTo>
                  <a:pt x="92" y="186"/>
                </a:moveTo>
                <a:cubicBezTo>
                  <a:pt x="92" y="189"/>
                  <a:pt x="93" y="192"/>
                  <a:pt x="95" y="194"/>
                </a:cubicBezTo>
                <a:cubicBezTo>
                  <a:pt x="97" y="196"/>
                  <a:pt x="99" y="197"/>
                  <a:pt x="102" y="197"/>
                </a:cubicBezTo>
                <a:cubicBezTo>
                  <a:pt x="105" y="197"/>
                  <a:pt x="108" y="196"/>
                  <a:pt x="110" y="194"/>
                </a:cubicBezTo>
                <a:cubicBezTo>
                  <a:pt x="112" y="192"/>
                  <a:pt x="113" y="189"/>
                  <a:pt x="113" y="186"/>
                </a:cubicBezTo>
                <a:cubicBezTo>
                  <a:pt x="113" y="183"/>
                  <a:pt x="112" y="181"/>
                  <a:pt x="110" y="179"/>
                </a:cubicBezTo>
                <a:cubicBezTo>
                  <a:pt x="108" y="177"/>
                  <a:pt x="105" y="175"/>
                  <a:pt x="102" y="175"/>
                </a:cubicBezTo>
                <a:moveTo>
                  <a:pt x="22" y="186"/>
                </a:moveTo>
                <a:cubicBezTo>
                  <a:pt x="22" y="189"/>
                  <a:pt x="21" y="192"/>
                  <a:pt x="19" y="194"/>
                </a:cubicBezTo>
                <a:cubicBezTo>
                  <a:pt x="17" y="196"/>
                  <a:pt x="14" y="197"/>
                  <a:pt x="11" y="197"/>
                </a:cubicBezTo>
                <a:cubicBezTo>
                  <a:pt x="8" y="197"/>
                  <a:pt x="6" y="196"/>
                  <a:pt x="4" y="194"/>
                </a:cubicBezTo>
                <a:cubicBezTo>
                  <a:pt x="2" y="192"/>
                  <a:pt x="0" y="189"/>
                  <a:pt x="0" y="186"/>
                </a:cubicBezTo>
                <a:cubicBezTo>
                  <a:pt x="0" y="183"/>
                  <a:pt x="2" y="181"/>
                  <a:pt x="4" y="179"/>
                </a:cubicBezTo>
                <a:cubicBezTo>
                  <a:pt x="6" y="177"/>
                  <a:pt x="8" y="175"/>
                  <a:pt x="11" y="175"/>
                </a:cubicBezTo>
                <a:moveTo>
                  <a:pt x="128" y="55"/>
                </a:moveTo>
                <a:cubicBezTo>
                  <a:pt x="135" y="28"/>
                  <a:pt x="135" y="28"/>
                  <a:pt x="135" y="28"/>
                </a:cubicBezTo>
                <a:cubicBezTo>
                  <a:pt x="170" y="24"/>
                  <a:pt x="170" y="24"/>
                  <a:pt x="170" y="24"/>
                </a:cubicBezTo>
                <a:moveTo>
                  <a:pt x="88" y="138"/>
                </a:moveTo>
                <a:cubicBezTo>
                  <a:pt x="0" y="138"/>
                  <a:pt x="0" y="138"/>
                  <a:pt x="0" y="138"/>
                </a:cubicBezTo>
                <a:cubicBezTo>
                  <a:pt x="0" y="80"/>
                  <a:pt x="0" y="80"/>
                  <a:pt x="0" y="80"/>
                </a:cubicBezTo>
                <a:cubicBezTo>
                  <a:pt x="128" y="55"/>
                  <a:pt x="128" y="55"/>
                  <a:pt x="128" y="55"/>
                </a:cubicBezTo>
                <a:cubicBezTo>
                  <a:pt x="102" y="175"/>
                  <a:pt x="102" y="175"/>
                  <a:pt x="102" y="175"/>
                </a:cubicBezTo>
                <a:cubicBezTo>
                  <a:pt x="11" y="175"/>
                  <a:pt x="11" y="175"/>
                  <a:pt x="11" y="17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646"/>
          <p:cNvSpPr>
            <a:spLocks noChangeAspect="1" noEditPoints="1"/>
          </p:cNvSpPr>
          <p:nvPr/>
        </p:nvSpPr>
        <p:spPr bwMode="auto">
          <a:xfrm>
            <a:off x="3348584" y="1661797"/>
            <a:ext cx="540000" cy="529055"/>
          </a:xfrm>
          <a:custGeom>
            <a:avLst/>
            <a:gdLst/>
            <a:ahLst/>
            <a:cxnLst>
              <a:cxn ang="0">
                <a:pos x="141" y="10"/>
              </a:cxn>
              <a:cxn ang="0">
                <a:pos x="169" y="5"/>
              </a:cxn>
              <a:cxn ang="0">
                <a:pos x="161" y="36"/>
              </a:cxn>
              <a:cxn ang="0">
                <a:pos x="125" y="49"/>
              </a:cxn>
              <a:cxn ang="0">
                <a:pos x="132" y="57"/>
              </a:cxn>
              <a:cxn ang="0">
                <a:pos x="115" y="57"/>
              </a:cxn>
              <a:cxn ang="0">
                <a:pos x="115" y="41"/>
              </a:cxn>
              <a:cxn ang="0">
                <a:pos x="132" y="41"/>
              </a:cxn>
              <a:cxn ang="0">
                <a:pos x="132" y="57"/>
              </a:cxn>
              <a:cxn ang="0">
                <a:pos x="50" y="172"/>
              </a:cxn>
              <a:cxn ang="0">
                <a:pos x="0" y="122"/>
              </a:cxn>
              <a:cxn ang="0">
                <a:pos x="93" y="30"/>
              </a:cxn>
              <a:cxn ang="0">
                <a:pos x="143" y="30"/>
              </a:cxn>
              <a:cxn ang="0">
                <a:pos x="143" y="80"/>
              </a:cxn>
              <a:cxn ang="0">
                <a:pos x="69" y="154"/>
              </a:cxn>
            </a:cxnLst>
            <a:rect l="0" t="0" r="r" b="b"/>
            <a:pathLst>
              <a:path w="175" h="172">
                <a:moveTo>
                  <a:pt x="141" y="10"/>
                </a:moveTo>
                <a:cubicBezTo>
                  <a:pt x="152" y="1"/>
                  <a:pt x="163" y="0"/>
                  <a:pt x="169" y="5"/>
                </a:cubicBezTo>
                <a:cubicBezTo>
                  <a:pt x="175" y="12"/>
                  <a:pt x="172" y="24"/>
                  <a:pt x="161" y="36"/>
                </a:cubicBezTo>
                <a:cubicBezTo>
                  <a:pt x="149" y="48"/>
                  <a:pt x="125" y="49"/>
                  <a:pt x="125" y="49"/>
                </a:cubicBezTo>
                <a:moveTo>
                  <a:pt x="132" y="57"/>
                </a:moveTo>
                <a:cubicBezTo>
                  <a:pt x="127" y="62"/>
                  <a:pt x="120" y="62"/>
                  <a:pt x="115" y="57"/>
                </a:cubicBezTo>
                <a:cubicBezTo>
                  <a:pt x="111" y="53"/>
                  <a:pt x="111" y="45"/>
                  <a:pt x="115" y="41"/>
                </a:cubicBezTo>
                <a:cubicBezTo>
                  <a:pt x="120" y="36"/>
                  <a:pt x="127" y="36"/>
                  <a:pt x="132" y="41"/>
                </a:cubicBezTo>
                <a:cubicBezTo>
                  <a:pt x="137" y="45"/>
                  <a:pt x="137" y="53"/>
                  <a:pt x="132" y="57"/>
                </a:cubicBezTo>
                <a:close/>
                <a:moveTo>
                  <a:pt x="50" y="172"/>
                </a:moveTo>
                <a:cubicBezTo>
                  <a:pt x="0" y="122"/>
                  <a:pt x="0" y="122"/>
                  <a:pt x="0" y="122"/>
                </a:cubicBezTo>
                <a:cubicBezTo>
                  <a:pt x="93" y="30"/>
                  <a:pt x="93" y="30"/>
                  <a:pt x="93" y="30"/>
                </a:cubicBezTo>
                <a:cubicBezTo>
                  <a:pt x="107" y="16"/>
                  <a:pt x="129" y="16"/>
                  <a:pt x="143" y="30"/>
                </a:cubicBezTo>
                <a:cubicBezTo>
                  <a:pt x="156" y="44"/>
                  <a:pt x="156" y="66"/>
                  <a:pt x="143" y="80"/>
                </a:cubicBezTo>
                <a:cubicBezTo>
                  <a:pt x="69" y="154"/>
                  <a:pt x="69" y="154"/>
                  <a:pt x="69" y="15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e 374"/>
          <p:cNvGrpSpPr>
            <a:grpSpLocks noChangeAspect="1"/>
          </p:cNvGrpSpPr>
          <p:nvPr/>
        </p:nvGrpSpPr>
        <p:grpSpPr>
          <a:xfrm>
            <a:off x="4843200" y="1833436"/>
            <a:ext cx="540000" cy="396504"/>
            <a:chOff x="2390776" y="3830638"/>
            <a:chExt cx="227013" cy="166688"/>
          </a:xfrm>
        </p:grpSpPr>
        <p:sp>
          <p:nvSpPr>
            <p:cNvPr id="376" name="Line 656"/>
            <p:cNvSpPr>
              <a:spLocks noChangeShapeType="1"/>
            </p:cNvSpPr>
            <p:nvPr/>
          </p:nvSpPr>
          <p:spPr bwMode="auto">
            <a:xfrm>
              <a:off x="2420938" y="3873501"/>
              <a:ext cx="1588" cy="80963"/>
            </a:xfrm>
            <a:prstGeom prst="line">
              <a:avLst/>
            </a:prstGeom>
            <a:noFill/>
            <a:ln w="1270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Line 657"/>
            <p:cNvSpPr>
              <a:spLocks noChangeShapeType="1"/>
            </p:cNvSpPr>
            <p:nvPr/>
          </p:nvSpPr>
          <p:spPr bwMode="auto">
            <a:xfrm>
              <a:off x="2435226" y="3873501"/>
              <a:ext cx="1588" cy="80963"/>
            </a:xfrm>
            <a:prstGeom prst="line">
              <a:avLst/>
            </a:prstGeom>
            <a:noFill/>
            <a:ln w="1270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8" name="Line 658"/>
            <p:cNvSpPr>
              <a:spLocks noChangeShapeType="1"/>
            </p:cNvSpPr>
            <p:nvPr/>
          </p:nvSpPr>
          <p:spPr bwMode="auto">
            <a:xfrm>
              <a:off x="2463801" y="3873501"/>
              <a:ext cx="1588" cy="80963"/>
            </a:xfrm>
            <a:prstGeom prst="line">
              <a:avLst/>
            </a:prstGeom>
            <a:noFill/>
            <a:ln w="1270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9" name="Line 659"/>
            <p:cNvSpPr>
              <a:spLocks noChangeShapeType="1"/>
            </p:cNvSpPr>
            <p:nvPr/>
          </p:nvSpPr>
          <p:spPr bwMode="auto">
            <a:xfrm>
              <a:off x="2474913" y="3873501"/>
              <a:ext cx="1588" cy="80963"/>
            </a:xfrm>
            <a:prstGeom prst="line">
              <a:avLst/>
            </a:prstGeom>
            <a:noFill/>
            <a:ln w="1270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0" name="Line 660"/>
            <p:cNvSpPr>
              <a:spLocks noChangeShapeType="1"/>
            </p:cNvSpPr>
            <p:nvPr/>
          </p:nvSpPr>
          <p:spPr bwMode="auto">
            <a:xfrm>
              <a:off x="2489201" y="3873501"/>
              <a:ext cx="1588" cy="80963"/>
            </a:xfrm>
            <a:prstGeom prst="line">
              <a:avLst/>
            </a:prstGeom>
            <a:noFill/>
            <a:ln w="1270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Line 661"/>
            <p:cNvSpPr>
              <a:spLocks noChangeShapeType="1"/>
            </p:cNvSpPr>
            <p:nvPr/>
          </p:nvSpPr>
          <p:spPr bwMode="auto">
            <a:xfrm>
              <a:off x="2509838" y="3873501"/>
              <a:ext cx="1588" cy="80963"/>
            </a:xfrm>
            <a:prstGeom prst="line">
              <a:avLst/>
            </a:prstGeom>
            <a:noFill/>
            <a:ln w="1270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662"/>
            <p:cNvSpPr>
              <a:spLocks noEditPoints="1"/>
            </p:cNvSpPr>
            <p:nvPr/>
          </p:nvSpPr>
          <p:spPr bwMode="auto">
            <a:xfrm>
              <a:off x="2536826" y="3873501"/>
              <a:ext cx="15875" cy="80963"/>
            </a:xfrm>
            <a:custGeom>
              <a:avLst/>
              <a:gdLst/>
              <a:ahLst/>
              <a:cxnLst>
                <a:cxn ang="0">
                  <a:pos x="10" y="0"/>
                </a:cxn>
                <a:cxn ang="0">
                  <a:pos x="10" y="51"/>
                </a:cxn>
                <a:cxn ang="0">
                  <a:pos x="0" y="0"/>
                </a:cxn>
                <a:cxn ang="0">
                  <a:pos x="0" y="51"/>
                </a:cxn>
              </a:cxnLst>
              <a:rect l="0" t="0" r="r" b="b"/>
              <a:pathLst>
                <a:path w="10" h="51">
                  <a:moveTo>
                    <a:pt x="10" y="0"/>
                  </a:moveTo>
                  <a:lnTo>
                    <a:pt x="10" y="51"/>
                  </a:lnTo>
                  <a:moveTo>
                    <a:pt x="0" y="0"/>
                  </a:moveTo>
                  <a:lnTo>
                    <a:pt x="0" y="51"/>
                  </a:lnTo>
                </a:path>
              </a:pathLst>
            </a:custGeom>
            <a:noFill/>
            <a:ln w="1270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Line 663"/>
            <p:cNvSpPr>
              <a:spLocks noChangeShapeType="1"/>
            </p:cNvSpPr>
            <p:nvPr/>
          </p:nvSpPr>
          <p:spPr bwMode="auto">
            <a:xfrm>
              <a:off x="2562226" y="3873501"/>
              <a:ext cx="1588" cy="80963"/>
            </a:xfrm>
            <a:prstGeom prst="line">
              <a:avLst/>
            </a:prstGeom>
            <a:noFill/>
            <a:ln w="1270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4" name="Line 664"/>
            <p:cNvSpPr>
              <a:spLocks noChangeShapeType="1"/>
            </p:cNvSpPr>
            <p:nvPr/>
          </p:nvSpPr>
          <p:spPr bwMode="auto">
            <a:xfrm>
              <a:off x="2579688" y="3873501"/>
              <a:ext cx="1588" cy="80963"/>
            </a:xfrm>
            <a:prstGeom prst="line">
              <a:avLst/>
            </a:prstGeom>
            <a:noFill/>
            <a:ln w="1270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Freeform 665"/>
            <p:cNvSpPr>
              <a:spLocks/>
            </p:cNvSpPr>
            <p:nvPr/>
          </p:nvSpPr>
          <p:spPr bwMode="auto">
            <a:xfrm>
              <a:off x="2390776" y="3830638"/>
              <a:ext cx="227013" cy="166688"/>
            </a:xfrm>
            <a:custGeom>
              <a:avLst/>
              <a:gdLst/>
              <a:ahLst/>
              <a:cxnLst>
                <a:cxn ang="0">
                  <a:pos x="111" y="105"/>
                </a:cxn>
                <a:cxn ang="0">
                  <a:pos x="0" y="105"/>
                </a:cxn>
                <a:cxn ang="0">
                  <a:pos x="0" y="0"/>
                </a:cxn>
                <a:cxn ang="0">
                  <a:pos x="143" y="0"/>
                </a:cxn>
                <a:cxn ang="0">
                  <a:pos x="143" y="105"/>
                </a:cxn>
              </a:cxnLst>
              <a:rect l="0" t="0" r="r" b="b"/>
              <a:pathLst>
                <a:path w="143" h="105">
                  <a:moveTo>
                    <a:pt x="111" y="105"/>
                  </a:moveTo>
                  <a:lnTo>
                    <a:pt x="0" y="105"/>
                  </a:lnTo>
                  <a:lnTo>
                    <a:pt x="0" y="0"/>
                  </a:lnTo>
                  <a:lnTo>
                    <a:pt x="143" y="0"/>
                  </a:lnTo>
                  <a:lnTo>
                    <a:pt x="143" y="105"/>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86" name="Freeform 666"/>
          <p:cNvSpPr>
            <a:spLocks noChangeAspect="1" noEditPoints="1"/>
          </p:cNvSpPr>
          <p:nvPr/>
        </p:nvSpPr>
        <p:spPr bwMode="auto">
          <a:xfrm>
            <a:off x="4233434" y="1678014"/>
            <a:ext cx="362517" cy="540000"/>
          </a:xfrm>
          <a:custGeom>
            <a:avLst/>
            <a:gdLst/>
            <a:ahLst/>
            <a:cxnLst>
              <a:cxn ang="0">
                <a:pos x="81" y="30"/>
              </a:cxn>
              <a:cxn ang="0">
                <a:pos x="57" y="14"/>
              </a:cxn>
              <a:cxn ang="0">
                <a:pos x="34" y="30"/>
              </a:cxn>
              <a:cxn ang="0">
                <a:pos x="43" y="48"/>
              </a:cxn>
              <a:cxn ang="0">
                <a:pos x="71" y="48"/>
              </a:cxn>
              <a:cxn ang="0">
                <a:pos x="65" y="68"/>
              </a:cxn>
              <a:cxn ang="0">
                <a:pos x="73" y="86"/>
              </a:cxn>
              <a:cxn ang="0">
                <a:pos x="65" y="169"/>
              </a:cxn>
              <a:cxn ang="0">
                <a:pos x="50" y="68"/>
              </a:cxn>
              <a:cxn ang="0">
                <a:pos x="43" y="86"/>
              </a:cxn>
              <a:cxn ang="0">
                <a:pos x="50" y="169"/>
              </a:cxn>
              <a:cxn ang="0">
                <a:pos x="43" y="48"/>
              </a:cxn>
              <a:cxn ang="0">
                <a:pos x="50" y="68"/>
              </a:cxn>
              <a:cxn ang="0">
                <a:pos x="65" y="68"/>
              </a:cxn>
              <a:cxn ang="0">
                <a:pos x="71" y="48"/>
              </a:cxn>
              <a:cxn ang="0">
                <a:pos x="85" y="19"/>
              </a:cxn>
              <a:cxn ang="0">
                <a:pos x="92" y="63"/>
              </a:cxn>
              <a:cxn ang="0">
                <a:pos x="71" y="48"/>
              </a:cxn>
              <a:cxn ang="0">
                <a:pos x="85" y="19"/>
              </a:cxn>
              <a:cxn ang="0">
                <a:pos x="57" y="0"/>
              </a:cxn>
              <a:cxn ang="0">
                <a:pos x="29" y="19"/>
              </a:cxn>
              <a:cxn ang="0">
                <a:pos x="43" y="48"/>
              </a:cxn>
              <a:cxn ang="0">
                <a:pos x="22" y="63"/>
              </a:cxn>
              <a:cxn ang="0">
                <a:pos x="29" y="19"/>
              </a:cxn>
              <a:cxn ang="0">
                <a:pos x="86" y="21"/>
              </a:cxn>
              <a:cxn ang="0">
                <a:pos x="107" y="23"/>
              </a:cxn>
              <a:cxn ang="0">
                <a:pos x="114" y="29"/>
              </a:cxn>
              <a:cxn ang="0">
                <a:pos x="114" y="158"/>
              </a:cxn>
              <a:cxn ang="0">
                <a:pos x="103" y="170"/>
              </a:cxn>
              <a:cxn ang="0">
                <a:pos x="6" y="170"/>
              </a:cxn>
              <a:cxn ang="0">
                <a:pos x="0" y="163"/>
              </a:cxn>
              <a:cxn ang="0">
                <a:pos x="0" y="29"/>
              </a:cxn>
              <a:cxn ang="0">
                <a:pos x="6" y="23"/>
              </a:cxn>
              <a:cxn ang="0">
                <a:pos x="29" y="20"/>
              </a:cxn>
            </a:cxnLst>
            <a:rect l="0" t="0" r="r" b="b"/>
            <a:pathLst>
              <a:path w="114" h="170">
                <a:moveTo>
                  <a:pt x="81" y="30"/>
                </a:moveTo>
                <a:cubicBezTo>
                  <a:pt x="81" y="17"/>
                  <a:pt x="63" y="14"/>
                  <a:pt x="57" y="14"/>
                </a:cubicBezTo>
                <a:cubicBezTo>
                  <a:pt x="51" y="14"/>
                  <a:pt x="34" y="17"/>
                  <a:pt x="34" y="30"/>
                </a:cubicBezTo>
                <a:moveTo>
                  <a:pt x="43" y="48"/>
                </a:moveTo>
                <a:cubicBezTo>
                  <a:pt x="71" y="48"/>
                  <a:pt x="71" y="48"/>
                  <a:pt x="71" y="48"/>
                </a:cubicBezTo>
                <a:moveTo>
                  <a:pt x="65" y="68"/>
                </a:moveTo>
                <a:cubicBezTo>
                  <a:pt x="73" y="86"/>
                  <a:pt x="73" y="86"/>
                  <a:pt x="73" y="86"/>
                </a:cubicBezTo>
                <a:cubicBezTo>
                  <a:pt x="65" y="169"/>
                  <a:pt x="65" y="169"/>
                  <a:pt x="65" y="169"/>
                </a:cubicBezTo>
                <a:moveTo>
                  <a:pt x="50" y="68"/>
                </a:moveTo>
                <a:cubicBezTo>
                  <a:pt x="43" y="86"/>
                  <a:pt x="43" y="86"/>
                  <a:pt x="43" y="86"/>
                </a:cubicBezTo>
                <a:cubicBezTo>
                  <a:pt x="50" y="169"/>
                  <a:pt x="50" y="169"/>
                  <a:pt x="50" y="169"/>
                </a:cubicBezTo>
                <a:moveTo>
                  <a:pt x="43" y="48"/>
                </a:moveTo>
                <a:cubicBezTo>
                  <a:pt x="50" y="68"/>
                  <a:pt x="50" y="68"/>
                  <a:pt x="50" y="68"/>
                </a:cubicBezTo>
                <a:cubicBezTo>
                  <a:pt x="65" y="68"/>
                  <a:pt x="65" y="68"/>
                  <a:pt x="65" y="68"/>
                </a:cubicBezTo>
                <a:cubicBezTo>
                  <a:pt x="71" y="48"/>
                  <a:pt x="71" y="48"/>
                  <a:pt x="71" y="48"/>
                </a:cubicBezTo>
                <a:moveTo>
                  <a:pt x="85" y="19"/>
                </a:moveTo>
                <a:cubicBezTo>
                  <a:pt x="92" y="63"/>
                  <a:pt x="92" y="63"/>
                  <a:pt x="92" y="63"/>
                </a:cubicBezTo>
                <a:cubicBezTo>
                  <a:pt x="71" y="48"/>
                  <a:pt x="71" y="48"/>
                  <a:pt x="71" y="48"/>
                </a:cubicBezTo>
                <a:cubicBezTo>
                  <a:pt x="71" y="48"/>
                  <a:pt x="85" y="34"/>
                  <a:pt x="85" y="19"/>
                </a:cubicBezTo>
                <a:cubicBezTo>
                  <a:pt x="85" y="3"/>
                  <a:pt x="64" y="0"/>
                  <a:pt x="57" y="0"/>
                </a:cubicBezTo>
                <a:cubicBezTo>
                  <a:pt x="50" y="0"/>
                  <a:pt x="29" y="3"/>
                  <a:pt x="29" y="19"/>
                </a:cubicBezTo>
                <a:cubicBezTo>
                  <a:pt x="29" y="34"/>
                  <a:pt x="43" y="48"/>
                  <a:pt x="43" y="48"/>
                </a:cubicBezTo>
                <a:cubicBezTo>
                  <a:pt x="22" y="63"/>
                  <a:pt x="22" y="63"/>
                  <a:pt x="22" y="63"/>
                </a:cubicBezTo>
                <a:cubicBezTo>
                  <a:pt x="29" y="19"/>
                  <a:pt x="29" y="19"/>
                  <a:pt x="29" y="19"/>
                </a:cubicBezTo>
                <a:moveTo>
                  <a:pt x="86" y="21"/>
                </a:moveTo>
                <a:cubicBezTo>
                  <a:pt x="107" y="23"/>
                  <a:pt x="107" y="23"/>
                  <a:pt x="107" y="23"/>
                </a:cubicBezTo>
                <a:cubicBezTo>
                  <a:pt x="111" y="23"/>
                  <a:pt x="114" y="26"/>
                  <a:pt x="114" y="29"/>
                </a:cubicBezTo>
                <a:cubicBezTo>
                  <a:pt x="114" y="158"/>
                  <a:pt x="114" y="158"/>
                  <a:pt x="114" y="158"/>
                </a:cubicBezTo>
                <a:moveTo>
                  <a:pt x="103" y="170"/>
                </a:moveTo>
                <a:cubicBezTo>
                  <a:pt x="6" y="170"/>
                  <a:pt x="6" y="170"/>
                  <a:pt x="6" y="170"/>
                </a:cubicBezTo>
                <a:cubicBezTo>
                  <a:pt x="3" y="170"/>
                  <a:pt x="0" y="167"/>
                  <a:pt x="0" y="163"/>
                </a:cubicBezTo>
                <a:cubicBezTo>
                  <a:pt x="0" y="29"/>
                  <a:pt x="0" y="29"/>
                  <a:pt x="0" y="29"/>
                </a:cubicBezTo>
                <a:cubicBezTo>
                  <a:pt x="0" y="26"/>
                  <a:pt x="3" y="23"/>
                  <a:pt x="6" y="23"/>
                </a:cubicBezTo>
                <a:cubicBezTo>
                  <a:pt x="29" y="20"/>
                  <a:pt x="29" y="20"/>
                  <a:pt x="29" y="2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7" name="Freeform 551"/>
          <p:cNvSpPr>
            <a:spLocks noChangeAspect="1" noEditPoints="1"/>
          </p:cNvSpPr>
          <p:nvPr/>
        </p:nvSpPr>
        <p:spPr bwMode="auto">
          <a:xfrm>
            <a:off x="8592058" y="1626184"/>
            <a:ext cx="370386" cy="540000"/>
          </a:xfrm>
          <a:custGeom>
            <a:avLst/>
            <a:gdLst/>
            <a:ahLst/>
            <a:cxnLst>
              <a:cxn ang="0">
                <a:pos x="7" y="186"/>
              </a:cxn>
              <a:cxn ang="0">
                <a:pos x="53" y="186"/>
              </a:cxn>
              <a:cxn ang="0">
                <a:pos x="62" y="175"/>
              </a:cxn>
              <a:cxn ang="0">
                <a:pos x="49" y="108"/>
              </a:cxn>
              <a:cxn ang="0">
                <a:pos x="127" y="114"/>
              </a:cxn>
              <a:cxn ang="0">
                <a:pos x="28" y="0"/>
              </a:cxn>
              <a:cxn ang="0">
                <a:pos x="40" y="91"/>
              </a:cxn>
              <a:cxn ang="0">
                <a:pos x="25" y="105"/>
              </a:cxn>
              <a:cxn ang="0">
                <a:pos x="0" y="175"/>
              </a:cxn>
              <a:cxn ang="0">
                <a:pos x="40" y="91"/>
              </a:cxn>
              <a:cxn ang="0">
                <a:pos x="105" y="33"/>
              </a:cxn>
              <a:cxn ang="0">
                <a:pos x="101" y="25"/>
              </a:cxn>
              <a:cxn ang="0">
                <a:pos x="113" y="13"/>
              </a:cxn>
              <a:cxn ang="0">
                <a:pos x="125" y="25"/>
              </a:cxn>
              <a:cxn ang="0">
                <a:pos x="115" y="36"/>
              </a:cxn>
            </a:cxnLst>
            <a:rect l="0" t="0" r="r" b="b"/>
            <a:pathLst>
              <a:path w="127" h="186">
                <a:moveTo>
                  <a:pt x="7" y="186"/>
                </a:moveTo>
                <a:cubicBezTo>
                  <a:pt x="53" y="186"/>
                  <a:pt x="53" y="186"/>
                  <a:pt x="53" y="186"/>
                </a:cubicBezTo>
                <a:cubicBezTo>
                  <a:pt x="64" y="186"/>
                  <a:pt x="62" y="175"/>
                  <a:pt x="62" y="175"/>
                </a:cubicBezTo>
                <a:cubicBezTo>
                  <a:pt x="49" y="108"/>
                  <a:pt x="49" y="108"/>
                  <a:pt x="49" y="108"/>
                </a:cubicBezTo>
                <a:cubicBezTo>
                  <a:pt x="67" y="123"/>
                  <a:pt x="108" y="123"/>
                  <a:pt x="127" y="114"/>
                </a:cubicBezTo>
                <a:cubicBezTo>
                  <a:pt x="94" y="76"/>
                  <a:pt x="61" y="38"/>
                  <a:pt x="28" y="0"/>
                </a:cubicBezTo>
                <a:cubicBezTo>
                  <a:pt x="17" y="26"/>
                  <a:pt x="12" y="65"/>
                  <a:pt x="40" y="91"/>
                </a:cubicBezTo>
                <a:moveTo>
                  <a:pt x="25" y="105"/>
                </a:moveTo>
                <a:cubicBezTo>
                  <a:pt x="0" y="175"/>
                  <a:pt x="0" y="175"/>
                  <a:pt x="0" y="175"/>
                </a:cubicBezTo>
                <a:moveTo>
                  <a:pt x="40" y="91"/>
                </a:moveTo>
                <a:cubicBezTo>
                  <a:pt x="60" y="73"/>
                  <a:pt x="85" y="51"/>
                  <a:pt x="105" y="33"/>
                </a:cubicBezTo>
                <a:cubicBezTo>
                  <a:pt x="103" y="31"/>
                  <a:pt x="101" y="28"/>
                  <a:pt x="101" y="25"/>
                </a:cubicBezTo>
                <a:cubicBezTo>
                  <a:pt x="101" y="18"/>
                  <a:pt x="107" y="13"/>
                  <a:pt x="113" y="13"/>
                </a:cubicBezTo>
                <a:cubicBezTo>
                  <a:pt x="120" y="13"/>
                  <a:pt x="125" y="18"/>
                  <a:pt x="125" y="25"/>
                </a:cubicBezTo>
                <a:cubicBezTo>
                  <a:pt x="125" y="31"/>
                  <a:pt x="121" y="35"/>
                  <a:pt x="115" y="3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8" name="Freeform 645"/>
          <p:cNvSpPr>
            <a:spLocks noChangeAspect="1"/>
          </p:cNvSpPr>
          <p:nvPr/>
        </p:nvSpPr>
        <p:spPr bwMode="auto">
          <a:xfrm>
            <a:off x="9433117" y="1632190"/>
            <a:ext cx="536223" cy="540000"/>
          </a:xfrm>
          <a:custGeom>
            <a:avLst/>
            <a:gdLst/>
            <a:ahLst/>
            <a:cxnLst>
              <a:cxn ang="0">
                <a:pos x="108" y="170"/>
              </a:cxn>
              <a:cxn ang="0">
                <a:pos x="124" y="170"/>
              </a:cxn>
              <a:cxn ang="0">
                <a:pos x="134" y="160"/>
              </a:cxn>
              <a:cxn ang="0">
                <a:pos x="134" y="95"/>
              </a:cxn>
              <a:cxn ang="0">
                <a:pos x="145" y="95"/>
              </a:cxn>
              <a:cxn ang="0">
                <a:pos x="155" y="70"/>
              </a:cxn>
              <a:cxn ang="0">
                <a:pos x="85" y="0"/>
              </a:cxn>
              <a:cxn ang="0">
                <a:pos x="14" y="70"/>
              </a:cxn>
              <a:cxn ang="0">
                <a:pos x="24" y="95"/>
              </a:cxn>
              <a:cxn ang="0">
                <a:pos x="35" y="95"/>
              </a:cxn>
              <a:cxn ang="0">
                <a:pos x="35" y="160"/>
              </a:cxn>
              <a:cxn ang="0">
                <a:pos x="45" y="170"/>
              </a:cxn>
              <a:cxn ang="0">
                <a:pos x="86" y="170"/>
              </a:cxn>
              <a:cxn ang="0">
                <a:pos x="86" y="136"/>
              </a:cxn>
              <a:cxn ang="0">
                <a:pos x="108" y="136"/>
              </a:cxn>
            </a:cxnLst>
            <a:rect l="0" t="0" r="r" b="b"/>
            <a:pathLst>
              <a:path w="169" h="170">
                <a:moveTo>
                  <a:pt x="108" y="170"/>
                </a:moveTo>
                <a:cubicBezTo>
                  <a:pt x="124" y="170"/>
                  <a:pt x="124" y="170"/>
                  <a:pt x="124" y="170"/>
                </a:cubicBezTo>
                <a:cubicBezTo>
                  <a:pt x="129" y="170"/>
                  <a:pt x="134" y="165"/>
                  <a:pt x="134" y="160"/>
                </a:cubicBezTo>
                <a:cubicBezTo>
                  <a:pt x="134" y="95"/>
                  <a:pt x="134" y="95"/>
                  <a:pt x="134" y="95"/>
                </a:cubicBezTo>
                <a:cubicBezTo>
                  <a:pt x="145" y="95"/>
                  <a:pt x="145" y="95"/>
                  <a:pt x="145" y="95"/>
                </a:cubicBezTo>
                <a:cubicBezTo>
                  <a:pt x="164" y="95"/>
                  <a:pt x="169" y="83"/>
                  <a:pt x="155" y="70"/>
                </a:cubicBezTo>
                <a:cubicBezTo>
                  <a:pt x="85" y="0"/>
                  <a:pt x="85" y="0"/>
                  <a:pt x="85" y="0"/>
                </a:cubicBezTo>
                <a:cubicBezTo>
                  <a:pt x="14" y="70"/>
                  <a:pt x="14" y="70"/>
                  <a:pt x="14" y="70"/>
                </a:cubicBezTo>
                <a:cubicBezTo>
                  <a:pt x="0" y="83"/>
                  <a:pt x="5" y="95"/>
                  <a:pt x="24" y="95"/>
                </a:cubicBezTo>
                <a:cubicBezTo>
                  <a:pt x="35" y="95"/>
                  <a:pt x="35" y="95"/>
                  <a:pt x="35" y="95"/>
                </a:cubicBezTo>
                <a:cubicBezTo>
                  <a:pt x="35" y="160"/>
                  <a:pt x="35" y="160"/>
                  <a:pt x="35" y="160"/>
                </a:cubicBezTo>
                <a:cubicBezTo>
                  <a:pt x="35" y="165"/>
                  <a:pt x="40" y="170"/>
                  <a:pt x="45" y="170"/>
                </a:cubicBezTo>
                <a:cubicBezTo>
                  <a:pt x="86" y="170"/>
                  <a:pt x="86" y="170"/>
                  <a:pt x="86" y="170"/>
                </a:cubicBezTo>
                <a:cubicBezTo>
                  <a:pt x="86" y="136"/>
                  <a:pt x="86" y="136"/>
                  <a:pt x="86" y="136"/>
                </a:cubicBezTo>
                <a:cubicBezTo>
                  <a:pt x="108" y="136"/>
                  <a:pt x="108" y="136"/>
                  <a:pt x="108" y="13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 name="Groupe 388"/>
          <p:cNvGrpSpPr>
            <a:grpSpLocks noChangeAspect="1"/>
          </p:cNvGrpSpPr>
          <p:nvPr/>
        </p:nvGrpSpPr>
        <p:grpSpPr>
          <a:xfrm>
            <a:off x="5731917" y="1695476"/>
            <a:ext cx="558244" cy="540000"/>
            <a:chOff x="4171951" y="3787776"/>
            <a:chExt cx="242888" cy="234950"/>
          </a:xfrm>
        </p:grpSpPr>
        <p:sp>
          <p:nvSpPr>
            <p:cNvPr id="390" name="Freeform 669"/>
            <p:cNvSpPr>
              <a:spLocks noEditPoints="1"/>
            </p:cNvSpPr>
            <p:nvPr/>
          </p:nvSpPr>
          <p:spPr bwMode="auto">
            <a:xfrm>
              <a:off x="4171951" y="3787776"/>
              <a:ext cx="242888" cy="234950"/>
            </a:xfrm>
            <a:custGeom>
              <a:avLst/>
              <a:gdLst/>
              <a:ahLst/>
              <a:cxnLst>
                <a:cxn ang="0">
                  <a:pos x="97" y="85"/>
                </a:cxn>
                <a:cxn ang="0">
                  <a:pos x="97" y="0"/>
                </a:cxn>
                <a:cxn ang="0">
                  <a:pos x="182" y="85"/>
                </a:cxn>
                <a:cxn ang="0">
                  <a:pos x="171" y="127"/>
                </a:cxn>
                <a:cxn ang="0">
                  <a:pos x="97" y="85"/>
                </a:cxn>
                <a:cxn ang="0">
                  <a:pos x="150" y="151"/>
                </a:cxn>
                <a:cxn ang="0">
                  <a:pos x="54" y="158"/>
                </a:cxn>
                <a:cxn ang="0">
                  <a:pos x="23" y="127"/>
                </a:cxn>
                <a:cxn ang="0">
                  <a:pos x="97" y="85"/>
                </a:cxn>
                <a:cxn ang="0">
                  <a:pos x="171" y="127"/>
                </a:cxn>
                <a:cxn ang="0">
                  <a:pos x="97" y="85"/>
                </a:cxn>
                <a:cxn ang="0">
                  <a:pos x="23" y="127"/>
                </a:cxn>
                <a:cxn ang="0">
                  <a:pos x="54" y="11"/>
                </a:cxn>
                <a:cxn ang="0">
                  <a:pos x="97" y="0"/>
                </a:cxn>
                <a:cxn ang="0">
                  <a:pos x="97" y="85"/>
                </a:cxn>
              </a:cxnLst>
              <a:rect l="0" t="0" r="r" b="b"/>
              <a:pathLst>
                <a:path w="182" h="176">
                  <a:moveTo>
                    <a:pt x="97" y="85"/>
                  </a:moveTo>
                  <a:cubicBezTo>
                    <a:pt x="97" y="0"/>
                    <a:pt x="97" y="0"/>
                    <a:pt x="97" y="0"/>
                  </a:cubicBezTo>
                  <a:cubicBezTo>
                    <a:pt x="144" y="0"/>
                    <a:pt x="182" y="38"/>
                    <a:pt x="182" y="85"/>
                  </a:cubicBezTo>
                  <a:cubicBezTo>
                    <a:pt x="182" y="100"/>
                    <a:pt x="178" y="114"/>
                    <a:pt x="171" y="127"/>
                  </a:cubicBezTo>
                  <a:lnTo>
                    <a:pt x="97" y="85"/>
                  </a:lnTo>
                  <a:close/>
                  <a:moveTo>
                    <a:pt x="150" y="151"/>
                  </a:moveTo>
                  <a:cubicBezTo>
                    <a:pt x="124" y="172"/>
                    <a:pt x="86" y="176"/>
                    <a:pt x="54" y="158"/>
                  </a:cubicBezTo>
                  <a:cubicBezTo>
                    <a:pt x="41" y="150"/>
                    <a:pt x="31" y="141"/>
                    <a:pt x="23" y="127"/>
                  </a:cubicBezTo>
                  <a:cubicBezTo>
                    <a:pt x="97" y="85"/>
                    <a:pt x="97" y="85"/>
                    <a:pt x="97" y="85"/>
                  </a:cubicBezTo>
                  <a:cubicBezTo>
                    <a:pt x="171" y="127"/>
                    <a:pt x="171" y="127"/>
                    <a:pt x="171" y="127"/>
                  </a:cubicBezTo>
                  <a:moveTo>
                    <a:pt x="97" y="85"/>
                  </a:moveTo>
                  <a:cubicBezTo>
                    <a:pt x="23" y="127"/>
                    <a:pt x="23" y="127"/>
                    <a:pt x="23" y="127"/>
                  </a:cubicBezTo>
                  <a:cubicBezTo>
                    <a:pt x="0" y="86"/>
                    <a:pt x="14" y="34"/>
                    <a:pt x="54" y="11"/>
                  </a:cubicBezTo>
                  <a:cubicBezTo>
                    <a:pt x="68" y="3"/>
                    <a:pt x="81" y="0"/>
                    <a:pt x="97" y="0"/>
                  </a:cubicBezTo>
                  <a:cubicBezTo>
                    <a:pt x="97" y="85"/>
                    <a:pt x="97" y="85"/>
                    <a:pt x="97" y="8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1" name="Freeform 670"/>
            <p:cNvSpPr>
              <a:spLocks noEditPoints="1"/>
            </p:cNvSpPr>
            <p:nvPr/>
          </p:nvSpPr>
          <p:spPr bwMode="auto">
            <a:xfrm>
              <a:off x="4324351" y="3832226"/>
              <a:ext cx="49213" cy="74613"/>
            </a:xfrm>
            <a:custGeom>
              <a:avLst/>
              <a:gdLst/>
              <a:ahLst/>
              <a:cxnLst>
                <a:cxn ang="0">
                  <a:pos x="21" y="44"/>
                </a:cxn>
                <a:cxn ang="0">
                  <a:pos x="29" y="37"/>
                </a:cxn>
                <a:cxn ang="0">
                  <a:pos x="21" y="31"/>
                </a:cxn>
                <a:cxn ang="0">
                  <a:pos x="21" y="44"/>
                </a:cxn>
                <a:cxn ang="0">
                  <a:pos x="17" y="10"/>
                </a:cxn>
                <a:cxn ang="0">
                  <a:pos x="10" y="15"/>
                </a:cxn>
                <a:cxn ang="0">
                  <a:pos x="17" y="22"/>
                </a:cxn>
                <a:cxn ang="0">
                  <a:pos x="17" y="10"/>
                </a:cxn>
                <a:cxn ang="0">
                  <a:pos x="17" y="30"/>
                </a:cxn>
                <a:cxn ang="0">
                  <a:pos x="1" y="17"/>
                </a:cxn>
                <a:cxn ang="0">
                  <a:pos x="17" y="3"/>
                </a:cxn>
                <a:cxn ang="0">
                  <a:pos x="17" y="2"/>
                </a:cxn>
                <a:cxn ang="0">
                  <a:pos x="19" y="0"/>
                </a:cxn>
                <a:cxn ang="0">
                  <a:pos x="21" y="2"/>
                </a:cxn>
                <a:cxn ang="0">
                  <a:pos x="21" y="3"/>
                </a:cxn>
                <a:cxn ang="0">
                  <a:pos x="36" y="13"/>
                </a:cxn>
                <a:cxn ang="0">
                  <a:pos x="32" y="17"/>
                </a:cxn>
                <a:cxn ang="0">
                  <a:pos x="21" y="10"/>
                </a:cxn>
                <a:cxn ang="0">
                  <a:pos x="21" y="22"/>
                </a:cxn>
                <a:cxn ang="0">
                  <a:pos x="37" y="37"/>
                </a:cxn>
                <a:cxn ang="0">
                  <a:pos x="21" y="50"/>
                </a:cxn>
                <a:cxn ang="0">
                  <a:pos x="21" y="54"/>
                </a:cxn>
                <a:cxn ang="0">
                  <a:pos x="19" y="56"/>
                </a:cxn>
                <a:cxn ang="0">
                  <a:pos x="17" y="54"/>
                </a:cxn>
                <a:cxn ang="0">
                  <a:pos x="17" y="50"/>
                </a:cxn>
                <a:cxn ang="0">
                  <a:pos x="0" y="38"/>
                </a:cxn>
                <a:cxn ang="0">
                  <a:pos x="4" y="34"/>
                </a:cxn>
                <a:cxn ang="0">
                  <a:pos x="17" y="44"/>
                </a:cxn>
                <a:cxn ang="0">
                  <a:pos x="17" y="30"/>
                </a:cxn>
              </a:cxnLst>
              <a:rect l="0" t="0" r="r" b="b"/>
              <a:pathLst>
                <a:path w="37" h="56">
                  <a:moveTo>
                    <a:pt x="21" y="44"/>
                  </a:moveTo>
                  <a:cubicBezTo>
                    <a:pt x="25" y="43"/>
                    <a:pt x="29" y="42"/>
                    <a:pt x="29" y="37"/>
                  </a:cubicBezTo>
                  <a:cubicBezTo>
                    <a:pt x="29" y="33"/>
                    <a:pt x="24" y="32"/>
                    <a:pt x="21" y="31"/>
                  </a:cubicBezTo>
                  <a:lnTo>
                    <a:pt x="21" y="44"/>
                  </a:lnTo>
                  <a:close/>
                  <a:moveTo>
                    <a:pt x="17" y="10"/>
                  </a:moveTo>
                  <a:cubicBezTo>
                    <a:pt x="12" y="10"/>
                    <a:pt x="10" y="13"/>
                    <a:pt x="10" y="15"/>
                  </a:cubicBezTo>
                  <a:cubicBezTo>
                    <a:pt x="10" y="19"/>
                    <a:pt x="12" y="21"/>
                    <a:pt x="17" y="22"/>
                  </a:cubicBezTo>
                  <a:lnTo>
                    <a:pt x="17" y="10"/>
                  </a:lnTo>
                  <a:close/>
                  <a:moveTo>
                    <a:pt x="17" y="30"/>
                  </a:moveTo>
                  <a:cubicBezTo>
                    <a:pt x="7" y="28"/>
                    <a:pt x="1" y="24"/>
                    <a:pt x="1" y="17"/>
                  </a:cubicBezTo>
                  <a:cubicBezTo>
                    <a:pt x="1" y="8"/>
                    <a:pt x="9" y="4"/>
                    <a:pt x="17" y="3"/>
                  </a:cubicBezTo>
                  <a:cubicBezTo>
                    <a:pt x="17" y="2"/>
                    <a:pt x="17" y="2"/>
                    <a:pt x="17" y="2"/>
                  </a:cubicBezTo>
                  <a:cubicBezTo>
                    <a:pt x="17" y="1"/>
                    <a:pt x="18" y="0"/>
                    <a:pt x="19" y="0"/>
                  </a:cubicBezTo>
                  <a:cubicBezTo>
                    <a:pt x="20" y="0"/>
                    <a:pt x="21" y="1"/>
                    <a:pt x="21" y="2"/>
                  </a:cubicBezTo>
                  <a:cubicBezTo>
                    <a:pt x="21" y="3"/>
                    <a:pt x="21" y="3"/>
                    <a:pt x="21" y="3"/>
                  </a:cubicBezTo>
                  <a:cubicBezTo>
                    <a:pt x="26" y="3"/>
                    <a:pt x="36" y="7"/>
                    <a:pt x="36" y="13"/>
                  </a:cubicBezTo>
                  <a:cubicBezTo>
                    <a:pt x="36" y="16"/>
                    <a:pt x="34" y="17"/>
                    <a:pt x="32" y="17"/>
                  </a:cubicBezTo>
                  <a:cubicBezTo>
                    <a:pt x="28" y="17"/>
                    <a:pt x="28" y="10"/>
                    <a:pt x="21" y="10"/>
                  </a:cubicBezTo>
                  <a:cubicBezTo>
                    <a:pt x="21" y="22"/>
                    <a:pt x="21" y="22"/>
                    <a:pt x="21" y="22"/>
                  </a:cubicBezTo>
                  <a:cubicBezTo>
                    <a:pt x="29" y="24"/>
                    <a:pt x="37" y="27"/>
                    <a:pt x="37" y="37"/>
                  </a:cubicBezTo>
                  <a:cubicBezTo>
                    <a:pt x="37" y="45"/>
                    <a:pt x="30" y="50"/>
                    <a:pt x="21" y="50"/>
                  </a:cubicBezTo>
                  <a:cubicBezTo>
                    <a:pt x="21" y="54"/>
                    <a:pt x="21" y="54"/>
                    <a:pt x="21" y="54"/>
                  </a:cubicBezTo>
                  <a:cubicBezTo>
                    <a:pt x="21" y="55"/>
                    <a:pt x="20" y="56"/>
                    <a:pt x="19" y="56"/>
                  </a:cubicBezTo>
                  <a:cubicBezTo>
                    <a:pt x="18" y="56"/>
                    <a:pt x="17" y="55"/>
                    <a:pt x="17" y="54"/>
                  </a:cubicBezTo>
                  <a:cubicBezTo>
                    <a:pt x="17" y="50"/>
                    <a:pt x="17" y="50"/>
                    <a:pt x="17" y="50"/>
                  </a:cubicBezTo>
                  <a:cubicBezTo>
                    <a:pt x="6" y="50"/>
                    <a:pt x="0" y="43"/>
                    <a:pt x="0" y="38"/>
                  </a:cubicBezTo>
                  <a:cubicBezTo>
                    <a:pt x="0" y="36"/>
                    <a:pt x="2" y="34"/>
                    <a:pt x="4" y="34"/>
                  </a:cubicBezTo>
                  <a:cubicBezTo>
                    <a:pt x="12" y="34"/>
                    <a:pt x="6" y="43"/>
                    <a:pt x="17" y="44"/>
                  </a:cubicBezTo>
                  <a:cubicBezTo>
                    <a:pt x="17" y="30"/>
                    <a:pt x="17" y="30"/>
                    <a:pt x="17" y="30"/>
                  </a:cubicBezTo>
                </a:path>
              </a:pathLst>
            </a:custGeom>
            <a:solidFill>
              <a:srgbClr val="000000"/>
            </a:solidFill>
            <a:ln w="12700">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671"/>
            <p:cNvSpPr>
              <a:spLocks/>
            </p:cNvSpPr>
            <p:nvPr/>
          </p:nvSpPr>
          <p:spPr bwMode="auto">
            <a:xfrm>
              <a:off x="4217988" y="3835401"/>
              <a:ext cx="61913" cy="65088"/>
            </a:xfrm>
            <a:custGeom>
              <a:avLst/>
              <a:gdLst/>
              <a:ahLst/>
              <a:cxnLst>
                <a:cxn ang="0">
                  <a:pos x="41" y="32"/>
                </a:cxn>
                <a:cxn ang="0">
                  <a:pos x="28" y="41"/>
                </a:cxn>
                <a:cxn ang="0">
                  <a:pos x="16" y="32"/>
                </a:cxn>
                <a:cxn ang="0">
                  <a:pos x="28" y="32"/>
                </a:cxn>
                <a:cxn ang="0">
                  <a:pos x="28" y="28"/>
                </a:cxn>
                <a:cxn ang="0">
                  <a:pos x="15" y="28"/>
                </a:cxn>
                <a:cxn ang="0">
                  <a:pos x="15" y="25"/>
                </a:cxn>
                <a:cxn ang="0">
                  <a:pos x="15" y="22"/>
                </a:cxn>
                <a:cxn ang="0">
                  <a:pos x="28" y="22"/>
                </a:cxn>
                <a:cxn ang="0">
                  <a:pos x="28" y="18"/>
                </a:cxn>
                <a:cxn ang="0">
                  <a:pos x="16" y="18"/>
                </a:cxn>
                <a:cxn ang="0">
                  <a:pos x="27" y="9"/>
                </a:cxn>
                <a:cxn ang="0">
                  <a:pos x="41" y="17"/>
                </a:cxn>
                <a:cxn ang="0">
                  <a:pos x="46" y="12"/>
                </a:cxn>
                <a:cxn ang="0">
                  <a:pos x="27" y="0"/>
                </a:cxn>
                <a:cxn ang="0">
                  <a:pos x="5" y="18"/>
                </a:cxn>
                <a:cxn ang="0">
                  <a:pos x="0" y="18"/>
                </a:cxn>
                <a:cxn ang="0">
                  <a:pos x="0" y="22"/>
                </a:cxn>
                <a:cxn ang="0">
                  <a:pos x="5" y="22"/>
                </a:cxn>
                <a:cxn ang="0">
                  <a:pos x="5" y="25"/>
                </a:cxn>
                <a:cxn ang="0">
                  <a:pos x="5" y="28"/>
                </a:cxn>
                <a:cxn ang="0">
                  <a:pos x="0" y="28"/>
                </a:cxn>
                <a:cxn ang="0">
                  <a:pos x="0" y="32"/>
                </a:cxn>
                <a:cxn ang="0">
                  <a:pos x="5" y="32"/>
                </a:cxn>
                <a:cxn ang="0">
                  <a:pos x="28" y="49"/>
                </a:cxn>
                <a:cxn ang="0">
                  <a:pos x="46" y="36"/>
                </a:cxn>
                <a:cxn ang="0">
                  <a:pos x="41" y="32"/>
                </a:cxn>
              </a:cxnLst>
              <a:rect l="0" t="0" r="r" b="b"/>
              <a:pathLst>
                <a:path w="46" h="49">
                  <a:moveTo>
                    <a:pt x="41" y="32"/>
                  </a:moveTo>
                  <a:cubicBezTo>
                    <a:pt x="36" y="32"/>
                    <a:pt x="36" y="41"/>
                    <a:pt x="28" y="41"/>
                  </a:cubicBezTo>
                  <a:cubicBezTo>
                    <a:pt x="21" y="41"/>
                    <a:pt x="18" y="37"/>
                    <a:pt x="16" y="32"/>
                  </a:cubicBezTo>
                  <a:cubicBezTo>
                    <a:pt x="28" y="32"/>
                    <a:pt x="28" y="32"/>
                    <a:pt x="28" y="32"/>
                  </a:cubicBezTo>
                  <a:cubicBezTo>
                    <a:pt x="28" y="28"/>
                    <a:pt x="28" y="28"/>
                    <a:pt x="28" y="28"/>
                  </a:cubicBezTo>
                  <a:cubicBezTo>
                    <a:pt x="15" y="28"/>
                    <a:pt x="15" y="28"/>
                    <a:pt x="15" y="28"/>
                  </a:cubicBezTo>
                  <a:cubicBezTo>
                    <a:pt x="15" y="27"/>
                    <a:pt x="15" y="26"/>
                    <a:pt x="15" y="25"/>
                  </a:cubicBezTo>
                  <a:cubicBezTo>
                    <a:pt x="15" y="24"/>
                    <a:pt x="15" y="23"/>
                    <a:pt x="15" y="22"/>
                  </a:cubicBezTo>
                  <a:cubicBezTo>
                    <a:pt x="28" y="22"/>
                    <a:pt x="28" y="22"/>
                    <a:pt x="28" y="22"/>
                  </a:cubicBezTo>
                  <a:cubicBezTo>
                    <a:pt x="28" y="18"/>
                    <a:pt x="28" y="18"/>
                    <a:pt x="28" y="18"/>
                  </a:cubicBezTo>
                  <a:cubicBezTo>
                    <a:pt x="16" y="18"/>
                    <a:pt x="16" y="18"/>
                    <a:pt x="16" y="18"/>
                  </a:cubicBezTo>
                  <a:cubicBezTo>
                    <a:pt x="18" y="12"/>
                    <a:pt x="22" y="9"/>
                    <a:pt x="27" y="9"/>
                  </a:cubicBezTo>
                  <a:cubicBezTo>
                    <a:pt x="37" y="9"/>
                    <a:pt x="35" y="17"/>
                    <a:pt x="41" y="17"/>
                  </a:cubicBezTo>
                  <a:cubicBezTo>
                    <a:pt x="45" y="17"/>
                    <a:pt x="46" y="15"/>
                    <a:pt x="46" y="12"/>
                  </a:cubicBezTo>
                  <a:cubicBezTo>
                    <a:pt x="46" y="8"/>
                    <a:pt x="40" y="0"/>
                    <a:pt x="27" y="0"/>
                  </a:cubicBezTo>
                  <a:cubicBezTo>
                    <a:pt x="15" y="0"/>
                    <a:pt x="8" y="8"/>
                    <a:pt x="5" y="18"/>
                  </a:cubicBezTo>
                  <a:cubicBezTo>
                    <a:pt x="0" y="18"/>
                    <a:pt x="0" y="18"/>
                    <a:pt x="0" y="18"/>
                  </a:cubicBezTo>
                  <a:cubicBezTo>
                    <a:pt x="0" y="22"/>
                    <a:pt x="0" y="22"/>
                    <a:pt x="0" y="22"/>
                  </a:cubicBezTo>
                  <a:cubicBezTo>
                    <a:pt x="5" y="22"/>
                    <a:pt x="5" y="22"/>
                    <a:pt x="5" y="22"/>
                  </a:cubicBezTo>
                  <a:cubicBezTo>
                    <a:pt x="5" y="23"/>
                    <a:pt x="5" y="24"/>
                    <a:pt x="5" y="25"/>
                  </a:cubicBezTo>
                  <a:cubicBezTo>
                    <a:pt x="5" y="26"/>
                    <a:pt x="5" y="27"/>
                    <a:pt x="5" y="28"/>
                  </a:cubicBezTo>
                  <a:cubicBezTo>
                    <a:pt x="0" y="28"/>
                    <a:pt x="0" y="28"/>
                    <a:pt x="0" y="28"/>
                  </a:cubicBezTo>
                  <a:cubicBezTo>
                    <a:pt x="0" y="32"/>
                    <a:pt x="0" y="32"/>
                    <a:pt x="0" y="32"/>
                  </a:cubicBezTo>
                  <a:cubicBezTo>
                    <a:pt x="5" y="32"/>
                    <a:pt x="5" y="32"/>
                    <a:pt x="5" y="32"/>
                  </a:cubicBezTo>
                  <a:cubicBezTo>
                    <a:pt x="8" y="43"/>
                    <a:pt x="16" y="49"/>
                    <a:pt x="28" y="49"/>
                  </a:cubicBezTo>
                  <a:cubicBezTo>
                    <a:pt x="38" y="49"/>
                    <a:pt x="46" y="42"/>
                    <a:pt x="46" y="36"/>
                  </a:cubicBezTo>
                  <a:cubicBezTo>
                    <a:pt x="46" y="33"/>
                    <a:pt x="44" y="32"/>
                    <a:pt x="41" y="32"/>
                  </a:cubicBezTo>
                </a:path>
              </a:pathLst>
            </a:custGeom>
            <a:solidFill>
              <a:srgbClr val="000000"/>
            </a:solidFill>
            <a:ln w="12700">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672"/>
            <p:cNvSpPr>
              <a:spLocks/>
            </p:cNvSpPr>
            <p:nvPr/>
          </p:nvSpPr>
          <p:spPr bwMode="auto">
            <a:xfrm>
              <a:off x="4279901" y="3930651"/>
              <a:ext cx="46038" cy="53975"/>
            </a:xfrm>
            <a:custGeom>
              <a:avLst/>
              <a:gdLst/>
              <a:ahLst/>
              <a:cxnLst>
                <a:cxn ang="0">
                  <a:pos x="0" y="5"/>
                </a:cxn>
                <a:cxn ang="0">
                  <a:pos x="4" y="0"/>
                </a:cxn>
                <a:cxn ang="0">
                  <a:pos x="9" y="5"/>
                </a:cxn>
                <a:cxn ang="0">
                  <a:pos x="9" y="16"/>
                </a:cxn>
                <a:cxn ang="0">
                  <a:pos x="25" y="16"/>
                </a:cxn>
                <a:cxn ang="0">
                  <a:pos x="25" y="5"/>
                </a:cxn>
                <a:cxn ang="0">
                  <a:pos x="30" y="0"/>
                </a:cxn>
                <a:cxn ang="0">
                  <a:pos x="34" y="5"/>
                </a:cxn>
                <a:cxn ang="0">
                  <a:pos x="34" y="37"/>
                </a:cxn>
                <a:cxn ang="0">
                  <a:pos x="30" y="41"/>
                </a:cxn>
                <a:cxn ang="0">
                  <a:pos x="25" y="37"/>
                </a:cxn>
                <a:cxn ang="0">
                  <a:pos x="25" y="24"/>
                </a:cxn>
                <a:cxn ang="0">
                  <a:pos x="9" y="24"/>
                </a:cxn>
                <a:cxn ang="0">
                  <a:pos x="9" y="37"/>
                </a:cxn>
                <a:cxn ang="0">
                  <a:pos x="4" y="41"/>
                </a:cxn>
                <a:cxn ang="0">
                  <a:pos x="0" y="37"/>
                </a:cxn>
                <a:cxn ang="0">
                  <a:pos x="0" y="5"/>
                </a:cxn>
              </a:cxnLst>
              <a:rect l="0" t="0" r="r" b="b"/>
              <a:pathLst>
                <a:path w="34" h="41">
                  <a:moveTo>
                    <a:pt x="0" y="5"/>
                  </a:moveTo>
                  <a:cubicBezTo>
                    <a:pt x="0" y="2"/>
                    <a:pt x="2" y="0"/>
                    <a:pt x="4" y="0"/>
                  </a:cubicBezTo>
                  <a:cubicBezTo>
                    <a:pt x="7" y="0"/>
                    <a:pt x="9" y="2"/>
                    <a:pt x="9" y="5"/>
                  </a:cubicBezTo>
                  <a:cubicBezTo>
                    <a:pt x="9" y="16"/>
                    <a:pt x="9" y="16"/>
                    <a:pt x="9" y="16"/>
                  </a:cubicBezTo>
                  <a:cubicBezTo>
                    <a:pt x="25" y="16"/>
                    <a:pt x="25" y="16"/>
                    <a:pt x="25" y="16"/>
                  </a:cubicBezTo>
                  <a:cubicBezTo>
                    <a:pt x="25" y="5"/>
                    <a:pt x="25" y="5"/>
                    <a:pt x="25" y="5"/>
                  </a:cubicBezTo>
                  <a:cubicBezTo>
                    <a:pt x="25" y="2"/>
                    <a:pt x="27" y="0"/>
                    <a:pt x="30" y="0"/>
                  </a:cubicBezTo>
                  <a:cubicBezTo>
                    <a:pt x="33" y="0"/>
                    <a:pt x="34" y="2"/>
                    <a:pt x="34" y="5"/>
                  </a:cubicBezTo>
                  <a:cubicBezTo>
                    <a:pt x="34" y="37"/>
                    <a:pt x="34" y="37"/>
                    <a:pt x="34" y="37"/>
                  </a:cubicBezTo>
                  <a:cubicBezTo>
                    <a:pt x="34" y="40"/>
                    <a:pt x="33" y="41"/>
                    <a:pt x="30" y="41"/>
                  </a:cubicBezTo>
                  <a:cubicBezTo>
                    <a:pt x="27" y="41"/>
                    <a:pt x="25" y="40"/>
                    <a:pt x="25" y="37"/>
                  </a:cubicBezTo>
                  <a:cubicBezTo>
                    <a:pt x="25" y="24"/>
                    <a:pt x="25" y="24"/>
                    <a:pt x="25" y="24"/>
                  </a:cubicBezTo>
                  <a:cubicBezTo>
                    <a:pt x="9" y="24"/>
                    <a:pt x="9" y="24"/>
                    <a:pt x="9" y="24"/>
                  </a:cubicBezTo>
                  <a:cubicBezTo>
                    <a:pt x="9" y="37"/>
                    <a:pt x="9" y="37"/>
                    <a:pt x="9" y="37"/>
                  </a:cubicBezTo>
                  <a:cubicBezTo>
                    <a:pt x="9" y="40"/>
                    <a:pt x="7" y="41"/>
                    <a:pt x="4" y="41"/>
                  </a:cubicBezTo>
                  <a:cubicBezTo>
                    <a:pt x="2" y="41"/>
                    <a:pt x="0" y="40"/>
                    <a:pt x="0" y="37"/>
                  </a:cubicBezTo>
                  <a:cubicBezTo>
                    <a:pt x="0" y="5"/>
                    <a:pt x="0" y="5"/>
                    <a:pt x="0" y="5"/>
                  </a:cubicBezTo>
                </a:path>
              </a:pathLst>
            </a:custGeom>
            <a:solidFill>
              <a:srgbClr val="000000"/>
            </a:solidFill>
            <a:ln w="12700">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94" name="Freeform 673"/>
          <p:cNvSpPr>
            <a:spLocks noChangeAspect="1" noEditPoints="1"/>
          </p:cNvSpPr>
          <p:nvPr/>
        </p:nvSpPr>
        <p:spPr bwMode="auto">
          <a:xfrm>
            <a:off x="7422730" y="1628674"/>
            <a:ext cx="706464" cy="540000"/>
          </a:xfrm>
          <a:custGeom>
            <a:avLst/>
            <a:gdLst/>
            <a:ahLst/>
            <a:cxnLst>
              <a:cxn ang="0">
                <a:pos x="103" y="139"/>
              </a:cxn>
              <a:cxn ang="0">
                <a:pos x="42" y="79"/>
              </a:cxn>
              <a:cxn ang="0">
                <a:pos x="102" y="119"/>
              </a:cxn>
              <a:cxn ang="0">
                <a:pos x="63" y="80"/>
              </a:cxn>
              <a:cxn ang="0">
                <a:pos x="85" y="75"/>
              </a:cxn>
              <a:cxn ang="0">
                <a:pos x="90" y="93"/>
              </a:cxn>
              <a:cxn ang="0">
                <a:pos x="118" y="93"/>
              </a:cxn>
              <a:cxn ang="0">
                <a:pos x="123" y="83"/>
              </a:cxn>
              <a:cxn ang="0">
                <a:pos x="123" y="83"/>
              </a:cxn>
              <a:cxn ang="0">
                <a:pos x="118" y="65"/>
              </a:cxn>
              <a:cxn ang="0">
                <a:pos x="90" y="65"/>
              </a:cxn>
              <a:cxn ang="0">
                <a:pos x="85" y="75"/>
              </a:cxn>
              <a:cxn ang="0">
                <a:pos x="123" y="83"/>
              </a:cxn>
              <a:cxn ang="0">
                <a:pos x="134" y="85"/>
              </a:cxn>
              <a:cxn ang="0">
                <a:pos x="207" y="158"/>
              </a:cxn>
              <a:cxn ang="0">
                <a:pos x="158" y="158"/>
              </a:cxn>
              <a:cxn ang="0">
                <a:pos x="112" y="111"/>
              </a:cxn>
              <a:cxn ang="0">
                <a:pos x="96" y="46"/>
              </a:cxn>
              <a:cxn ang="0">
                <a:pos x="49" y="0"/>
              </a:cxn>
              <a:cxn ang="0">
                <a:pos x="0" y="0"/>
              </a:cxn>
              <a:cxn ang="0">
                <a:pos x="73" y="73"/>
              </a:cxn>
              <a:cxn ang="0">
                <a:pos x="85" y="75"/>
              </a:cxn>
            </a:cxnLst>
            <a:rect l="0" t="0" r="r" b="b"/>
            <a:pathLst>
              <a:path w="207" h="158">
                <a:moveTo>
                  <a:pt x="103" y="139"/>
                </a:moveTo>
                <a:cubicBezTo>
                  <a:pt x="69" y="139"/>
                  <a:pt x="42" y="112"/>
                  <a:pt x="42" y="79"/>
                </a:cubicBezTo>
                <a:moveTo>
                  <a:pt x="102" y="119"/>
                </a:moveTo>
                <a:cubicBezTo>
                  <a:pt x="80" y="118"/>
                  <a:pt x="63" y="101"/>
                  <a:pt x="63" y="80"/>
                </a:cubicBezTo>
                <a:moveTo>
                  <a:pt x="85" y="75"/>
                </a:moveTo>
                <a:cubicBezTo>
                  <a:pt x="83" y="81"/>
                  <a:pt x="85" y="88"/>
                  <a:pt x="90" y="93"/>
                </a:cubicBezTo>
                <a:cubicBezTo>
                  <a:pt x="98" y="100"/>
                  <a:pt x="110" y="100"/>
                  <a:pt x="118" y="93"/>
                </a:cubicBezTo>
                <a:cubicBezTo>
                  <a:pt x="120" y="90"/>
                  <a:pt x="122" y="86"/>
                  <a:pt x="123" y="83"/>
                </a:cubicBezTo>
                <a:moveTo>
                  <a:pt x="123" y="83"/>
                </a:moveTo>
                <a:cubicBezTo>
                  <a:pt x="124" y="77"/>
                  <a:pt x="122" y="70"/>
                  <a:pt x="118" y="65"/>
                </a:cubicBezTo>
                <a:cubicBezTo>
                  <a:pt x="110" y="57"/>
                  <a:pt x="98" y="57"/>
                  <a:pt x="90" y="65"/>
                </a:cubicBezTo>
                <a:cubicBezTo>
                  <a:pt x="87" y="68"/>
                  <a:pt x="85" y="71"/>
                  <a:pt x="85" y="75"/>
                </a:cubicBezTo>
                <a:moveTo>
                  <a:pt x="123" y="83"/>
                </a:moveTo>
                <a:cubicBezTo>
                  <a:pt x="134" y="85"/>
                  <a:pt x="134" y="85"/>
                  <a:pt x="134" y="85"/>
                </a:cubicBezTo>
                <a:cubicBezTo>
                  <a:pt x="207" y="158"/>
                  <a:pt x="207" y="158"/>
                  <a:pt x="207" y="158"/>
                </a:cubicBezTo>
                <a:cubicBezTo>
                  <a:pt x="158" y="158"/>
                  <a:pt x="158" y="158"/>
                  <a:pt x="158" y="158"/>
                </a:cubicBezTo>
                <a:cubicBezTo>
                  <a:pt x="112" y="111"/>
                  <a:pt x="112" y="111"/>
                  <a:pt x="112" y="111"/>
                </a:cubicBezTo>
                <a:moveTo>
                  <a:pt x="96" y="46"/>
                </a:moveTo>
                <a:cubicBezTo>
                  <a:pt x="49" y="0"/>
                  <a:pt x="49" y="0"/>
                  <a:pt x="49" y="0"/>
                </a:cubicBezTo>
                <a:cubicBezTo>
                  <a:pt x="0" y="0"/>
                  <a:pt x="0" y="0"/>
                  <a:pt x="0" y="0"/>
                </a:cubicBezTo>
                <a:cubicBezTo>
                  <a:pt x="73" y="73"/>
                  <a:pt x="73" y="73"/>
                  <a:pt x="73" y="73"/>
                </a:cubicBezTo>
                <a:cubicBezTo>
                  <a:pt x="85" y="75"/>
                  <a:pt x="85" y="75"/>
                  <a:pt x="85" y="7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742"/>
          <p:cNvSpPr>
            <a:spLocks noChangeAspect="1" noEditPoints="1"/>
          </p:cNvSpPr>
          <p:nvPr/>
        </p:nvSpPr>
        <p:spPr bwMode="auto">
          <a:xfrm>
            <a:off x="6706351" y="1636051"/>
            <a:ext cx="370001" cy="540000"/>
          </a:xfrm>
          <a:custGeom>
            <a:avLst/>
            <a:gdLst/>
            <a:ahLst/>
            <a:cxnLst>
              <a:cxn ang="0">
                <a:pos x="94" y="123"/>
              </a:cxn>
              <a:cxn ang="0">
                <a:pos x="131" y="65"/>
              </a:cxn>
              <a:cxn ang="0">
                <a:pos x="66" y="0"/>
              </a:cxn>
              <a:cxn ang="0">
                <a:pos x="0" y="65"/>
              </a:cxn>
              <a:cxn ang="0">
                <a:pos x="38" y="123"/>
              </a:cxn>
              <a:cxn ang="0">
                <a:pos x="47" y="102"/>
              </a:cxn>
              <a:cxn ang="0">
                <a:pos x="23" y="65"/>
              </a:cxn>
              <a:cxn ang="0">
                <a:pos x="66" y="23"/>
              </a:cxn>
              <a:cxn ang="0">
                <a:pos x="108" y="65"/>
              </a:cxn>
              <a:cxn ang="0">
                <a:pos x="84" y="102"/>
              </a:cxn>
              <a:cxn ang="0">
                <a:pos x="75" y="82"/>
              </a:cxn>
              <a:cxn ang="0">
                <a:pos x="85" y="65"/>
              </a:cxn>
              <a:cxn ang="0">
                <a:pos x="66" y="45"/>
              </a:cxn>
              <a:cxn ang="0">
                <a:pos x="46" y="65"/>
              </a:cxn>
              <a:cxn ang="0">
                <a:pos x="56" y="82"/>
              </a:cxn>
              <a:cxn ang="0">
                <a:pos x="65" y="192"/>
              </a:cxn>
              <a:cxn ang="0">
                <a:pos x="19" y="192"/>
              </a:cxn>
              <a:cxn ang="0">
                <a:pos x="66" y="89"/>
              </a:cxn>
              <a:cxn ang="0">
                <a:pos x="112" y="192"/>
              </a:cxn>
            </a:cxnLst>
            <a:rect l="0" t="0" r="r" b="b"/>
            <a:pathLst>
              <a:path w="131" h="192">
                <a:moveTo>
                  <a:pt x="94" y="123"/>
                </a:moveTo>
                <a:cubicBezTo>
                  <a:pt x="116" y="113"/>
                  <a:pt x="131" y="91"/>
                  <a:pt x="131" y="65"/>
                </a:cubicBezTo>
                <a:cubicBezTo>
                  <a:pt x="131" y="29"/>
                  <a:pt x="102" y="0"/>
                  <a:pt x="66" y="0"/>
                </a:cubicBezTo>
                <a:cubicBezTo>
                  <a:pt x="29" y="0"/>
                  <a:pt x="0" y="29"/>
                  <a:pt x="0" y="65"/>
                </a:cubicBezTo>
                <a:cubicBezTo>
                  <a:pt x="0" y="91"/>
                  <a:pt x="15" y="113"/>
                  <a:pt x="38" y="123"/>
                </a:cubicBezTo>
                <a:moveTo>
                  <a:pt x="47" y="102"/>
                </a:moveTo>
                <a:cubicBezTo>
                  <a:pt x="33" y="96"/>
                  <a:pt x="23" y="81"/>
                  <a:pt x="23" y="65"/>
                </a:cubicBezTo>
                <a:cubicBezTo>
                  <a:pt x="23" y="41"/>
                  <a:pt x="42" y="23"/>
                  <a:pt x="66" y="23"/>
                </a:cubicBezTo>
                <a:cubicBezTo>
                  <a:pt x="89" y="23"/>
                  <a:pt x="108" y="41"/>
                  <a:pt x="108" y="65"/>
                </a:cubicBezTo>
                <a:cubicBezTo>
                  <a:pt x="108" y="81"/>
                  <a:pt x="98" y="96"/>
                  <a:pt x="84" y="102"/>
                </a:cubicBezTo>
                <a:moveTo>
                  <a:pt x="75" y="82"/>
                </a:moveTo>
                <a:cubicBezTo>
                  <a:pt x="81" y="78"/>
                  <a:pt x="85" y="72"/>
                  <a:pt x="85" y="65"/>
                </a:cubicBezTo>
                <a:cubicBezTo>
                  <a:pt x="85" y="54"/>
                  <a:pt x="76" y="45"/>
                  <a:pt x="66" y="45"/>
                </a:cubicBezTo>
                <a:cubicBezTo>
                  <a:pt x="55" y="45"/>
                  <a:pt x="46" y="54"/>
                  <a:pt x="46" y="65"/>
                </a:cubicBezTo>
                <a:cubicBezTo>
                  <a:pt x="46" y="72"/>
                  <a:pt x="50" y="78"/>
                  <a:pt x="56" y="82"/>
                </a:cubicBezTo>
                <a:moveTo>
                  <a:pt x="65" y="192"/>
                </a:moveTo>
                <a:cubicBezTo>
                  <a:pt x="19" y="192"/>
                  <a:pt x="19" y="192"/>
                  <a:pt x="19" y="192"/>
                </a:cubicBezTo>
                <a:cubicBezTo>
                  <a:pt x="66" y="89"/>
                  <a:pt x="66" y="89"/>
                  <a:pt x="66" y="89"/>
                </a:cubicBezTo>
                <a:cubicBezTo>
                  <a:pt x="112" y="192"/>
                  <a:pt x="112" y="192"/>
                  <a:pt x="112" y="19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743"/>
          <p:cNvSpPr>
            <a:spLocks noChangeAspect="1" noEditPoints="1"/>
          </p:cNvSpPr>
          <p:nvPr/>
        </p:nvSpPr>
        <p:spPr bwMode="auto">
          <a:xfrm>
            <a:off x="10273297" y="1672907"/>
            <a:ext cx="382500" cy="540000"/>
          </a:xfrm>
          <a:custGeom>
            <a:avLst/>
            <a:gdLst/>
            <a:ahLst/>
            <a:cxnLst>
              <a:cxn ang="0">
                <a:pos x="42" y="114"/>
              </a:cxn>
              <a:cxn ang="0">
                <a:pos x="42" y="101"/>
              </a:cxn>
              <a:cxn ang="0">
                <a:pos x="60" y="82"/>
              </a:cxn>
              <a:cxn ang="0">
                <a:pos x="78" y="101"/>
              </a:cxn>
              <a:cxn ang="0">
                <a:pos x="78" y="114"/>
              </a:cxn>
              <a:cxn ang="0">
                <a:pos x="47" y="153"/>
              </a:cxn>
              <a:cxn ang="0">
                <a:pos x="88" y="153"/>
              </a:cxn>
              <a:cxn ang="0">
                <a:pos x="88" y="114"/>
              </a:cxn>
              <a:cxn ang="0">
                <a:pos x="32" y="114"/>
              </a:cxn>
              <a:cxn ang="0">
                <a:pos x="32" y="170"/>
              </a:cxn>
              <a:cxn ang="0">
                <a:pos x="121" y="163"/>
              </a:cxn>
              <a:cxn ang="0">
                <a:pos x="74" y="69"/>
              </a:cxn>
              <a:cxn ang="0">
                <a:pos x="90" y="37"/>
              </a:cxn>
              <a:cxn ang="0">
                <a:pos x="60" y="0"/>
              </a:cxn>
              <a:cxn ang="0">
                <a:pos x="30" y="37"/>
              </a:cxn>
              <a:cxn ang="0">
                <a:pos x="47" y="69"/>
              </a:cxn>
              <a:cxn ang="0">
                <a:pos x="0" y="163"/>
              </a:cxn>
            </a:cxnLst>
            <a:rect l="0" t="0" r="r" b="b"/>
            <a:pathLst>
              <a:path w="121" h="172">
                <a:moveTo>
                  <a:pt x="42" y="114"/>
                </a:moveTo>
                <a:cubicBezTo>
                  <a:pt x="42" y="101"/>
                  <a:pt x="42" y="101"/>
                  <a:pt x="42" y="101"/>
                </a:cubicBezTo>
                <a:cubicBezTo>
                  <a:pt x="42" y="91"/>
                  <a:pt x="50" y="82"/>
                  <a:pt x="60" y="82"/>
                </a:cubicBezTo>
                <a:cubicBezTo>
                  <a:pt x="70" y="82"/>
                  <a:pt x="78" y="91"/>
                  <a:pt x="78" y="101"/>
                </a:cubicBezTo>
                <a:cubicBezTo>
                  <a:pt x="78" y="114"/>
                  <a:pt x="78" y="114"/>
                  <a:pt x="78" y="114"/>
                </a:cubicBezTo>
                <a:moveTo>
                  <a:pt x="47" y="153"/>
                </a:moveTo>
                <a:cubicBezTo>
                  <a:pt x="88" y="153"/>
                  <a:pt x="88" y="153"/>
                  <a:pt x="88" y="153"/>
                </a:cubicBezTo>
                <a:cubicBezTo>
                  <a:pt x="88" y="114"/>
                  <a:pt x="88" y="114"/>
                  <a:pt x="88" y="114"/>
                </a:cubicBezTo>
                <a:cubicBezTo>
                  <a:pt x="32" y="114"/>
                  <a:pt x="32" y="114"/>
                  <a:pt x="32" y="114"/>
                </a:cubicBezTo>
                <a:cubicBezTo>
                  <a:pt x="32" y="170"/>
                  <a:pt x="32" y="170"/>
                  <a:pt x="32" y="170"/>
                </a:cubicBezTo>
                <a:cubicBezTo>
                  <a:pt x="68" y="172"/>
                  <a:pt x="121" y="169"/>
                  <a:pt x="121" y="163"/>
                </a:cubicBezTo>
                <a:cubicBezTo>
                  <a:pt x="121" y="118"/>
                  <a:pt x="109" y="79"/>
                  <a:pt x="74" y="69"/>
                </a:cubicBezTo>
                <a:cubicBezTo>
                  <a:pt x="81" y="62"/>
                  <a:pt x="90" y="49"/>
                  <a:pt x="90" y="37"/>
                </a:cubicBezTo>
                <a:cubicBezTo>
                  <a:pt x="90" y="15"/>
                  <a:pt x="77" y="0"/>
                  <a:pt x="60" y="0"/>
                </a:cubicBezTo>
                <a:cubicBezTo>
                  <a:pt x="44" y="0"/>
                  <a:pt x="30" y="15"/>
                  <a:pt x="30" y="37"/>
                </a:cubicBezTo>
                <a:cubicBezTo>
                  <a:pt x="30" y="49"/>
                  <a:pt x="39" y="62"/>
                  <a:pt x="47" y="69"/>
                </a:cubicBezTo>
                <a:cubicBezTo>
                  <a:pt x="11" y="79"/>
                  <a:pt x="0" y="118"/>
                  <a:pt x="0" y="16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7" name="ZoneTexte 396"/>
          <p:cNvSpPr txBox="1"/>
          <p:nvPr/>
        </p:nvSpPr>
        <p:spPr>
          <a:xfrm>
            <a:off x="8224130" y="2236489"/>
            <a:ext cx="867793" cy="254067"/>
          </a:xfrm>
          <a:prstGeom prst="rect">
            <a:avLst/>
          </a:prstGeom>
          <a:noFill/>
        </p:spPr>
        <p:txBody>
          <a:bodyPr wrap="square" lIns="83969" tIns="41985" rIns="83969" bIns="41985" rtlCol="0">
            <a:spAutoFit/>
          </a:bodyPr>
          <a:lstStyle/>
          <a:p>
            <a:pPr algn="ctr"/>
            <a:r>
              <a:rPr lang="en-US" sz="1100">
                <a:solidFill>
                  <a:srgbClr val="494949"/>
                </a:solidFill>
              </a:rPr>
              <a:t>Telecom 3</a:t>
            </a:r>
          </a:p>
        </p:txBody>
      </p:sp>
      <p:sp>
        <p:nvSpPr>
          <p:cNvPr id="398" name="Freeform 677"/>
          <p:cNvSpPr>
            <a:spLocks noChangeAspect="1"/>
          </p:cNvSpPr>
          <p:nvPr/>
        </p:nvSpPr>
        <p:spPr bwMode="auto">
          <a:xfrm>
            <a:off x="1445058" y="2907017"/>
            <a:ext cx="540000" cy="607500"/>
          </a:xfrm>
          <a:custGeom>
            <a:avLst/>
            <a:gdLst/>
            <a:ahLst/>
            <a:cxnLst>
              <a:cxn ang="0">
                <a:pos x="102" y="144"/>
              </a:cxn>
              <a:cxn ang="0">
                <a:pos x="0" y="144"/>
              </a:cxn>
              <a:cxn ang="0">
                <a:pos x="0" y="57"/>
              </a:cxn>
              <a:cxn ang="0">
                <a:pos x="33" y="91"/>
              </a:cxn>
              <a:cxn ang="0">
                <a:pos x="33" y="57"/>
              </a:cxn>
              <a:cxn ang="0">
                <a:pos x="68" y="91"/>
              </a:cxn>
              <a:cxn ang="0">
                <a:pos x="68" y="57"/>
              </a:cxn>
              <a:cxn ang="0">
                <a:pos x="101" y="91"/>
              </a:cxn>
              <a:cxn ang="0">
                <a:pos x="112" y="0"/>
              </a:cxn>
              <a:cxn ang="0">
                <a:pos x="128" y="0"/>
              </a:cxn>
              <a:cxn ang="0">
                <a:pos x="128" y="144"/>
              </a:cxn>
            </a:cxnLst>
            <a:rect l="0" t="0" r="r" b="b"/>
            <a:pathLst>
              <a:path w="128" h="144">
                <a:moveTo>
                  <a:pt x="102" y="144"/>
                </a:moveTo>
                <a:lnTo>
                  <a:pt x="0" y="144"/>
                </a:lnTo>
                <a:lnTo>
                  <a:pt x="0" y="57"/>
                </a:lnTo>
                <a:lnTo>
                  <a:pt x="33" y="91"/>
                </a:lnTo>
                <a:lnTo>
                  <a:pt x="33" y="57"/>
                </a:lnTo>
                <a:lnTo>
                  <a:pt x="68" y="91"/>
                </a:lnTo>
                <a:lnTo>
                  <a:pt x="68" y="57"/>
                </a:lnTo>
                <a:lnTo>
                  <a:pt x="101" y="91"/>
                </a:lnTo>
                <a:lnTo>
                  <a:pt x="112" y="0"/>
                </a:lnTo>
                <a:lnTo>
                  <a:pt x="128" y="0"/>
                </a:lnTo>
                <a:lnTo>
                  <a:pt x="128" y="144"/>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641"/>
          <p:cNvSpPr>
            <a:spLocks noChangeAspect="1" noEditPoints="1"/>
          </p:cNvSpPr>
          <p:nvPr/>
        </p:nvSpPr>
        <p:spPr bwMode="auto">
          <a:xfrm>
            <a:off x="4723317" y="2928492"/>
            <a:ext cx="566432" cy="540000"/>
          </a:xfrm>
          <a:custGeom>
            <a:avLst/>
            <a:gdLst/>
            <a:ahLst/>
            <a:cxnLst>
              <a:cxn ang="0">
                <a:pos x="145" y="48"/>
              </a:cxn>
              <a:cxn ang="0">
                <a:pos x="145" y="0"/>
              </a:cxn>
              <a:cxn ang="0">
                <a:pos x="128" y="2"/>
              </a:cxn>
              <a:cxn ang="0">
                <a:pos x="74" y="24"/>
              </a:cxn>
              <a:cxn ang="0">
                <a:pos x="69" y="38"/>
              </a:cxn>
              <a:cxn ang="0">
                <a:pos x="102" y="48"/>
              </a:cxn>
              <a:cxn ang="0">
                <a:pos x="133" y="67"/>
              </a:cxn>
              <a:cxn ang="0">
                <a:pos x="145" y="57"/>
              </a:cxn>
              <a:cxn ang="0">
                <a:pos x="173" y="57"/>
              </a:cxn>
              <a:cxn ang="0">
                <a:pos x="173" y="48"/>
              </a:cxn>
              <a:cxn ang="0">
                <a:pos x="145" y="10"/>
              </a:cxn>
              <a:cxn ang="0">
                <a:pos x="178" y="15"/>
              </a:cxn>
              <a:cxn ang="0">
                <a:pos x="145" y="19"/>
              </a:cxn>
              <a:cxn ang="0">
                <a:pos x="130" y="142"/>
              </a:cxn>
              <a:cxn ang="0">
                <a:pos x="135" y="132"/>
              </a:cxn>
              <a:cxn ang="0">
                <a:pos x="140" y="142"/>
              </a:cxn>
              <a:cxn ang="0">
                <a:pos x="52" y="142"/>
              </a:cxn>
              <a:cxn ang="0">
                <a:pos x="57" y="132"/>
              </a:cxn>
              <a:cxn ang="0">
                <a:pos x="62" y="142"/>
              </a:cxn>
              <a:cxn ang="0">
                <a:pos x="144" y="119"/>
              </a:cxn>
              <a:cxn ang="0">
                <a:pos x="143" y="110"/>
              </a:cxn>
              <a:cxn ang="0">
                <a:pos x="50" y="118"/>
              </a:cxn>
              <a:cxn ang="0">
                <a:pos x="41" y="144"/>
              </a:cxn>
              <a:cxn ang="0">
                <a:pos x="144" y="156"/>
              </a:cxn>
              <a:cxn ang="0">
                <a:pos x="139" y="170"/>
              </a:cxn>
              <a:cxn ang="0">
                <a:pos x="125" y="166"/>
              </a:cxn>
              <a:cxn ang="0">
                <a:pos x="69" y="156"/>
              </a:cxn>
              <a:cxn ang="0">
                <a:pos x="64" y="170"/>
              </a:cxn>
              <a:cxn ang="0">
                <a:pos x="50" y="165"/>
              </a:cxn>
              <a:cxn ang="0">
                <a:pos x="69" y="28"/>
              </a:cxn>
              <a:cxn ang="0">
                <a:pos x="0" y="90"/>
              </a:cxn>
              <a:cxn ang="0">
                <a:pos x="41" y="144"/>
              </a:cxn>
              <a:cxn ang="0">
                <a:pos x="17" y="117"/>
              </a:cxn>
              <a:cxn ang="0">
                <a:pos x="26" y="52"/>
              </a:cxn>
            </a:cxnLst>
            <a:rect l="0" t="0" r="r" b="b"/>
            <a:pathLst>
              <a:path w="178" h="170">
                <a:moveTo>
                  <a:pt x="145" y="19"/>
                </a:moveTo>
                <a:cubicBezTo>
                  <a:pt x="145" y="48"/>
                  <a:pt x="145" y="48"/>
                  <a:pt x="145" y="48"/>
                </a:cubicBezTo>
                <a:moveTo>
                  <a:pt x="145" y="10"/>
                </a:moveTo>
                <a:cubicBezTo>
                  <a:pt x="145" y="0"/>
                  <a:pt x="145" y="0"/>
                  <a:pt x="145" y="0"/>
                </a:cubicBezTo>
                <a:cubicBezTo>
                  <a:pt x="133" y="0"/>
                  <a:pt x="133" y="0"/>
                  <a:pt x="133" y="0"/>
                </a:cubicBezTo>
                <a:cubicBezTo>
                  <a:pt x="131" y="0"/>
                  <a:pt x="130" y="1"/>
                  <a:pt x="128" y="2"/>
                </a:cubicBezTo>
                <a:cubicBezTo>
                  <a:pt x="102" y="19"/>
                  <a:pt x="102" y="19"/>
                  <a:pt x="102" y="19"/>
                </a:cubicBezTo>
                <a:cubicBezTo>
                  <a:pt x="74" y="24"/>
                  <a:pt x="74" y="24"/>
                  <a:pt x="74" y="24"/>
                </a:cubicBezTo>
                <a:cubicBezTo>
                  <a:pt x="71" y="24"/>
                  <a:pt x="69" y="26"/>
                  <a:pt x="69" y="29"/>
                </a:cubicBezTo>
                <a:moveTo>
                  <a:pt x="69" y="38"/>
                </a:moveTo>
                <a:cubicBezTo>
                  <a:pt x="69" y="41"/>
                  <a:pt x="71" y="42"/>
                  <a:pt x="74" y="43"/>
                </a:cubicBezTo>
                <a:cubicBezTo>
                  <a:pt x="102" y="48"/>
                  <a:pt x="102" y="48"/>
                  <a:pt x="102" y="48"/>
                </a:cubicBezTo>
                <a:cubicBezTo>
                  <a:pt x="128" y="65"/>
                  <a:pt x="128" y="65"/>
                  <a:pt x="128" y="65"/>
                </a:cubicBezTo>
                <a:cubicBezTo>
                  <a:pt x="130" y="66"/>
                  <a:pt x="131" y="67"/>
                  <a:pt x="133" y="67"/>
                </a:cubicBezTo>
                <a:cubicBezTo>
                  <a:pt x="145" y="67"/>
                  <a:pt x="145" y="67"/>
                  <a:pt x="145" y="67"/>
                </a:cubicBezTo>
                <a:cubicBezTo>
                  <a:pt x="145" y="57"/>
                  <a:pt x="145" y="57"/>
                  <a:pt x="145" y="57"/>
                </a:cubicBezTo>
                <a:moveTo>
                  <a:pt x="145" y="57"/>
                </a:moveTo>
                <a:cubicBezTo>
                  <a:pt x="173" y="57"/>
                  <a:pt x="173" y="57"/>
                  <a:pt x="173" y="57"/>
                </a:cubicBezTo>
                <a:cubicBezTo>
                  <a:pt x="176" y="57"/>
                  <a:pt x="178" y="55"/>
                  <a:pt x="178" y="52"/>
                </a:cubicBezTo>
                <a:cubicBezTo>
                  <a:pt x="178" y="50"/>
                  <a:pt x="176" y="48"/>
                  <a:pt x="173" y="48"/>
                </a:cubicBezTo>
                <a:cubicBezTo>
                  <a:pt x="145" y="48"/>
                  <a:pt x="145" y="48"/>
                  <a:pt x="145" y="48"/>
                </a:cubicBezTo>
                <a:moveTo>
                  <a:pt x="145" y="10"/>
                </a:moveTo>
                <a:cubicBezTo>
                  <a:pt x="173" y="10"/>
                  <a:pt x="173" y="10"/>
                  <a:pt x="173" y="10"/>
                </a:cubicBezTo>
                <a:cubicBezTo>
                  <a:pt x="176" y="10"/>
                  <a:pt x="178" y="12"/>
                  <a:pt x="178" y="15"/>
                </a:cubicBezTo>
                <a:cubicBezTo>
                  <a:pt x="178" y="17"/>
                  <a:pt x="176" y="19"/>
                  <a:pt x="173" y="19"/>
                </a:cubicBezTo>
                <a:cubicBezTo>
                  <a:pt x="145" y="19"/>
                  <a:pt x="145" y="19"/>
                  <a:pt x="145" y="19"/>
                </a:cubicBezTo>
                <a:moveTo>
                  <a:pt x="140" y="142"/>
                </a:moveTo>
                <a:cubicBezTo>
                  <a:pt x="130" y="142"/>
                  <a:pt x="130" y="142"/>
                  <a:pt x="130" y="142"/>
                </a:cubicBezTo>
                <a:cubicBezTo>
                  <a:pt x="126" y="142"/>
                  <a:pt x="125" y="141"/>
                  <a:pt x="125" y="139"/>
                </a:cubicBezTo>
                <a:cubicBezTo>
                  <a:pt x="125" y="136"/>
                  <a:pt x="130" y="132"/>
                  <a:pt x="135" y="132"/>
                </a:cubicBezTo>
                <a:cubicBezTo>
                  <a:pt x="140" y="132"/>
                  <a:pt x="140" y="132"/>
                  <a:pt x="140" y="132"/>
                </a:cubicBezTo>
                <a:cubicBezTo>
                  <a:pt x="147" y="132"/>
                  <a:pt x="147" y="143"/>
                  <a:pt x="140" y="142"/>
                </a:cubicBezTo>
                <a:close/>
                <a:moveTo>
                  <a:pt x="62" y="142"/>
                </a:moveTo>
                <a:cubicBezTo>
                  <a:pt x="52" y="142"/>
                  <a:pt x="52" y="142"/>
                  <a:pt x="52" y="142"/>
                </a:cubicBezTo>
                <a:cubicBezTo>
                  <a:pt x="45" y="142"/>
                  <a:pt x="45" y="132"/>
                  <a:pt x="52" y="132"/>
                </a:cubicBezTo>
                <a:cubicBezTo>
                  <a:pt x="57" y="132"/>
                  <a:pt x="57" y="132"/>
                  <a:pt x="57" y="132"/>
                </a:cubicBezTo>
                <a:cubicBezTo>
                  <a:pt x="62" y="132"/>
                  <a:pt x="67" y="136"/>
                  <a:pt x="67" y="139"/>
                </a:cubicBezTo>
                <a:cubicBezTo>
                  <a:pt x="67" y="141"/>
                  <a:pt x="66" y="142"/>
                  <a:pt x="62" y="142"/>
                </a:cubicBezTo>
                <a:close/>
                <a:moveTo>
                  <a:pt x="144" y="156"/>
                </a:moveTo>
                <a:cubicBezTo>
                  <a:pt x="157" y="156"/>
                  <a:pt x="157" y="119"/>
                  <a:pt x="144" y="119"/>
                </a:cubicBezTo>
                <a:cubicBezTo>
                  <a:pt x="64" y="119"/>
                  <a:pt x="64" y="119"/>
                  <a:pt x="64" y="119"/>
                </a:cubicBezTo>
                <a:moveTo>
                  <a:pt x="143" y="110"/>
                </a:moveTo>
                <a:cubicBezTo>
                  <a:pt x="137" y="90"/>
                  <a:pt x="126" y="85"/>
                  <a:pt x="97" y="85"/>
                </a:cubicBezTo>
                <a:cubicBezTo>
                  <a:pt x="65" y="85"/>
                  <a:pt x="55" y="91"/>
                  <a:pt x="50" y="118"/>
                </a:cubicBezTo>
                <a:cubicBezTo>
                  <a:pt x="45" y="118"/>
                  <a:pt x="42" y="123"/>
                  <a:pt x="41" y="130"/>
                </a:cubicBezTo>
                <a:moveTo>
                  <a:pt x="41" y="144"/>
                </a:moveTo>
                <a:cubicBezTo>
                  <a:pt x="42" y="151"/>
                  <a:pt x="45" y="156"/>
                  <a:pt x="50" y="156"/>
                </a:cubicBezTo>
                <a:moveTo>
                  <a:pt x="144" y="156"/>
                </a:moveTo>
                <a:cubicBezTo>
                  <a:pt x="144" y="166"/>
                  <a:pt x="144" y="166"/>
                  <a:pt x="144" y="166"/>
                </a:cubicBezTo>
                <a:cubicBezTo>
                  <a:pt x="144" y="168"/>
                  <a:pt x="142" y="170"/>
                  <a:pt x="139" y="170"/>
                </a:cubicBezTo>
                <a:cubicBezTo>
                  <a:pt x="130" y="170"/>
                  <a:pt x="130" y="170"/>
                  <a:pt x="130" y="170"/>
                </a:cubicBezTo>
                <a:cubicBezTo>
                  <a:pt x="127" y="170"/>
                  <a:pt x="125" y="168"/>
                  <a:pt x="125" y="166"/>
                </a:cubicBezTo>
                <a:cubicBezTo>
                  <a:pt x="125" y="156"/>
                  <a:pt x="125" y="156"/>
                  <a:pt x="125" y="156"/>
                </a:cubicBezTo>
                <a:cubicBezTo>
                  <a:pt x="69" y="156"/>
                  <a:pt x="69" y="156"/>
                  <a:pt x="69" y="156"/>
                </a:cubicBezTo>
                <a:cubicBezTo>
                  <a:pt x="68" y="165"/>
                  <a:pt x="68" y="165"/>
                  <a:pt x="68" y="165"/>
                </a:cubicBezTo>
                <a:cubicBezTo>
                  <a:pt x="68" y="168"/>
                  <a:pt x="66" y="170"/>
                  <a:pt x="64" y="170"/>
                </a:cubicBezTo>
                <a:cubicBezTo>
                  <a:pt x="54" y="170"/>
                  <a:pt x="54" y="170"/>
                  <a:pt x="54" y="170"/>
                </a:cubicBezTo>
                <a:cubicBezTo>
                  <a:pt x="52" y="170"/>
                  <a:pt x="50" y="168"/>
                  <a:pt x="50" y="165"/>
                </a:cubicBezTo>
                <a:cubicBezTo>
                  <a:pt x="50" y="156"/>
                  <a:pt x="50" y="156"/>
                  <a:pt x="50" y="156"/>
                </a:cubicBezTo>
                <a:moveTo>
                  <a:pt x="69" y="28"/>
                </a:moveTo>
                <a:cubicBezTo>
                  <a:pt x="51" y="28"/>
                  <a:pt x="32" y="34"/>
                  <a:pt x="19" y="45"/>
                </a:cubicBezTo>
                <a:cubicBezTo>
                  <a:pt x="8" y="55"/>
                  <a:pt x="1" y="70"/>
                  <a:pt x="0" y="90"/>
                </a:cubicBezTo>
                <a:cubicBezTo>
                  <a:pt x="0" y="102"/>
                  <a:pt x="4" y="113"/>
                  <a:pt x="10" y="122"/>
                </a:cubicBezTo>
                <a:cubicBezTo>
                  <a:pt x="15" y="131"/>
                  <a:pt x="27" y="140"/>
                  <a:pt x="41" y="144"/>
                </a:cubicBezTo>
                <a:moveTo>
                  <a:pt x="41" y="130"/>
                </a:moveTo>
                <a:cubicBezTo>
                  <a:pt x="32" y="130"/>
                  <a:pt x="22" y="124"/>
                  <a:pt x="17" y="117"/>
                </a:cubicBezTo>
                <a:cubicBezTo>
                  <a:pt x="13" y="109"/>
                  <a:pt x="10" y="100"/>
                  <a:pt x="10" y="90"/>
                </a:cubicBezTo>
                <a:cubicBezTo>
                  <a:pt x="10" y="73"/>
                  <a:pt x="16" y="61"/>
                  <a:pt x="26" y="52"/>
                </a:cubicBezTo>
                <a:cubicBezTo>
                  <a:pt x="37" y="42"/>
                  <a:pt x="53" y="38"/>
                  <a:pt x="69" y="3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642"/>
          <p:cNvSpPr>
            <a:spLocks noChangeAspect="1" noEditPoints="1"/>
          </p:cNvSpPr>
          <p:nvPr/>
        </p:nvSpPr>
        <p:spPr bwMode="auto">
          <a:xfrm>
            <a:off x="6210464" y="2924415"/>
            <a:ext cx="322105" cy="540000"/>
          </a:xfrm>
          <a:custGeom>
            <a:avLst/>
            <a:gdLst/>
            <a:ahLst/>
            <a:cxnLst>
              <a:cxn ang="0">
                <a:pos x="49" y="35"/>
              </a:cxn>
              <a:cxn ang="0">
                <a:pos x="38" y="35"/>
              </a:cxn>
              <a:cxn ang="0">
                <a:pos x="60" y="0"/>
              </a:cxn>
              <a:cxn ang="0">
                <a:pos x="80" y="30"/>
              </a:cxn>
              <a:cxn ang="0">
                <a:pos x="72" y="38"/>
              </a:cxn>
              <a:cxn ang="0">
                <a:pos x="48" y="56"/>
              </a:cxn>
              <a:cxn ang="0">
                <a:pos x="74" y="73"/>
              </a:cxn>
              <a:cxn ang="0">
                <a:pos x="43" y="97"/>
              </a:cxn>
              <a:cxn ang="0">
                <a:pos x="75" y="53"/>
              </a:cxn>
              <a:cxn ang="0">
                <a:pos x="94" y="52"/>
              </a:cxn>
              <a:cxn ang="0">
                <a:pos x="75" y="43"/>
              </a:cxn>
              <a:cxn ang="0">
                <a:pos x="84" y="109"/>
              </a:cxn>
              <a:cxn ang="0">
                <a:pos x="122" y="122"/>
              </a:cxn>
              <a:cxn ang="0">
                <a:pos x="85" y="122"/>
              </a:cxn>
              <a:cxn ang="0">
                <a:pos x="86" y="133"/>
              </a:cxn>
              <a:cxn ang="0">
                <a:pos x="120" y="150"/>
              </a:cxn>
              <a:cxn ang="0">
                <a:pos x="88" y="151"/>
              </a:cxn>
              <a:cxn ang="0">
                <a:pos x="47" y="53"/>
              </a:cxn>
              <a:cxn ang="0">
                <a:pos x="28" y="52"/>
              </a:cxn>
              <a:cxn ang="0">
                <a:pos x="48" y="43"/>
              </a:cxn>
              <a:cxn ang="0">
                <a:pos x="73" y="36"/>
              </a:cxn>
              <a:cxn ang="0">
                <a:pos x="91" y="196"/>
              </a:cxn>
              <a:cxn ang="0">
                <a:pos x="93" y="204"/>
              </a:cxn>
              <a:cxn ang="0">
                <a:pos x="29" y="204"/>
              </a:cxn>
              <a:cxn ang="0">
                <a:pos x="30" y="196"/>
              </a:cxn>
              <a:cxn ang="0">
                <a:pos x="49" y="36"/>
              </a:cxn>
              <a:cxn ang="0">
                <a:pos x="38" y="109"/>
              </a:cxn>
              <a:cxn ang="0">
                <a:pos x="0" y="122"/>
              </a:cxn>
              <a:cxn ang="0">
                <a:pos x="38" y="122"/>
              </a:cxn>
              <a:cxn ang="0">
                <a:pos x="37" y="135"/>
              </a:cxn>
              <a:cxn ang="0">
                <a:pos x="3" y="153"/>
              </a:cxn>
              <a:cxn ang="0">
                <a:pos x="34" y="153"/>
              </a:cxn>
              <a:cxn ang="0">
                <a:pos x="79" y="99"/>
              </a:cxn>
              <a:cxn ang="0">
                <a:pos x="42" y="124"/>
              </a:cxn>
              <a:cxn ang="0">
                <a:pos x="86" y="156"/>
              </a:cxn>
              <a:cxn ang="0">
                <a:pos x="34" y="188"/>
              </a:cxn>
            </a:cxnLst>
            <a:rect l="0" t="0" r="r" b="b"/>
            <a:pathLst>
              <a:path w="122" h="204">
                <a:moveTo>
                  <a:pt x="49" y="35"/>
                </a:moveTo>
                <a:cubicBezTo>
                  <a:pt x="38" y="35"/>
                  <a:pt x="38" y="35"/>
                  <a:pt x="38" y="35"/>
                </a:cubicBezTo>
                <a:cubicBezTo>
                  <a:pt x="60" y="0"/>
                  <a:pt x="60" y="0"/>
                  <a:pt x="60" y="0"/>
                </a:cubicBezTo>
                <a:cubicBezTo>
                  <a:pt x="80" y="30"/>
                  <a:pt x="80" y="30"/>
                  <a:pt x="80" y="30"/>
                </a:cubicBezTo>
                <a:moveTo>
                  <a:pt x="72" y="38"/>
                </a:moveTo>
                <a:cubicBezTo>
                  <a:pt x="70" y="39"/>
                  <a:pt x="48" y="56"/>
                  <a:pt x="48" y="56"/>
                </a:cubicBezTo>
                <a:cubicBezTo>
                  <a:pt x="74" y="73"/>
                  <a:pt x="74" y="73"/>
                  <a:pt x="74" y="73"/>
                </a:cubicBezTo>
                <a:cubicBezTo>
                  <a:pt x="43" y="97"/>
                  <a:pt x="43" y="97"/>
                  <a:pt x="43" y="97"/>
                </a:cubicBezTo>
                <a:moveTo>
                  <a:pt x="75" y="53"/>
                </a:moveTo>
                <a:cubicBezTo>
                  <a:pt x="94" y="52"/>
                  <a:pt x="94" y="52"/>
                  <a:pt x="94" y="52"/>
                </a:cubicBezTo>
                <a:cubicBezTo>
                  <a:pt x="75" y="43"/>
                  <a:pt x="75" y="43"/>
                  <a:pt x="75" y="43"/>
                </a:cubicBezTo>
                <a:moveTo>
                  <a:pt x="84" y="109"/>
                </a:moveTo>
                <a:cubicBezTo>
                  <a:pt x="122" y="122"/>
                  <a:pt x="122" y="122"/>
                  <a:pt x="122" y="122"/>
                </a:cubicBezTo>
                <a:cubicBezTo>
                  <a:pt x="85" y="122"/>
                  <a:pt x="85" y="122"/>
                  <a:pt x="85" y="122"/>
                </a:cubicBezTo>
                <a:moveTo>
                  <a:pt x="86" y="133"/>
                </a:moveTo>
                <a:cubicBezTo>
                  <a:pt x="120" y="150"/>
                  <a:pt x="120" y="150"/>
                  <a:pt x="120" y="150"/>
                </a:cubicBezTo>
                <a:cubicBezTo>
                  <a:pt x="88" y="151"/>
                  <a:pt x="88" y="151"/>
                  <a:pt x="88" y="151"/>
                </a:cubicBezTo>
                <a:moveTo>
                  <a:pt x="47" y="53"/>
                </a:moveTo>
                <a:cubicBezTo>
                  <a:pt x="28" y="52"/>
                  <a:pt x="28" y="52"/>
                  <a:pt x="28" y="52"/>
                </a:cubicBezTo>
                <a:cubicBezTo>
                  <a:pt x="48" y="43"/>
                  <a:pt x="48" y="43"/>
                  <a:pt x="48" y="43"/>
                </a:cubicBezTo>
                <a:moveTo>
                  <a:pt x="73" y="36"/>
                </a:moveTo>
                <a:cubicBezTo>
                  <a:pt x="91" y="196"/>
                  <a:pt x="91" y="196"/>
                  <a:pt x="91" y="196"/>
                </a:cubicBezTo>
                <a:cubicBezTo>
                  <a:pt x="93" y="204"/>
                  <a:pt x="93" y="204"/>
                  <a:pt x="93" y="204"/>
                </a:cubicBezTo>
                <a:moveTo>
                  <a:pt x="29" y="204"/>
                </a:moveTo>
                <a:cubicBezTo>
                  <a:pt x="30" y="196"/>
                  <a:pt x="30" y="196"/>
                  <a:pt x="30" y="196"/>
                </a:cubicBezTo>
                <a:cubicBezTo>
                  <a:pt x="49" y="36"/>
                  <a:pt x="49" y="36"/>
                  <a:pt x="49" y="36"/>
                </a:cubicBezTo>
                <a:moveTo>
                  <a:pt x="38" y="109"/>
                </a:moveTo>
                <a:cubicBezTo>
                  <a:pt x="0" y="122"/>
                  <a:pt x="0" y="122"/>
                  <a:pt x="0" y="122"/>
                </a:cubicBezTo>
                <a:cubicBezTo>
                  <a:pt x="38" y="122"/>
                  <a:pt x="38" y="122"/>
                  <a:pt x="38" y="122"/>
                </a:cubicBezTo>
                <a:moveTo>
                  <a:pt x="37" y="135"/>
                </a:moveTo>
                <a:cubicBezTo>
                  <a:pt x="3" y="153"/>
                  <a:pt x="3" y="153"/>
                  <a:pt x="3" y="153"/>
                </a:cubicBezTo>
                <a:cubicBezTo>
                  <a:pt x="34" y="153"/>
                  <a:pt x="34" y="153"/>
                  <a:pt x="34" y="153"/>
                </a:cubicBezTo>
                <a:moveTo>
                  <a:pt x="79" y="99"/>
                </a:moveTo>
                <a:cubicBezTo>
                  <a:pt x="42" y="124"/>
                  <a:pt x="42" y="124"/>
                  <a:pt x="42" y="124"/>
                </a:cubicBezTo>
                <a:cubicBezTo>
                  <a:pt x="86" y="156"/>
                  <a:pt x="86" y="156"/>
                  <a:pt x="86" y="156"/>
                </a:cubicBezTo>
                <a:cubicBezTo>
                  <a:pt x="34" y="188"/>
                  <a:pt x="34" y="188"/>
                  <a:pt x="34" y="18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1" name="Freeform 643"/>
          <p:cNvSpPr>
            <a:spLocks noChangeAspect="1"/>
          </p:cNvSpPr>
          <p:nvPr/>
        </p:nvSpPr>
        <p:spPr bwMode="auto">
          <a:xfrm>
            <a:off x="8788931" y="2930080"/>
            <a:ext cx="322500" cy="540000"/>
          </a:xfrm>
          <a:custGeom>
            <a:avLst/>
            <a:gdLst/>
            <a:ahLst/>
            <a:cxnLst>
              <a:cxn ang="0">
                <a:pos x="91" y="151"/>
              </a:cxn>
              <a:cxn ang="0">
                <a:pos x="91" y="98"/>
              </a:cxn>
              <a:cxn ang="0">
                <a:pos x="90" y="95"/>
              </a:cxn>
              <a:cxn ang="0">
                <a:pos x="72" y="11"/>
              </a:cxn>
              <a:cxn ang="0">
                <a:pos x="74" y="0"/>
              </a:cxn>
              <a:cxn ang="0">
                <a:pos x="62" y="21"/>
              </a:cxn>
              <a:cxn ang="0">
                <a:pos x="54" y="62"/>
              </a:cxn>
              <a:cxn ang="0">
                <a:pos x="53" y="79"/>
              </a:cxn>
              <a:cxn ang="0">
                <a:pos x="35" y="103"/>
              </a:cxn>
              <a:cxn ang="0">
                <a:pos x="21" y="83"/>
              </a:cxn>
              <a:cxn ang="0">
                <a:pos x="17" y="148"/>
              </a:cxn>
              <a:cxn ang="0">
                <a:pos x="58" y="170"/>
              </a:cxn>
              <a:cxn ang="0">
                <a:pos x="58" y="170"/>
              </a:cxn>
            </a:cxnLst>
            <a:rect l="0" t="0" r="r" b="b"/>
            <a:pathLst>
              <a:path w="102" h="170">
                <a:moveTo>
                  <a:pt x="91" y="151"/>
                </a:moveTo>
                <a:cubicBezTo>
                  <a:pt x="102" y="134"/>
                  <a:pt x="95" y="110"/>
                  <a:pt x="91" y="98"/>
                </a:cubicBezTo>
                <a:cubicBezTo>
                  <a:pt x="90" y="95"/>
                  <a:pt x="90" y="95"/>
                  <a:pt x="90" y="95"/>
                </a:cubicBezTo>
                <a:cubicBezTo>
                  <a:pt x="79" y="69"/>
                  <a:pt x="69" y="41"/>
                  <a:pt x="72" y="11"/>
                </a:cubicBezTo>
                <a:cubicBezTo>
                  <a:pt x="72" y="7"/>
                  <a:pt x="73" y="4"/>
                  <a:pt x="74" y="0"/>
                </a:cubicBezTo>
                <a:cubicBezTo>
                  <a:pt x="69" y="7"/>
                  <a:pt x="65" y="15"/>
                  <a:pt x="62" y="21"/>
                </a:cubicBezTo>
                <a:cubicBezTo>
                  <a:pt x="56" y="34"/>
                  <a:pt x="55" y="48"/>
                  <a:pt x="54" y="62"/>
                </a:cubicBezTo>
                <a:cubicBezTo>
                  <a:pt x="54" y="68"/>
                  <a:pt x="53" y="73"/>
                  <a:pt x="53" y="79"/>
                </a:cubicBezTo>
                <a:cubicBezTo>
                  <a:pt x="52" y="85"/>
                  <a:pt x="50" y="103"/>
                  <a:pt x="35" y="103"/>
                </a:cubicBezTo>
                <a:cubicBezTo>
                  <a:pt x="22" y="103"/>
                  <a:pt x="22" y="88"/>
                  <a:pt x="21" y="83"/>
                </a:cubicBezTo>
                <a:cubicBezTo>
                  <a:pt x="11" y="96"/>
                  <a:pt x="0" y="121"/>
                  <a:pt x="17" y="148"/>
                </a:cubicBezTo>
                <a:cubicBezTo>
                  <a:pt x="26" y="161"/>
                  <a:pt x="41" y="170"/>
                  <a:pt x="58" y="170"/>
                </a:cubicBezTo>
                <a:cubicBezTo>
                  <a:pt x="58" y="170"/>
                  <a:pt x="58" y="170"/>
                  <a:pt x="58" y="17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732"/>
          <p:cNvSpPr>
            <a:spLocks noChangeAspect="1" noEditPoints="1"/>
          </p:cNvSpPr>
          <p:nvPr/>
        </p:nvSpPr>
        <p:spPr bwMode="auto">
          <a:xfrm>
            <a:off x="2228826" y="2954235"/>
            <a:ext cx="653286" cy="540000"/>
          </a:xfrm>
          <a:custGeom>
            <a:avLst/>
            <a:gdLst/>
            <a:ahLst/>
            <a:cxnLst>
              <a:cxn ang="0">
                <a:pos x="158" y="118"/>
              </a:cxn>
              <a:cxn ang="0">
                <a:pos x="189" y="129"/>
              </a:cxn>
              <a:cxn ang="0">
                <a:pos x="160" y="96"/>
              </a:cxn>
              <a:cxn ang="0">
                <a:pos x="205" y="100"/>
              </a:cxn>
              <a:cxn ang="0">
                <a:pos x="159" y="75"/>
              </a:cxn>
              <a:cxn ang="0">
                <a:pos x="186" y="65"/>
              </a:cxn>
              <a:cxn ang="0">
                <a:pos x="64" y="149"/>
              </a:cxn>
              <a:cxn ang="0">
                <a:pos x="47" y="170"/>
              </a:cxn>
              <a:cxn ang="0">
                <a:pos x="54" y="133"/>
              </a:cxn>
              <a:cxn ang="0">
                <a:pos x="15" y="159"/>
              </a:cxn>
              <a:cxn ang="0">
                <a:pos x="43" y="114"/>
              </a:cxn>
              <a:cxn ang="0">
                <a:pos x="18" y="124"/>
              </a:cxn>
              <a:cxn ang="0">
                <a:pos x="0" y="92"/>
              </a:cxn>
              <a:cxn ang="0">
                <a:pos x="41" y="93"/>
              </a:cxn>
              <a:cxn ang="0">
                <a:pos x="20" y="61"/>
              </a:cxn>
              <a:cxn ang="0">
                <a:pos x="45" y="73"/>
              </a:cxn>
              <a:cxn ang="0">
                <a:pos x="29" y="26"/>
              </a:cxn>
              <a:cxn ang="0">
                <a:pos x="60" y="52"/>
              </a:cxn>
              <a:cxn ang="0">
                <a:pos x="70" y="20"/>
              </a:cxn>
              <a:cxn ang="0">
                <a:pos x="79" y="40"/>
              </a:cxn>
              <a:cxn ang="0">
                <a:pos x="143" y="55"/>
              </a:cxn>
              <a:cxn ang="0">
                <a:pos x="178" y="26"/>
              </a:cxn>
              <a:cxn ang="0">
                <a:pos x="125" y="44"/>
              </a:cxn>
              <a:cxn ang="0">
                <a:pos x="137" y="23"/>
              </a:cxn>
              <a:cxn ang="0">
                <a:pos x="101" y="37"/>
              </a:cxn>
              <a:cxn ang="0">
                <a:pos x="100" y="0"/>
              </a:cxn>
              <a:cxn ang="0">
                <a:pos x="122" y="148"/>
              </a:cxn>
              <a:cxn ang="0">
                <a:pos x="100" y="152"/>
              </a:cxn>
              <a:cxn ang="0">
                <a:pos x="46" y="98"/>
              </a:cxn>
              <a:cxn ang="0">
                <a:pos x="100" y="43"/>
              </a:cxn>
              <a:cxn ang="0">
                <a:pos x="155" y="98"/>
              </a:cxn>
              <a:cxn ang="0">
                <a:pos x="138" y="137"/>
              </a:cxn>
            </a:cxnLst>
            <a:rect l="0" t="0" r="r" b="b"/>
            <a:pathLst>
              <a:path w="205" h="170">
                <a:moveTo>
                  <a:pt x="158" y="118"/>
                </a:moveTo>
                <a:cubicBezTo>
                  <a:pt x="189" y="129"/>
                  <a:pt x="189" y="129"/>
                  <a:pt x="189" y="129"/>
                </a:cubicBezTo>
                <a:moveTo>
                  <a:pt x="160" y="96"/>
                </a:moveTo>
                <a:cubicBezTo>
                  <a:pt x="205" y="100"/>
                  <a:pt x="205" y="100"/>
                  <a:pt x="205" y="100"/>
                </a:cubicBezTo>
                <a:moveTo>
                  <a:pt x="159" y="75"/>
                </a:moveTo>
                <a:cubicBezTo>
                  <a:pt x="186" y="65"/>
                  <a:pt x="186" y="65"/>
                  <a:pt x="186" y="65"/>
                </a:cubicBezTo>
                <a:moveTo>
                  <a:pt x="64" y="149"/>
                </a:moveTo>
                <a:cubicBezTo>
                  <a:pt x="47" y="170"/>
                  <a:pt x="47" y="170"/>
                  <a:pt x="47" y="170"/>
                </a:cubicBezTo>
                <a:moveTo>
                  <a:pt x="54" y="133"/>
                </a:moveTo>
                <a:cubicBezTo>
                  <a:pt x="15" y="159"/>
                  <a:pt x="15" y="159"/>
                  <a:pt x="15" y="159"/>
                </a:cubicBezTo>
                <a:moveTo>
                  <a:pt x="43" y="114"/>
                </a:moveTo>
                <a:cubicBezTo>
                  <a:pt x="18" y="124"/>
                  <a:pt x="18" y="124"/>
                  <a:pt x="18" y="124"/>
                </a:cubicBezTo>
                <a:moveTo>
                  <a:pt x="0" y="92"/>
                </a:moveTo>
                <a:cubicBezTo>
                  <a:pt x="41" y="93"/>
                  <a:pt x="41" y="93"/>
                  <a:pt x="41" y="93"/>
                </a:cubicBezTo>
                <a:moveTo>
                  <a:pt x="20" y="61"/>
                </a:moveTo>
                <a:cubicBezTo>
                  <a:pt x="45" y="73"/>
                  <a:pt x="45" y="73"/>
                  <a:pt x="45" y="73"/>
                </a:cubicBezTo>
                <a:moveTo>
                  <a:pt x="29" y="26"/>
                </a:moveTo>
                <a:cubicBezTo>
                  <a:pt x="60" y="52"/>
                  <a:pt x="60" y="52"/>
                  <a:pt x="60" y="52"/>
                </a:cubicBezTo>
                <a:moveTo>
                  <a:pt x="70" y="20"/>
                </a:moveTo>
                <a:cubicBezTo>
                  <a:pt x="79" y="40"/>
                  <a:pt x="79" y="40"/>
                  <a:pt x="79" y="40"/>
                </a:cubicBezTo>
                <a:moveTo>
                  <a:pt x="143" y="55"/>
                </a:moveTo>
                <a:cubicBezTo>
                  <a:pt x="178" y="26"/>
                  <a:pt x="178" y="26"/>
                  <a:pt x="178" y="26"/>
                </a:cubicBezTo>
                <a:moveTo>
                  <a:pt x="125" y="44"/>
                </a:moveTo>
                <a:cubicBezTo>
                  <a:pt x="137" y="23"/>
                  <a:pt x="137" y="23"/>
                  <a:pt x="137" y="23"/>
                </a:cubicBezTo>
                <a:moveTo>
                  <a:pt x="101" y="37"/>
                </a:moveTo>
                <a:cubicBezTo>
                  <a:pt x="100" y="0"/>
                  <a:pt x="100" y="0"/>
                  <a:pt x="100" y="0"/>
                </a:cubicBezTo>
                <a:moveTo>
                  <a:pt x="122" y="148"/>
                </a:moveTo>
                <a:cubicBezTo>
                  <a:pt x="115" y="151"/>
                  <a:pt x="108" y="152"/>
                  <a:pt x="100" y="152"/>
                </a:cubicBezTo>
                <a:cubicBezTo>
                  <a:pt x="70" y="152"/>
                  <a:pt x="46" y="128"/>
                  <a:pt x="46" y="98"/>
                </a:cubicBezTo>
                <a:cubicBezTo>
                  <a:pt x="46" y="67"/>
                  <a:pt x="70" y="43"/>
                  <a:pt x="100" y="43"/>
                </a:cubicBezTo>
                <a:cubicBezTo>
                  <a:pt x="130" y="43"/>
                  <a:pt x="155" y="67"/>
                  <a:pt x="155" y="98"/>
                </a:cubicBezTo>
                <a:cubicBezTo>
                  <a:pt x="155" y="113"/>
                  <a:pt x="148" y="127"/>
                  <a:pt x="138"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3" name="Freeform 733"/>
          <p:cNvSpPr>
            <a:spLocks noChangeAspect="1" noEditPoints="1"/>
          </p:cNvSpPr>
          <p:nvPr/>
        </p:nvSpPr>
        <p:spPr bwMode="auto">
          <a:xfrm>
            <a:off x="3169856" y="3110624"/>
            <a:ext cx="540000" cy="320000"/>
          </a:xfrm>
          <a:custGeom>
            <a:avLst/>
            <a:gdLst/>
            <a:ahLst/>
            <a:cxnLst>
              <a:cxn ang="0">
                <a:pos x="11" y="67"/>
              </a:cxn>
              <a:cxn ang="0">
                <a:pos x="140" y="67"/>
              </a:cxn>
              <a:cxn ang="0">
                <a:pos x="21" y="34"/>
              </a:cxn>
              <a:cxn ang="0">
                <a:pos x="150" y="34"/>
              </a:cxn>
              <a:cxn ang="0">
                <a:pos x="119" y="2"/>
              </a:cxn>
              <a:cxn ang="0">
                <a:pos x="89" y="96"/>
              </a:cxn>
              <a:cxn ang="0">
                <a:pos x="75" y="2"/>
              </a:cxn>
              <a:cxn ang="0">
                <a:pos x="45" y="96"/>
              </a:cxn>
              <a:cxn ang="0">
                <a:pos x="90" y="96"/>
              </a:cxn>
              <a:cxn ang="0">
                <a:pos x="0" y="96"/>
              </a:cxn>
              <a:cxn ang="0">
                <a:pos x="31" y="0"/>
              </a:cxn>
              <a:cxn ang="0">
                <a:pos x="162" y="0"/>
              </a:cxn>
              <a:cxn ang="0">
                <a:pos x="132" y="96"/>
              </a:cxn>
            </a:cxnLst>
            <a:rect l="0" t="0" r="r" b="b"/>
            <a:pathLst>
              <a:path w="162" h="96">
                <a:moveTo>
                  <a:pt x="11" y="67"/>
                </a:moveTo>
                <a:lnTo>
                  <a:pt x="140" y="67"/>
                </a:lnTo>
                <a:moveTo>
                  <a:pt x="21" y="34"/>
                </a:moveTo>
                <a:lnTo>
                  <a:pt x="150" y="34"/>
                </a:lnTo>
                <a:moveTo>
                  <a:pt x="119" y="2"/>
                </a:moveTo>
                <a:lnTo>
                  <a:pt x="89" y="96"/>
                </a:lnTo>
                <a:moveTo>
                  <a:pt x="75" y="2"/>
                </a:moveTo>
                <a:lnTo>
                  <a:pt x="45" y="96"/>
                </a:lnTo>
                <a:moveTo>
                  <a:pt x="90" y="96"/>
                </a:moveTo>
                <a:lnTo>
                  <a:pt x="0" y="96"/>
                </a:lnTo>
                <a:lnTo>
                  <a:pt x="31" y="0"/>
                </a:lnTo>
                <a:lnTo>
                  <a:pt x="162" y="0"/>
                </a:lnTo>
                <a:lnTo>
                  <a:pt x="132" y="96"/>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734"/>
          <p:cNvSpPr>
            <a:spLocks noChangeAspect="1" noEditPoints="1"/>
          </p:cNvSpPr>
          <p:nvPr/>
        </p:nvSpPr>
        <p:spPr bwMode="auto">
          <a:xfrm>
            <a:off x="2506766" y="4149787"/>
            <a:ext cx="565713" cy="540000"/>
          </a:xfrm>
          <a:custGeom>
            <a:avLst/>
            <a:gdLst/>
            <a:ahLst/>
            <a:cxnLst>
              <a:cxn ang="0">
                <a:pos x="116" y="92"/>
              </a:cxn>
              <a:cxn ang="0">
                <a:pos x="109" y="68"/>
              </a:cxn>
              <a:cxn ang="0">
                <a:pos x="119" y="42"/>
              </a:cxn>
              <a:cxn ang="0">
                <a:pos x="137" y="30"/>
              </a:cxn>
              <a:cxn ang="0">
                <a:pos x="126" y="5"/>
              </a:cxn>
              <a:cxn ang="0">
                <a:pos x="101" y="15"/>
              </a:cxn>
              <a:cxn ang="0">
                <a:pos x="109" y="39"/>
              </a:cxn>
              <a:cxn ang="0">
                <a:pos x="98" y="61"/>
              </a:cxn>
              <a:cxn ang="0">
                <a:pos x="92" y="60"/>
              </a:cxn>
              <a:cxn ang="0">
                <a:pos x="64" y="85"/>
              </a:cxn>
              <a:cxn ang="0">
                <a:pos x="66" y="95"/>
              </a:cxn>
              <a:cxn ang="0">
                <a:pos x="46" y="102"/>
              </a:cxn>
              <a:cxn ang="0">
                <a:pos x="36" y="92"/>
              </a:cxn>
              <a:cxn ang="0">
                <a:pos x="6" y="100"/>
              </a:cxn>
              <a:cxn ang="0">
                <a:pos x="14" y="131"/>
              </a:cxn>
              <a:cxn ang="0">
                <a:pos x="44" y="122"/>
              </a:cxn>
              <a:cxn ang="0">
                <a:pos x="47" y="116"/>
              </a:cxn>
              <a:cxn ang="0">
                <a:pos x="71" y="104"/>
              </a:cxn>
              <a:cxn ang="0">
                <a:pos x="88" y="113"/>
              </a:cxn>
              <a:cxn ang="0">
                <a:pos x="107" y="107"/>
              </a:cxn>
              <a:cxn ang="0">
                <a:pos x="124" y="125"/>
              </a:cxn>
              <a:cxn ang="0">
                <a:pos x="119" y="139"/>
              </a:cxn>
              <a:cxn ang="0">
                <a:pos x="148" y="173"/>
              </a:cxn>
              <a:cxn ang="0">
                <a:pos x="182" y="143"/>
              </a:cxn>
              <a:cxn ang="0">
                <a:pos x="153" y="110"/>
              </a:cxn>
              <a:cxn ang="0">
                <a:pos x="131" y="116"/>
              </a:cxn>
            </a:cxnLst>
            <a:rect l="0" t="0" r="r" b="b"/>
            <a:pathLst>
              <a:path w="184" h="174">
                <a:moveTo>
                  <a:pt x="116" y="92"/>
                </a:moveTo>
                <a:cubicBezTo>
                  <a:pt x="118" y="83"/>
                  <a:pt x="115" y="74"/>
                  <a:pt x="109" y="68"/>
                </a:cubicBezTo>
                <a:moveTo>
                  <a:pt x="119" y="42"/>
                </a:moveTo>
                <a:cubicBezTo>
                  <a:pt x="127" y="42"/>
                  <a:pt x="134" y="37"/>
                  <a:pt x="137" y="30"/>
                </a:cubicBezTo>
                <a:cubicBezTo>
                  <a:pt x="141" y="20"/>
                  <a:pt x="136" y="9"/>
                  <a:pt x="126" y="5"/>
                </a:cubicBezTo>
                <a:cubicBezTo>
                  <a:pt x="117" y="0"/>
                  <a:pt x="105" y="5"/>
                  <a:pt x="101" y="15"/>
                </a:cubicBezTo>
                <a:cubicBezTo>
                  <a:pt x="97" y="24"/>
                  <a:pt x="101" y="35"/>
                  <a:pt x="109" y="39"/>
                </a:cubicBezTo>
                <a:cubicBezTo>
                  <a:pt x="98" y="61"/>
                  <a:pt x="98" y="61"/>
                  <a:pt x="98" y="61"/>
                </a:cubicBezTo>
                <a:cubicBezTo>
                  <a:pt x="96" y="61"/>
                  <a:pt x="94" y="61"/>
                  <a:pt x="92" y="60"/>
                </a:cubicBezTo>
                <a:cubicBezTo>
                  <a:pt x="78" y="59"/>
                  <a:pt x="65" y="70"/>
                  <a:pt x="64" y="85"/>
                </a:cubicBezTo>
                <a:cubicBezTo>
                  <a:pt x="64" y="88"/>
                  <a:pt x="64" y="92"/>
                  <a:pt x="66" y="95"/>
                </a:cubicBezTo>
                <a:cubicBezTo>
                  <a:pt x="46" y="102"/>
                  <a:pt x="46" y="102"/>
                  <a:pt x="46" y="102"/>
                </a:cubicBezTo>
                <a:cubicBezTo>
                  <a:pt x="44" y="98"/>
                  <a:pt x="41" y="94"/>
                  <a:pt x="36" y="92"/>
                </a:cubicBezTo>
                <a:cubicBezTo>
                  <a:pt x="26" y="86"/>
                  <a:pt x="12" y="89"/>
                  <a:pt x="6" y="100"/>
                </a:cubicBezTo>
                <a:cubicBezTo>
                  <a:pt x="0" y="111"/>
                  <a:pt x="3" y="124"/>
                  <a:pt x="14" y="131"/>
                </a:cubicBezTo>
                <a:cubicBezTo>
                  <a:pt x="25" y="137"/>
                  <a:pt x="38" y="133"/>
                  <a:pt x="44" y="122"/>
                </a:cubicBezTo>
                <a:cubicBezTo>
                  <a:pt x="46" y="121"/>
                  <a:pt x="46" y="119"/>
                  <a:pt x="47" y="116"/>
                </a:cubicBezTo>
                <a:moveTo>
                  <a:pt x="71" y="104"/>
                </a:moveTo>
                <a:cubicBezTo>
                  <a:pt x="75" y="109"/>
                  <a:pt x="82" y="112"/>
                  <a:pt x="88" y="113"/>
                </a:cubicBezTo>
                <a:cubicBezTo>
                  <a:pt x="95" y="113"/>
                  <a:pt x="102" y="111"/>
                  <a:pt x="107" y="107"/>
                </a:cubicBezTo>
                <a:cubicBezTo>
                  <a:pt x="124" y="125"/>
                  <a:pt x="124" y="125"/>
                  <a:pt x="124" y="125"/>
                </a:cubicBezTo>
                <a:cubicBezTo>
                  <a:pt x="121" y="129"/>
                  <a:pt x="119" y="134"/>
                  <a:pt x="119" y="139"/>
                </a:cubicBezTo>
                <a:cubicBezTo>
                  <a:pt x="118" y="157"/>
                  <a:pt x="131" y="172"/>
                  <a:pt x="148" y="173"/>
                </a:cubicBezTo>
                <a:cubicBezTo>
                  <a:pt x="166" y="174"/>
                  <a:pt x="181" y="161"/>
                  <a:pt x="182" y="143"/>
                </a:cubicBezTo>
                <a:cubicBezTo>
                  <a:pt x="184" y="126"/>
                  <a:pt x="170" y="111"/>
                  <a:pt x="153" y="110"/>
                </a:cubicBezTo>
                <a:cubicBezTo>
                  <a:pt x="145" y="109"/>
                  <a:pt x="137" y="112"/>
                  <a:pt x="131" y="11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735"/>
          <p:cNvSpPr>
            <a:spLocks noChangeAspect="1" noEditPoints="1"/>
          </p:cNvSpPr>
          <p:nvPr/>
        </p:nvSpPr>
        <p:spPr bwMode="auto">
          <a:xfrm>
            <a:off x="3956095" y="2915170"/>
            <a:ext cx="546923" cy="540000"/>
          </a:xfrm>
          <a:custGeom>
            <a:avLst/>
            <a:gdLst/>
            <a:ahLst/>
            <a:cxnLst>
              <a:cxn ang="0">
                <a:pos x="177" y="185"/>
              </a:cxn>
              <a:cxn ang="0">
                <a:pos x="164" y="144"/>
              </a:cxn>
              <a:cxn ang="0">
                <a:pos x="158" y="104"/>
              </a:cxn>
              <a:cxn ang="0">
                <a:pos x="108" y="104"/>
              </a:cxn>
              <a:cxn ang="0">
                <a:pos x="103" y="144"/>
              </a:cxn>
              <a:cxn ang="0">
                <a:pos x="106" y="185"/>
              </a:cxn>
              <a:cxn ang="0">
                <a:pos x="90" y="135"/>
              </a:cxn>
              <a:cxn ang="0">
                <a:pos x="83" y="88"/>
              </a:cxn>
              <a:cxn ang="0">
                <a:pos x="23" y="88"/>
              </a:cxn>
              <a:cxn ang="0">
                <a:pos x="17" y="135"/>
              </a:cxn>
              <a:cxn ang="0">
                <a:pos x="0" y="185"/>
              </a:cxn>
              <a:cxn ang="0">
                <a:pos x="123" y="95"/>
              </a:cxn>
              <a:cxn ang="0">
                <a:pos x="183" y="51"/>
              </a:cxn>
              <a:cxn ang="0">
                <a:pos x="123" y="95"/>
              </a:cxn>
              <a:cxn ang="0">
                <a:pos x="42" y="72"/>
              </a:cxn>
              <a:cxn ang="0">
                <a:pos x="119" y="15"/>
              </a:cxn>
              <a:cxn ang="0">
                <a:pos x="42" y="72"/>
              </a:cxn>
            </a:cxnLst>
            <a:rect l="0" t="0" r="r" b="b"/>
            <a:pathLst>
              <a:path w="188" h="185">
                <a:moveTo>
                  <a:pt x="177" y="185"/>
                </a:moveTo>
                <a:cubicBezTo>
                  <a:pt x="177" y="185"/>
                  <a:pt x="170" y="167"/>
                  <a:pt x="164" y="144"/>
                </a:cubicBezTo>
                <a:cubicBezTo>
                  <a:pt x="160" y="130"/>
                  <a:pt x="158" y="104"/>
                  <a:pt x="158" y="104"/>
                </a:cubicBezTo>
                <a:cubicBezTo>
                  <a:pt x="108" y="104"/>
                  <a:pt x="108" y="104"/>
                  <a:pt x="108" y="104"/>
                </a:cubicBezTo>
                <a:cubicBezTo>
                  <a:pt x="108" y="104"/>
                  <a:pt x="106" y="130"/>
                  <a:pt x="103" y="144"/>
                </a:cubicBezTo>
                <a:moveTo>
                  <a:pt x="106" y="185"/>
                </a:moveTo>
                <a:cubicBezTo>
                  <a:pt x="106" y="185"/>
                  <a:pt x="97" y="163"/>
                  <a:pt x="90" y="135"/>
                </a:cubicBezTo>
                <a:cubicBezTo>
                  <a:pt x="86" y="119"/>
                  <a:pt x="83" y="88"/>
                  <a:pt x="83" y="88"/>
                </a:cubicBezTo>
                <a:cubicBezTo>
                  <a:pt x="23" y="88"/>
                  <a:pt x="23" y="88"/>
                  <a:pt x="23" y="88"/>
                </a:cubicBezTo>
                <a:cubicBezTo>
                  <a:pt x="23" y="88"/>
                  <a:pt x="21" y="119"/>
                  <a:pt x="17" y="135"/>
                </a:cubicBezTo>
                <a:cubicBezTo>
                  <a:pt x="9" y="163"/>
                  <a:pt x="0" y="185"/>
                  <a:pt x="0" y="185"/>
                </a:cubicBezTo>
                <a:moveTo>
                  <a:pt x="123" y="95"/>
                </a:moveTo>
                <a:cubicBezTo>
                  <a:pt x="132" y="81"/>
                  <a:pt x="188" y="110"/>
                  <a:pt x="183" y="51"/>
                </a:cubicBezTo>
                <a:cubicBezTo>
                  <a:pt x="180" y="71"/>
                  <a:pt x="130" y="39"/>
                  <a:pt x="123" y="95"/>
                </a:cubicBezTo>
                <a:close/>
                <a:moveTo>
                  <a:pt x="42" y="72"/>
                </a:moveTo>
                <a:cubicBezTo>
                  <a:pt x="54" y="54"/>
                  <a:pt x="126" y="91"/>
                  <a:pt x="119" y="15"/>
                </a:cubicBezTo>
                <a:cubicBezTo>
                  <a:pt x="116" y="41"/>
                  <a:pt x="51" y="0"/>
                  <a:pt x="42" y="72"/>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7" name="Freeform 736"/>
          <p:cNvSpPr>
            <a:spLocks noChangeAspect="1" noEditPoints="1"/>
          </p:cNvSpPr>
          <p:nvPr/>
        </p:nvSpPr>
        <p:spPr bwMode="auto">
          <a:xfrm>
            <a:off x="8090712" y="2944710"/>
            <a:ext cx="536251" cy="540000"/>
          </a:xfrm>
          <a:custGeom>
            <a:avLst/>
            <a:gdLst/>
            <a:ahLst/>
            <a:cxnLst>
              <a:cxn ang="0">
                <a:pos x="170" y="170"/>
              </a:cxn>
              <a:cxn ang="0">
                <a:pos x="105" y="170"/>
              </a:cxn>
              <a:cxn ang="0">
                <a:pos x="105" y="170"/>
              </a:cxn>
              <a:cxn ang="0">
                <a:pos x="105" y="170"/>
              </a:cxn>
              <a:cxn ang="0">
                <a:pos x="105" y="170"/>
              </a:cxn>
              <a:cxn ang="0">
                <a:pos x="105" y="77"/>
              </a:cxn>
              <a:cxn ang="0">
                <a:pos x="118" y="77"/>
              </a:cxn>
              <a:cxn ang="0">
                <a:pos x="118" y="137"/>
              </a:cxn>
              <a:cxn ang="0">
                <a:pos x="133" y="152"/>
              </a:cxn>
              <a:cxn ang="0">
                <a:pos x="148" y="137"/>
              </a:cxn>
              <a:cxn ang="0">
                <a:pos x="148" y="135"/>
              </a:cxn>
              <a:cxn ang="0">
                <a:pos x="139" y="104"/>
              </a:cxn>
              <a:cxn ang="0">
                <a:pos x="137" y="93"/>
              </a:cxn>
              <a:cxn ang="0">
                <a:pos x="137" y="56"/>
              </a:cxn>
              <a:cxn ang="0">
                <a:pos x="132" y="44"/>
              </a:cxn>
              <a:cxn ang="0">
                <a:pos x="111" y="22"/>
              </a:cxn>
              <a:cxn ang="0">
                <a:pos x="121" y="14"/>
              </a:cxn>
              <a:cxn ang="0">
                <a:pos x="121" y="14"/>
              </a:cxn>
              <a:cxn ang="0">
                <a:pos x="121" y="14"/>
              </a:cxn>
              <a:cxn ang="0">
                <a:pos x="121" y="8"/>
              </a:cxn>
              <a:cxn ang="0">
                <a:pos x="113" y="0"/>
              </a:cxn>
              <a:cxn ang="0">
                <a:pos x="41" y="0"/>
              </a:cxn>
              <a:cxn ang="0">
                <a:pos x="34" y="8"/>
              </a:cxn>
              <a:cxn ang="0">
                <a:pos x="34" y="77"/>
              </a:cxn>
              <a:cxn ang="0">
                <a:pos x="47" y="77"/>
              </a:cxn>
              <a:cxn ang="0">
                <a:pos x="47" y="170"/>
              </a:cxn>
              <a:cxn ang="0">
                <a:pos x="46" y="170"/>
              </a:cxn>
              <a:cxn ang="0">
                <a:pos x="0" y="170"/>
              </a:cxn>
              <a:cxn ang="0">
                <a:pos x="102" y="17"/>
              </a:cxn>
              <a:cxn ang="0">
                <a:pos x="53" y="17"/>
              </a:cxn>
              <a:cxn ang="0">
                <a:pos x="48" y="21"/>
              </a:cxn>
              <a:cxn ang="0">
                <a:pos x="48" y="59"/>
              </a:cxn>
              <a:cxn ang="0">
                <a:pos x="53" y="63"/>
              </a:cxn>
              <a:cxn ang="0">
                <a:pos x="102" y="63"/>
              </a:cxn>
              <a:cxn ang="0">
                <a:pos x="106" y="59"/>
              </a:cxn>
              <a:cxn ang="0">
                <a:pos x="106" y="21"/>
              </a:cxn>
              <a:cxn ang="0">
                <a:pos x="102" y="17"/>
              </a:cxn>
            </a:cxnLst>
            <a:rect l="0" t="0" r="r" b="b"/>
            <a:pathLst>
              <a:path w="170" h="171">
                <a:moveTo>
                  <a:pt x="170" y="170"/>
                </a:moveTo>
                <a:cubicBezTo>
                  <a:pt x="105" y="170"/>
                  <a:pt x="105" y="170"/>
                  <a:pt x="105" y="170"/>
                </a:cubicBezTo>
                <a:cubicBezTo>
                  <a:pt x="105" y="170"/>
                  <a:pt x="105" y="171"/>
                  <a:pt x="105" y="170"/>
                </a:cubicBezTo>
                <a:cubicBezTo>
                  <a:pt x="105" y="170"/>
                  <a:pt x="105" y="170"/>
                  <a:pt x="105" y="170"/>
                </a:cubicBezTo>
                <a:cubicBezTo>
                  <a:pt x="105" y="170"/>
                  <a:pt x="105" y="170"/>
                  <a:pt x="105" y="170"/>
                </a:cubicBezTo>
                <a:cubicBezTo>
                  <a:pt x="105" y="77"/>
                  <a:pt x="105" y="77"/>
                  <a:pt x="105" y="77"/>
                </a:cubicBezTo>
                <a:cubicBezTo>
                  <a:pt x="118" y="77"/>
                  <a:pt x="118" y="77"/>
                  <a:pt x="118" y="77"/>
                </a:cubicBezTo>
                <a:cubicBezTo>
                  <a:pt x="118" y="137"/>
                  <a:pt x="118" y="137"/>
                  <a:pt x="118" y="137"/>
                </a:cubicBezTo>
                <a:cubicBezTo>
                  <a:pt x="118" y="146"/>
                  <a:pt x="125" y="152"/>
                  <a:pt x="133" y="152"/>
                </a:cubicBezTo>
                <a:cubicBezTo>
                  <a:pt x="141" y="152"/>
                  <a:pt x="148" y="146"/>
                  <a:pt x="148" y="137"/>
                </a:cubicBezTo>
                <a:cubicBezTo>
                  <a:pt x="148" y="137"/>
                  <a:pt x="148" y="136"/>
                  <a:pt x="148" y="135"/>
                </a:cubicBezTo>
                <a:cubicBezTo>
                  <a:pt x="139" y="104"/>
                  <a:pt x="139" y="104"/>
                  <a:pt x="139" y="104"/>
                </a:cubicBezTo>
                <a:cubicBezTo>
                  <a:pt x="138" y="100"/>
                  <a:pt x="137" y="97"/>
                  <a:pt x="137" y="93"/>
                </a:cubicBezTo>
                <a:cubicBezTo>
                  <a:pt x="137" y="56"/>
                  <a:pt x="137" y="56"/>
                  <a:pt x="137" y="56"/>
                </a:cubicBezTo>
                <a:cubicBezTo>
                  <a:pt x="137" y="51"/>
                  <a:pt x="136" y="47"/>
                  <a:pt x="132" y="44"/>
                </a:cubicBezTo>
                <a:cubicBezTo>
                  <a:pt x="111" y="22"/>
                  <a:pt x="111" y="22"/>
                  <a:pt x="111" y="22"/>
                </a:cubicBezTo>
                <a:moveTo>
                  <a:pt x="121" y="14"/>
                </a:moveTo>
                <a:cubicBezTo>
                  <a:pt x="121" y="14"/>
                  <a:pt x="121" y="14"/>
                  <a:pt x="121" y="14"/>
                </a:cubicBezTo>
                <a:cubicBezTo>
                  <a:pt x="121" y="14"/>
                  <a:pt x="121" y="14"/>
                  <a:pt x="121" y="14"/>
                </a:cubicBezTo>
                <a:cubicBezTo>
                  <a:pt x="121" y="8"/>
                  <a:pt x="121" y="8"/>
                  <a:pt x="121" y="8"/>
                </a:cubicBezTo>
                <a:cubicBezTo>
                  <a:pt x="121" y="4"/>
                  <a:pt x="117" y="0"/>
                  <a:pt x="113" y="0"/>
                </a:cubicBezTo>
                <a:cubicBezTo>
                  <a:pt x="41" y="0"/>
                  <a:pt x="41" y="0"/>
                  <a:pt x="41" y="0"/>
                </a:cubicBezTo>
                <a:cubicBezTo>
                  <a:pt x="37" y="0"/>
                  <a:pt x="34" y="4"/>
                  <a:pt x="34" y="8"/>
                </a:cubicBezTo>
                <a:cubicBezTo>
                  <a:pt x="34" y="77"/>
                  <a:pt x="34" y="77"/>
                  <a:pt x="34" y="77"/>
                </a:cubicBezTo>
                <a:cubicBezTo>
                  <a:pt x="47" y="77"/>
                  <a:pt x="47" y="77"/>
                  <a:pt x="47" y="77"/>
                </a:cubicBezTo>
                <a:cubicBezTo>
                  <a:pt x="47" y="170"/>
                  <a:pt x="47" y="170"/>
                  <a:pt x="47" y="170"/>
                </a:cubicBezTo>
                <a:cubicBezTo>
                  <a:pt x="47" y="170"/>
                  <a:pt x="46" y="170"/>
                  <a:pt x="46" y="170"/>
                </a:cubicBezTo>
                <a:cubicBezTo>
                  <a:pt x="0" y="170"/>
                  <a:pt x="0" y="170"/>
                  <a:pt x="0" y="170"/>
                </a:cubicBezTo>
                <a:moveTo>
                  <a:pt x="102" y="17"/>
                </a:moveTo>
                <a:cubicBezTo>
                  <a:pt x="53" y="17"/>
                  <a:pt x="53" y="17"/>
                  <a:pt x="53" y="17"/>
                </a:cubicBezTo>
                <a:cubicBezTo>
                  <a:pt x="50" y="17"/>
                  <a:pt x="48" y="19"/>
                  <a:pt x="48" y="21"/>
                </a:cubicBezTo>
                <a:cubicBezTo>
                  <a:pt x="48" y="59"/>
                  <a:pt x="48" y="59"/>
                  <a:pt x="48" y="59"/>
                </a:cubicBezTo>
                <a:cubicBezTo>
                  <a:pt x="48" y="61"/>
                  <a:pt x="50" y="63"/>
                  <a:pt x="53" y="63"/>
                </a:cubicBezTo>
                <a:cubicBezTo>
                  <a:pt x="102" y="63"/>
                  <a:pt x="102" y="63"/>
                  <a:pt x="102" y="63"/>
                </a:cubicBezTo>
                <a:cubicBezTo>
                  <a:pt x="104" y="63"/>
                  <a:pt x="106" y="61"/>
                  <a:pt x="106" y="59"/>
                </a:cubicBezTo>
                <a:cubicBezTo>
                  <a:pt x="106" y="21"/>
                  <a:pt x="106" y="21"/>
                  <a:pt x="106" y="21"/>
                </a:cubicBezTo>
                <a:cubicBezTo>
                  <a:pt x="106" y="19"/>
                  <a:pt x="104" y="17"/>
                  <a:pt x="102" y="17"/>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737"/>
          <p:cNvSpPr>
            <a:spLocks noChangeAspect="1"/>
          </p:cNvSpPr>
          <p:nvPr/>
        </p:nvSpPr>
        <p:spPr bwMode="auto">
          <a:xfrm>
            <a:off x="5611467" y="2924973"/>
            <a:ext cx="241678" cy="540000"/>
          </a:xfrm>
          <a:custGeom>
            <a:avLst/>
            <a:gdLst/>
            <a:ahLst/>
            <a:cxnLst>
              <a:cxn ang="0">
                <a:pos x="33" y="170"/>
              </a:cxn>
              <a:cxn ang="0">
                <a:pos x="39" y="167"/>
              </a:cxn>
              <a:cxn ang="0">
                <a:pos x="53" y="152"/>
              </a:cxn>
              <a:cxn ang="0">
                <a:pos x="41" y="100"/>
              </a:cxn>
              <a:cxn ang="0">
                <a:pos x="47" y="97"/>
              </a:cxn>
              <a:cxn ang="0">
                <a:pos x="59" y="97"/>
              </a:cxn>
              <a:cxn ang="0">
                <a:pos x="67" y="94"/>
              </a:cxn>
              <a:cxn ang="0">
                <a:pos x="70" y="86"/>
              </a:cxn>
              <a:cxn ang="0">
                <a:pos x="76" y="43"/>
              </a:cxn>
              <a:cxn ang="0">
                <a:pos x="73" y="37"/>
              </a:cxn>
              <a:cxn ang="0">
                <a:pos x="66" y="34"/>
              </a:cxn>
              <a:cxn ang="0">
                <a:pos x="60" y="33"/>
              </a:cxn>
              <a:cxn ang="0">
                <a:pos x="60" y="8"/>
              </a:cxn>
              <a:cxn ang="0">
                <a:pos x="57" y="2"/>
              </a:cxn>
              <a:cxn ang="0">
                <a:pos x="57" y="2"/>
              </a:cxn>
              <a:cxn ang="0">
                <a:pos x="52" y="0"/>
              </a:cxn>
              <a:cxn ang="0">
                <a:pos x="46" y="2"/>
              </a:cxn>
              <a:cxn ang="0">
                <a:pos x="46" y="2"/>
              </a:cxn>
              <a:cxn ang="0">
                <a:pos x="43" y="8"/>
              </a:cxn>
              <a:cxn ang="0">
                <a:pos x="43" y="33"/>
              </a:cxn>
              <a:cxn ang="0">
                <a:pos x="32" y="33"/>
              </a:cxn>
              <a:cxn ang="0">
                <a:pos x="32" y="8"/>
              </a:cxn>
              <a:cxn ang="0">
                <a:pos x="30" y="2"/>
              </a:cxn>
              <a:cxn ang="0">
                <a:pos x="24" y="0"/>
              </a:cxn>
              <a:cxn ang="0">
                <a:pos x="19" y="2"/>
              </a:cxn>
              <a:cxn ang="0">
                <a:pos x="16" y="8"/>
              </a:cxn>
              <a:cxn ang="0">
                <a:pos x="16" y="33"/>
              </a:cxn>
              <a:cxn ang="0">
                <a:pos x="10" y="34"/>
              </a:cxn>
              <a:cxn ang="0">
                <a:pos x="3" y="37"/>
              </a:cxn>
              <a:cxn ang="0">
                <a:pos x="0" y="43"/>
              </a:cxn>
              <a:cxn ang="0">
                <a:pos x="6" y="86"/>
              </a:cxn>
              <a:cxn ang="0">
                <a:pos x="9" y="94"/>
              </a:cxn>
              <a:cxn ang="0">
                <a:pos x="16" y="97"/>
              </a:cxn>
              <a:cxn ang="0">
                <a:pos x="20" y="97"/>
              </a:cxn>
            </a:cxnLst>
            <a:rect l="0" t="0" r="r" b="b"/>
            <a:pathLst>
              <a:path w="76" h="170">
                <a:moveTo>
                  <a:pt x="33" y="170"/>
                </a:moveTo>
                <a:cubicBezTo>
                  <a:pt x="35" y="169"/>
                  <a:pt x="37" y="168"/>
                  <a:pt x="39" y="167"/>
                </a:cubicBezTo>
                <a:cubicBezTo>
                  <a:pt x="45" y="163"/>
                  <a:pt x="49" y="158"/>
                  <a:pt x="53" y="152"/>
                </a:cubicBezTo>
                <a:cubicBezTo>
                  <a:pt x="62" y="138"/>
                  <a:pt x="33" y="114"/>
                  <a:pt x="41" y="100"/>
                </a:cubicBezTo>
                <a:cubicBezTo>
                  <a:pt x="42" y="99"/>
                  <a:pt x="45" y="97"/>
                  <a:pt x="47" y="97"/>
                </a:cubicBezTo>
                <a:cubicBezTo>
                  <a:pt x="59" y="97"/>
                  <a:pt x="59" y="97"/>
                  <a:pt x="59" y="97"/>
                </a:cubicBezTo>
                <a:cubicBezTo>
                  <a:pt x="62" y="97"/>
                  <a:pt x="65" y="96"/>
                  <a:pt x="67" y="94"/>
                </a:cubicBezTo>
                <a:cubicBezTo>
                  <a:pt x="69" y="92"/>
                  <a:pt x="70" y="89"/>
                  <a:pt x="70" y="86"/>
                </a:cubicBezTo>
                <a:cubicBezTo>
                  <a:pt x="70" y="86"/>
                  <a:pt x="76" y="43"/>
                  <a:pt x="76" y="43"/>
                </a:cubicBezTo>
                <a:cubicBezTo>
                  <a:pt x="76" y="41"/>
                  <a:pt x="74" y="38"/>
                  <a:pt x="73" y="37"/>
                </a:cubicBezTo>
                <a:cubicBezTo>
                  <a:pt x="71" y="35"/>
                  <a:pt x="69" y="34"/>
                  <a:pt x="66" y="34"/>
                </a:cubicBezTo>
                <a:cubicBezTo>
                  <a:pt x="66" y="33"/>
                  <a:pt x="60" y="33"/>
                  <a:pt x="60" y="33"/>
                </a:cubicBezTo>
                <a:cubicBezTo>
                  <a:pt x="60" y="8"/>
                  <a:pt x="60" y="8"/>
                  <a:pt x="60" y="8"/>
                </a:cubicBezTo>
                <a:cubicBezTo>
                  <a:pt x="60" y="6"/>
                  <a:pt x="59" y="4"/>
                  <a:pt x="57" y="2"/>
                </a:cubicBezTo>
                <a:cubicBezTo>
                  <a:pt x="57" y="2"/>
                  <a:pt x="57" y="2"/>
                  <a:pt x="57" y="2"/>
                </a:cubicBezTo>
                <a:cubicBezTo>
                  <a:pt x="56" y="1"/>
                  <a:pt x="54" y="0"/>
                  <a:pt x="52" y="0"/>
                </a:cubicBezTo>
                <a:cubicBezTo>
                  <a:pt x="49" y="0"/>
                  <a:pt x="47" y="1"/>
                  <a:pt x="46" y="2"/>
                </a:cubicBezTo>
                <a:cubicBezTo>
                  <a:pt x="46" y="2"/>
                  <a:pt x="46" y="2"/>
                  <a:pt x="46" y="2"/>
                </a:cubicBezTo>
                <a:cubicBezTo>
                  <a:pt x="44" y="4"/>
                  <a:pt x="43" y="6"/>
                  <a:pt x="43" y="8"/>
                </a:cubicBezTo>
                <a:cubicBezTo>
                  <a:pt x="43" y="33"/>
                  <a:pt x="43" y="33"/>
                  <a:pt x="43" y="33"/>
                </a:cubicBezTo>
                <a:cubicBezTo>
                  <a:pt x="32" y="33"/>
                  <a:pt x="32" y="33"/>
                  <a:pt x="32" y="33"/>
                </a:cubicBezTo>
                <a:cubicBezTo>
                  <a:pt x="32" y="8"/>
                  <a:pt x="32" y="8"/>
                  <a:pt x="32" y="8"/>
                </a:cubicBezTo>
                <a:cubicBezTo>
                  <a:pt x="32" y="6"/>
                  <a:pt x="32" y="4"/>
                  <a:pt x="30" y="2"/>
                </a:cubicBezTo>
                <a:cubicBezTo>
                  <a:pt x="29" y="1"/>
                  <a:pt x="27" y="0"/>
                  <a:pt x="24" y="0"/>
                </a:cubicBezTo>
                <a:cubicBezTo>
                  <a:pt x="22" y="0"/>
                  <a:pt x="20" y="1"/>
                  <a:pt x="19" y="2"/>
                </a:cubicBezTo>
                <a:cubicBezTo>
                  <a:pt x="17" y="4"/>
                  <a:pt x="16" y="6"/>
                  <a:pt x="16" y="8"/>
                </a:cubicBezTo>
                <a:cubicBezTo>
                  <a:pt x="16" y="33"/>
                  <a:pt x="16" y="33"/>
                  <a:pt x="16" y="33"/>
                </a:cubicBezTo>
                <a:cubicBezTo>
                  <a:pt x="16" y="33"/>
                  <a:pt x="10" y="33"/>
                  <a:pt x="10" y="34"/>
                </a:cubicBezTo>
                <a:cubicBezTo>
                  <a:pt x="7" y="34"/>
                  <a:pt x="5" y="35"/>
                  <a:pt x="3" y="37"/>
                </a:cubicBezTo>
                <a:cubicBezTo>
                  <a:pt x="1" y="38"/>
                  <a:pt x="0" y="41"/>
                  <a:pt x="0" y="43"/>
                </a:cubicBezTo>
                <a:cubicBezTo>
                  <a:pt x="0" y="43"/>
                  <a:pt x="6" y="86"/>
                  <a:pt x="6" y="86"/>
                </a:cubicBezTo>
                <a:cubicBezTo>
                  <a:pt x="6" y="89"/>
                  <a:pt x="7" y="92"/>
                  <a:pt x="9" y="94"/>
                </a:cubicBezTo>
                <a:cubicBezTo>
                  <a:pt x="11" y="96"/>
                  <a:pt x="14" y="97"/>
                  <a:pt x="16" y="97"/>
                </a:cubicBezTo>
                <a:cubicBezTo>
                  <a:pt x="20" y="97"/>
                  <a:pt x="20" y="97"/>
                  <a:pt x="20" y="9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738"/>
          <p:cNvSpPr>
            <a:spLocks noChangeAspect="1" noEditPoints="1"/>
          </p:cNvSpPr>
          <p:nvPr/>
        </p:nvSpPr>
        <p:spPr bwMode="auto">
          <a:xfrm>
            <a:off x="6790613" y="2910686"/>
            <a:ext cx="397545" cy="540000"/>
          </a:xfrm>
          <a:custGeom>
            <a:avLst/>
            <a:gdLst/>
            <a:ahLst/>
            <a:cxnLst>
              <a:cxn ang="0">
                <a:pos x="89" y="83"/>
              </a:cxn>
              <a:cxn ang="0">
                <a:pos x="124" y="93"/>
              </a:cxn>
              <a:cxn ang="0">
                <a:pos x="142" y="110"/>
              </a:cxn>
              <a:cxn ang="0">
                <a:pos x="141" y="125"/>
              </a:cxn>
              <a:cxn ang="0">
                <a:pos x="136" y="118"/>
              </a:cxn>
              <a:cxn ang="0">
                <a:pos x="117" y="110"/>
              </a:cxn>
              <a:cxn ang="0">
                <a:pos x="95" y="92"/>
              </a:cxn>
              <a:cxn ang="0">
                <a:pos x="63" y="85"/>
              </a:cxn>
              <a:cxn ang="0">
                <a:pos x="36" y="110"/>
              </a:cxn>
              <a:cxn ang="0">
                <a:pos x="13" y="117"/>
              </a:cxn>
              <a:cxn ang="0">
                <a:pos x="0" y="109"/>
              </a:cxn>
              <a:cxn ang="0">
                <a:pos x="9" y="108"/>
              </a:cxn>
              <a:cxn ang="0">
                <a:pos x="25" y="95"/>
              </a:cxn>
              <a:cxn ang="0">
                <a:pos x="52" y="85"/>
              </a:cxn>
              <a:cxn ang="0">
                <a:pos x="78" y="66"/>
              </a:cxn>
              <a:cxn ang="0">
                <a:pos x="70" y="31"/>
              </a:cxn>
              <a:cxn ang="0">
                <a:pos x="75" y="7"/>
              </a:cxn>
              <a:cxn ang="0">
                <a:pos x="89" y="0"/>
              </a:cxn>
              <a:cxn ang="0">
                <a:pos x="85" y="9"/>
              </a:cxn>
              <a:cxn ang="0">
                <a:pos x="89" y="28"/>
              </a:cxn>
              <a:cxn ang="0">
                <a:pos x="84" y="57"/>
              </a:cxn>
              <a:cxn ang="0">
                <a:pos x="89" y="83"/>
              </a:cxn>
              <a:cxn ang="0">
                <a:pos x="88" y="77"/>
              </a:cxn>
              <a:cxn ang="0">
                <a:pos x="73" y="71"/>
              </a:cxn>
              <a:cxn ang="0">
                <a:pos x="67" y="87"/>
              </a:cxn>
              <a:cxn ang="0">
                <a:pos x="82" y="93"/>
              </a:cxn>
              <a:cxn ang="0">
                <a:pos x="82" y="105"/>
              </a:cxn>
              <a:cxn ang="0">
                <a:pos x="78" y="105"/>
              </a:cxn>
              <a:cxn ang="0">
                <a:pos x="73" y="105"/>
              </a:cxn>
              <a:cxn ang="0">
                <a:pos x="67" y="189"/>
              </a:cxn>
              <a:cxn ang="0">
                <a:pos x="72" y="193"/>
              </a:cxn>
              <a:cxn ang="0">
                <a:pos x="85" y="193"/>
              </a:cxn>
            </a:cxnLst>
            <a:rect l="0" t="0" r="r" b="b"/>
            <a:pathLst>
              <a:path w="143" h="193">
                <a:moveTo>
                  <a:pt x="89" y="83"/>
                </a:moveTo>
                <a:cubicBezTo>
                  <a:pt x="89" y="83"/>
                  <a:pt x="103" y="91"/>
                  <a:pt x="124" y="93"/>
                </a:cubicBezTo>
                <a:cubicBezTo>
                  <a:pt x="134" y="95"/>
                  <a:pt x="140" y="102"/>
                  <a:pt x="142" y="110"/>
                </a:cubicBezTo>
                <a:cubicBezTo>
                  <a:pt x="143" y="116"/>
                  <a:pt x="141" y="125"/>
                  <a:pt x="141" y="125"/>
                </a:cubicBezTo>
                <a:cubicBezTo>
                  <a:pt x="141" y="125"/>
                  <a:pt x="140" y="121"/>
                  <a:pt x="136" y="118"/>
                </a:cubicBezTo>
                <a:cubicBezTo>
                  <a:pt x="132" y="114"/>
                  <a:pt x="124" y="112"/>
                  <a:pt x="117" y="110"/>
                </a:cubicBezTo>
                <a:cubicBezTo>
                  <a:pt x="95" y="107"/>
                  <a:pt x="94" y="93"/>
                  <a:pt x="95" y="92"/>
                </a:cubicBezTo>
                <a:moveTo>
                  <a:pt x="63" y="85"/>
                </a:moveTo>
                <a:cubicBezTo>
                  <a:pt x="63" y="85"/>
                  <a:pt x="49" y="93"/>
                  <a:pt x="36" y="110"/>
                </a:cubicBezTo>
                <a:cubicBezTo>
                  <a:pt x="30" y="118"/>
                  <a:pt x="20" y="119"/>
                  <a:pt x="13" y="117"/>
                </a:cubicBezTo>
                <a:cubicBezTo>
                  <a:pt x="6" y="115"/>
                  <a:pt x="0" y="108"/>
                  <a:pt x="0" y="109"/>
                </a:cubicBezTo>
                <a:cubicBezTo>
                  <a:pt x="0" y="108"/>
                  <a:pt x="4" y="110"/>
                  <a:pt x="9" y="108"/>
                </a:cubicBezTo>
                <a:cubicBezTo>
                  <a:pt x="14" y="106"/>
                  <a:pt x="20" y="100"/>
                  <a:pt x="25" y="95"/>
                </a:cubicBezTo>
                <a:cubicBezTo>
                  <a:pt x="39" y="78"/>
                  <a:pt x="52" y="84"/>
                  <a:pt x="52" y="85"/>
                </a:cubicBezTo>
                <a:moveTo>
                  <a:pt x="78" y="66"/>
                </a:moveTo>
                <a:cubicBezTo>
                  <a:pt x="78" y="66"/>
                  <a:pt x="79" y="50"/>
                  <a:pt x="70" y="31"/>
                </a:cubicBezTo>
                <a:cubicBezTo>
                  <a:pt x="66" y="21"/>
                  <a:pt x="70" y="12"/>
                  <a:pt x="75" y="7"/>
                </a:cubicBezTo>
                <a:cubicBezTo>
                  <a:pt x="80" y="2"/>
                  <a:pt x="89" y="1"/>
                  <a:pt x="89" y="0"/>
                </a:cubicBezTo>
                <a:cubicBezTo>
                  <a:pt x="89" y="0"/>
                  <a:pt x="86" y="3"/>
                  <a:pt x="85" y="9"/>
                </a:cubicBezTo>
                <a:cubicBezTo>
                  <a:pt x="85" y="14"/>
                  <a:pt x="87" y="21"/>
                  <a:pt x="89" y="28"/>
                </a:cubicBezTo>
                <a:cubicBezTo>
                  <a:pt x="96" y="49"/>
                  <a:pt x="84" y="57"/>
                  <a:pt x="84" y="57"/>
                </a:cubicBezTo>
                <a:moveTo>
                  <a:pt x="89" y="83"/>
                </a:moveTo>
                <a:cubicBezTo>
                  <a:pt x="89" y="81"/>
                  <a:pt x="89" y="79"/>
                  <a:pt x="88" y="77"/>
                </a:cubicBezTo>
                <a:cubicBezTo>
                  <a:pt x="86" y="71"/>
                  <a:pt x="79" y="69"/>
                  <a:pt x="73" y="71"/>
                </a:cubicBezTo>
                <a:cubicBezTo>
                  <a:pt x="67" y="74"/>
                  <a:pt x="64" y="81"/>
                  <a:pt x="67" y="87"/>
                </a:cubicBezTo>
                <a:cubicBezTo>
                  <a:pt x="70" y="93"/>
                  <a:pt x="76" y="96"/>
                  <a:pt x="82" y="93"/>
                </a:cubicBezTo>
                <a:cubicBezTo>
                  <a:pt x="82" y="105"/>
                  <a:pt x="82" y="105"/>
                  <a:pt x="82" y="105"/>
                </a:cubicBezTo>
                <a:cubicBezTo>
                  <a:pt x="81" y="105"/>
                  <a:pt x="79" y="105"/>
                  <a:pt x="78" y="105"/>
                </a:cubicBezTo>
                <a:cubicBezTo>
                  <a:pt x="76" y="105"/>
                  <a:pt x="74" y="105"/>
                  <a:pt x="73" y="105"/>
                </a:cubicBezTo>
                <a:cubicBezTo>
                  <a:pt x="67" y="189"/>
                  <a:pt x="67" y="189"/>
                  <a:pt x="67" y="189"/>
                </a:cubicBezTo>
                <a:cubicBezTo>
                  <a:pt x="67" y="189"/>
                  <a:pt x="67" y="193"/>
                  <a:pt x="72" y="193"/>
                </a:cubicBezTo>
                <a:cubicBezTo>
                  <a:pt x="76" y="193"/>
                  <a:pt x="83" y="193"/>
                  <a:pt x="85" y="19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739"/>
          <p:cNvSpPr>
            <a:spLocks noChangeAspect="1" noEditPoints="1"/>
          </p:cNvSpPr>
          <p:nvPr/>
        </p:nvSpPr>
        <p:spPr bwMode="auto">
          <a:xfrm>
            <a:off x="7534884" y="2929457"/>
            <a:ext cx="410797" cy="540000"/>
          </a:xfrm>
          <a:custGeom>
            <a:avLst/>
            <a:gdLst/>
            <a:ahLst/>
            <a:cxnLst>
              <a:cxn ang="0">
                <a:pos x="57" y="77"/>
              </a:cxn>
              <a:cxn ang="0">
                <a:pos x="2" y="113"/>
              </a:cxn>
              <a:cxn ang="0">
                <a:pos x="1" y="116"/>
              </a:cxn>
              <a:cxn ang="0">
                <a:pos x="3" y="116"/>
              </a:cxn>
              <a:cxn ang="0">
                <a:pos x="50" y="95"/>
              </a:cxn>
              <a:cxn ang="0">
                <a:pos x="51" y="95"/>
              </a:cxn>
              <a:cxn ang="0">
                <a:pos x="70" y="64"/>
              </a:cxn>
              <a:cxn ang="0">
                <a:pos x="52" y="1"/>
              </a:cxn>
              <a:cxn ang="0">
                <a:pos x="50" y="0"/>
              </a:cxn>
              <a:cxn ang="0">
                <a:pos x="49" y="2"/>
              </a:cxn>
              <a:cxn ang="0">
                <a:pos x="55" y="52"/>
              </a:cxn>
              <a:cxn ang="0">
                <a:pos x="55" y="53"/>
              </a:cxn>
              <a:cxn ang="0">
                <a:pos x="80" y="82"/>
              </a:cxn>
              <a:cxn ang="0">
                <a:pos x="145" y="86"/>
              </a:cxn>
              <a:cxn ang="0">
                <a:pos x="147" y="84"/>
              </a:cxn>
              <a:cxn ang="0">
                <a:pos x="145" y="83"/>
              </a:cxn>
              <a:cxn ang="0">
                <a:pos x="96" y="70"/>
              </a:cxn>
              <a:cxn ang="0">
                <a:pos x="95" y="70"/>
              </a:cxn>
              <a:cxn ang="0">
                <a:pos x="80" y="82"/>
              </a:cxn>
              <a:cxn ang="0">
                <a:pos x="80" y="71"/>
              </a:cxn>
              <a:cxn ang="0">
                <a:pos x="64" y="65"/>
              </a:cxn>
              <a:cxn ang="0">
                <a:pos x="58" y="81"/>
              </a:cxn>
              <a:cxn ang="0">
                <a:pos x="74" y="87"/>
              </a:cxn>
              <a:cxn ang="0">
                <a:pos x="74" y="100"/>
              </a:cxn>
              <a:cxn ang="0">
                <a:pos x="69" y="100"/>
              </a:cxn>
              <a:cxn ang="0">
                <a:pos x="65" y="100"/>
              </a:cxn>
              <a:cxn ang="0">
                <a:pos x="59" y="188"/>
              </a:cxn>
              <a:cxn ang="0">
                <a:pos x="63" y="193"/>
              </a:cxn>
              <a:cxn ang="0">
                <a:pos x="77" y="193"/>
              </a:cxn>
            </a:cxnLst>
            <a:rect l="0" t="0" r="r" b="b"/>
            <a:pathLst>
              <a:path w="147" h="193">
                <a:moveTo>
                  <a:pt x="57" y="77"/>
                </a:moveTo>
                <a:cubicBezTo>
                  <a:pt x="2" y="113"/>
                  <a:pt x="2" y="113"/>
                  <a:pt x="2" y="113"/>
                </a:cubicBezTo>
                <a:cubicBezTo>
                  <a:pt x="2" y="113"/>
                  <a:pt x="0" y="114"/>
                  <a:pt x="1" y="116"/>
                </a:cubicBezTo>
                <a:cubicBezTo>
                  <a:pt x="2" y="117"/>
                  <a:pt x="3" y="116"/>
                  <a:pt x="3" y="116"/>
                </a:cubicBezTo>
                <a:cubicBezTo>
                  <a:pt x="50" y="95"/>
                  <a:pt x="50" y="95"/>
                  <a:pt x="50" y="95"/>
                </a:cubicBezTo>
                <a:cubicBezTo>
                  <a:pt x="50" y="95"/>
                  <a:pt x="50" y="95"/>
                  <a:pt x="51" y="95"/>
                </a:cubicBezTo>
                <a:moveTo>
                  <a:pt x="70" y="64"/>
                </a:moveTo>
                <a:cubicBezTo>
                  <a:pt x="52" y="1"/>
                  <a:pt x="52" y="1"/>
                  <a:pt x="52" y="1"/>
                </a:cubicBezTo>
                <a:cubicBezTo>
                  <a:pt x="52" y="1"/>
                  <a:pt x="52" y="0"/>
                  <a:pt x="50" y="0"/>
                </a:cubicBezTo>
                <a:cubicBezTo>
                  <a:pt x="49" y="0"/>
                  <a:pt x="49" y="2"/>
                  <a:pt x="49" y="2"/>
                </a:cubicBezTo>
                <a:cubicBezTo>
                  <a:pt x="55" y="52"/>
                  <a:pt x="55" y="52"/>
                  <a:pt x="55" y="52"/>
                </a:cubicBezTo>
                <a:cubicBezTo>
                  <a:pt x="55" y="52"/>
                  <a:pt x="55" y="52"/>
                  <a:pt x="55" y="53"/>
                </a:cubicBezTo>
                <a:moveTo>
                  <a:pt x="80" y="82"/>
                </a:moveTo>
                <a:cubicBezTo>
                  <a:pt x="145" y="86"/>
                  <a:pt x="145" y="86"/>
                  <a:pt x="145" y="86"/>
                </a:cubicBezTo>
                <a:cubicBezTo>
                  <a:pt x="145" y="86"/>
                  <a:pt x="147" y="86"/>
                  <a:pt x="147" y="84"/>
                </a:cubicBezTo>
                <a:cubicBezTo>
                  <a:pt x="147" y="83"/>
                  <a:pt x="145" y="83"/>
                  <a:pt x="145" y="83"/>
                </a:cubicBezTo>
                <a:cubicBezTo>
                  <a:pt x="96" y="70"/>
                  <a:pt x="96" y="70"/>
                  <a:pt x="96" y="70"/>
                </a:cubicBezTo>
                <a:cubicBezTo>
                  <a:pt x="96" y="70"/>
                  <a:pt x="96" y="70"/>
                  <a:pt x="95" y="70"/>
                </a:cubicBezTo>
                <a:moveTo>
                  <a:pt x="80" y="82"/>
                </a:moveTo>
                <a:cubicBezTo>
                  <a:pt x="82" y="79"/>
                  <a:pt x="82" y="75"/>
                  <a:pt x="80" y="71"/>
                </a:cubicBezTo>
                <a:cubicBezTo>
                  <a:pt x="78" y="65"/>
                  <a:pt x="70" y="62"/>
                  <a:pt x="64" y="65"/>
                </a:cubicBezTo>
                <a:cubicBezTo>
                  <a:pt x="58" y="67"/>
                  <a:pt x="55" y="75"/>
                  <a:pt x="58" y="81"/>
                </a:cubicBezTo>
                <a:cubicBezTo>
                  <a:pt x="61" y="87"/>
                  <a:pt x="68" y="90"/>
                  <a:pt x="74" y="87"/>
                </a:cubicBezTo>
                <a:moveTo>
                  <a:pt x="74" y="100"/>
                </a:moveTo>
                <a:cubicBezTo>
                  <a:pt x="73" y="100"/>
                  <a:pt x="71" y="100"/>
                  <a:pt x="69" y="100"/>
                </a:cubicBezTo>
                <a:cubicBezTo>
                  <a:pt x="68" y="100"/>
                  <a:pt x="66" y="100"/>
                  <a:pt x="65" y="100"/>
                </a:cubicBezTo>
                <a:cubicBezTo>
                  <a:pt x="59" y="188"/>
                  <a:pt x="59" y="188"/>
                  <a:pt x="59" y="188"/>
                </a:cubicBezTo>
                <a:cubicBezTo>
                  <a:pt x="59" y="188"/>
                  <a:pt x="58" y="193"/>
                  <a:pt x="63" y="193"/>
                </a:cubicBezTo>
                <a:cubicBezTo>
                  <a:pt x="67" y="193"/>
                  <a:pt x="75" y="193"/>
                  <a:pt x="77" y="19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Freeform 730"/>
          <p:cNvSpPr>
            <a:spLocks noChangeAspect="1" noEditPoints="1"/>
          </p:cNvSpPr>
          <p:nvPr/>
        </p:nvSpPr>
        <p:spPr bwMode="auto">
          <a:xfrm>
            <a:off x="10188526" y="2941332"/>
            <a:ext cx="581537" cy="540000"/>
          </a:xfrm>
          <a:custGeom>
            <a:avLst/>
            <a:gdLst/>
            <a:ahLst/>
            <a:cxnLst>
              <a:cxn ang="0">
                <a:pos x="151" y="111"/>
              </a:cxn>
              <a:cxn ang="0">
                <a:pos x="184" y="137"/>
              </a:cxn>
              <a:cxn ang="0">
                <a:pos x="92" y="170"/>
              </a:cxn>
              <a:cxn ang="0">
                <a:pos x="0" y="137"/>
              </a:cxn>
              <a:cxn ang="0">
                <a:pos x="27" y="113"/>
              </a:cxn>
              <a:cxn ang="0">
                <a:pos x="136" y="111"/>
              </a:cxn>
              <a:cxn ang="0">
                <a:pos x="162" y="131"/>
              </a:cxn>
              <a:cxn ang="0">
                <a:pos x="92" y="156"/>
              </a:cxn>
              <a:cxn ang="0">
                <a:pos x="21" y="131"/>
              </a:cxn>
              <a:cxn ang="0">
                <a:pos x="42" y="113"/>
              </a:cxn>
              <a:cxn ang="0">
                <a:pos x="123" y="111"/>
              </a:cxn>
              <a:cxn ang="0">
                <a:pos x="141" y="125"/>
              </a:cxn>
              <a:cxn ang="0">
                <a:pos x="92" y="143"/>
              </a:cxn>
              <a:cxn ang="0">
                <a:pos x="43" y="125"/>
              </a:cxn>
              <a:cxn ang="0">
                <a:pos x="57" y="112"/>
              </a:cxn>
              <a:cxn ang="0">
                <a:pos x="76" y="86"/>
              </a:cxn>
              <a:cxn ang="0">
                <a:pos x="74" y="86"/>
              </a:cxn>
              <a:cxn ang="0">
                <a:pos x="69" y="76"/>
              </a:cxn>
              <a:cxn ang="0">
                <a:pos x="73" y="61"/>
              </a:cxn>
              <a:cxn ang="0">
                <a:pos x="79" y="49"/>
              </a:cxn>
              <a:cxn ang="0">
                <a:pos x="88" y="33"/>
              </a:cxn>
              <a:cxn ang="0">
                <a:pos x="91" y="108"/>
              </a:cxn>
              <a:cxn ang="0">
                <a:pos x="122" y="76"/>
              </a:cxn>
              <a:cxn ang="0">
                <a:pos x="91" y="0"/>
              </a:cxn>
              <a:cxn ang="0">
                <a:pos x="59" y="76"/>
              </a:cxn>
              <a:cxn ang="0">
                <a:pos x="91" y="108"/>
              </a:cxn>
            </a:cxnLst>
            <a:rect l="0" t="0" r="r" b="b"/>
            <a:pathLst>
              <a:path w="184" h="170">
                <a:moveTo>
                  <a:pt x="151" y="111"/>
                </a:moveTo>
                <a:cubicBezTo>
                  <a:pt x="171" y="117"/>
                  <a:pt x="184" y="127"/>
                  <a:pt x="184" y="137"/>
                </a:cubicBezTo>
                <a:cubicBezTo>
                  <a:pt x="184" y="155"/>
                  <a:pt x="143" y="170"/>
                  <a:pt x="92" y="170"/>
                </a:cubicBezTo>
                <a:cubicBezTo>
                  <a:pt x="41" y="170"/>
                  <a:pt x="0" y="155"/>
                  <a:pt x="0" y="137"/>
                </a:cubicBezTo>
                <a:cubicBezTo>
                  <a:pt x="0" y="128"/>
                  <a:pt x="10" y="119"/>
                  <a:pt x="27" y="113"/>
                </a:cubicBezTo>
                <a:moveTo>
                  <a:pt x="136" y="111"/>
                </a:moveTo>
                <a:cubicBezTo>
                  <a:pt x="152" y="116"/>
                  <a:pt x="162" y="123"/>
                  <a:pt x="162" y="131"/>
                </a:cubicBezTo>
                <a:cubicBezTo>
                  <a:pt x="162" y="145"/>
                  <a:pt x="130" y="156"/>
                  <a:pt x="92" y="156"/>
                </a:cubicBezTo>
                <a:cubicBezTo>
                  <a:pt x="53" y="156"/>
                  <a:pt x="21" y="145"/>
                  <a:pt x="21" y="131"/>
                </a:cubicBezTo>
                <a:cubicBezTo>
                  <a:pt x="21" y="124"/>
                  <a:pt x="29" y="117"/>
                  <a:pt x="42" y="113"/>
                </a:cubicBezTo>
                <a:moveTo>
                  <a:pt x="123" y="111"/>
                </a:moveTo>
                <a:cubicBezTo>
                  <a:pt x="134" y="115"/>
                  <a:pt x="141" y="119"/>
                  <a:pt x="141" y="125"/>
                </a:cubicBezTo>
                <a:cubicBezTo>
                  <a:pt x="141" y="135"/>
                  <a:pt x="119" y="143"/>
                  <a:pt x="92" y="143"/>
                </a:cubicBezTo>
                <a:cubicBezTo>
                  <a:pt x="65" y="143"/>
                  <a:pt x="43" y="135"/>
                  <a:pt x="43" y="125"/>
                </a:cubicBezTo>
                <a:cubicBezTo>
                  <a:pt x="43" y="120"/>
                  <a:pt x="48" y="116"/>
                  <a:pt x="57" y="112"/>
                </a:cubicBezTo>
                <a:moveTo>
                  <a:pt x="76" y="86"/>
                </a:moveTo>
                <a:cubicBezTo>
                  <a:pt x="75" y="86"/>
                  <a:pt x="74" y="87"/>
                  <a:pt x="74" y="86"/>
                </a:cubicBezTo>
                <a:cubicBezTo>
                  <a:pt x="69" y="86"/>
                  <a:pt x="68" y="80"/>
                  <a:pt x="69" y="76"/>
                </a:cubicBezTo>
                <a:cubicBezTo>
                  <a:pt x="69" y="71"/>
                  <a:pt x="70" y="65"/>
                  <a:pt x="73" y="61"/>
                </a:cubicBezTo>
                <a:cubicBezTo>
                  <a:pt x="75" y="57"/>
                  <a:pt x="77" y="53"/>
                  <a:pt x="79" y="49"/>
                </a:cubicBezTo>
                <a:cubicBezTo>
                  <a:pt x="82" y="45"/>
                  <a:pt x="86" y="38"/>
                  <a:pt x="88" y="33"/>
                </a:cubicBezTo>
                <a:moveTo>
                  <a:pt x="91" y="108"/>
                </a:moveTo>
                <a:cubicBezTo>
                  <a:pt x="108" y="108"/>
                  <a:pt x="122" y="94"/>
                  <a:pt x="122" y="76"/>
                </a:cubicBezTo>
                <a:cubicBezTo>
                  <a:pt x="122" y="48"/>
                  <a:pt x="94" y="29"/>
                  <a:pt x="91" y="0"/>
                </a:cubicBezTo>
                <a:cubicBezTo>
                  <a:pt x="86" y="29"/>
                  <a:pt x="59" y="50"/>
                  <a:pt x="59" y="76"/>
                </a:cubicBezTo>
                <a:cubicBezTo>
                  <a:pt x="59" y="94"/>
                  <a:pt x="73" y="108"/>
                  <a:pt x="91" y="108"/>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2" name="Freeform 722"/>
          <p:cNvSpPr>
            <a:spLocks noChangeAspect="1" noEditPoints="1"/>
          </p:cNvSpPr>
          <p:nvPr/>
        </p:nvSpPr>
        <p:spPr bwMode="auto">
          <a:xfrm>
            <a:off x="3363987" y="4339096"/>
            <a:ext cx="540000" cy="341227"/>
          </a:xfrm>
          <a:custGeom>
            <a:avLst/>
            <a:gdLst/>
            <a:ahLst/>
            <a:cxnLst>
              <a:cxn ang="0">
                <a:pos x="82" y="0"/>
              </a:cxn>
              <a:cxn ang="0">
                <a:pos x="64" y="0"/>
              </a:cxn>
              <a:cxn ang="0">
                <a:pos x="52" y="29"/>
              </a:cxn>
              <a:cxn ang="0">
                <a:pos x="141" y="29"/>
              </a:cxn>
              <a:cxn ang="0">
                <a:pos x="92" y="99"/>
              </a:cxn>
              <a:cxn ang="0">
                <a:pos x="193" y="86"/>
              </a:cxn>
              <a:cxn ang="0">
                <a:pos x="159" y="120"/>
              </a:cxn>
              <a:cxn ang="0">
                <a:pos x="125" y="86"/>
              </a:cxn>
              <a:cxn ang="0">
                <a:pos x="159" y="52"/>
              </a:cxn>
              <a:cxn ang="0">
                <a:pos x="193" y="86"/>
              </a:cxn>
              <a:cxn ang="0">
                <a:pos x="67" y="88"/>
              </a:cxn>
              <a:cxn ang="0">
                <a:pos x="34" y="122"/>
              </a:cxn>
              <a:cxn ang="0">
                <a:pos x="11" y="113"/>
              </a:cxn>
              <a:cxn ang="0">
                <a:pos x="0" y="88"/>
              </a:cxn>
              <a:cxn ang="0">
                <a:pos x="34" y="54"/>
              </a:cxn>
              <a:cxn ang="0">
                <a:pos x="67" y="88"/>
              </a:cxn>
            </a:cxnLst>
            <a:rect l="0" t="0" r="r" b="b"/>
            <a:pathLst>
              <a:path w="193" h="122">
                <a:moveTo>
                  <a:pt x="82" y="0"/>
                </a:moveTo>
                <a:cubicBezTo>
                  <a:pt x="64" y="0"/>
                  <a:pt x="64" y="0"/>
                  <a:pt x="64" y="0"/>
                </a:cubicBezTo>
                <a:cubicBezTo>
                  <a:pt x="52" y="29"/>
                  <a:pt x="52" y="29"/>
                  <a:pt x="52" y="29"/>
                </a:cubicBezTo>
                <a:cubicBezTo>
                  <a:pt x="141" y="29"/>
                  <a:pt x="141" y="29"/>
                  <a:pt x="141" y="29"/>
                </a:cubicBezTo>
                <a:cubicBezTo>
                  <a:pt x="92" y="99"/>
                  <a:pt x="92" y="99"/>
                  <a:pt x="92" y="99"/>
                </a:cubicBezTo>
                <a:moveTo>
                  <a:pt x="193" y="86"/>
                </a:moveTo>
                <a:cubicBezTo>
                  <a:pt x="193" y="105"/>
                  <a:pt x="178" y="120"/>
                  <a:pt x="159" y="120"/>
                </a:cubicBezTo>
                <a:cubicBezTo>
                  <a:pt x="140" y="120"/>
                  <a:pt x="125" y="105"/>
                  <a:pt x="125" y="86"/>
                </a:cubicBezTo>
                <a:cubicBezTo>
                  <a:pt x="125" y="67"/>
                  <a:pt x="140" y="52"/>
                  <a:pt x="159" y="52"/>
                </a:cubicBezTo>
                <a:cubicBezTo>
                  <a:pt x="178" y="52"/>
                  <a:pt x="193" y="67"/>
                  <a:pt x="193" y="86"/>
                </a:cubicBezTo>
                <a:close/>
                <a:moveTo>
                  <a:pt x="67" y="88"/>
                </a:moveTo>
                <a:cubicBezTo>
                  <a:pt x="67" y="106"/>
                  <a:pt x="52" y="122"/>
                  <a:pt x="34" y="122"/>
                </a:cubicBezTo>
                <a:cubicBezTo>
                  <a:pt x="25" y="122"/>
                  <a:pt x="17" y="118"/>
                  <a:pt x="11" y="113"/>
                </a:cubicBezTo>
                <a:cubicBezTo>
                  <a:pt x="4" y="107"/>
                  <a:pt x="0" y="98"/>
                  <a:pt x="0" y="88"/>
                </a:cubicBezTo>
                <a:cubicBezTo>
                  <a:pt x="0" y="69"/>
                  <a:pt x="15" y="54"/>
                  <a:pt x="34" y="54"/>
                </a:cubicBezTo>
                <a:cubicBezTo>
                  <a:pt x="52" y="54"/>
                  <a:pt x="67" y="69"/>
                  <a:pt x="67" y="88"/>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Freeform 723"/>
          <p:cNvSpPr>
            <a:spLocks noChangeAspect="1" noEditPoints="1"/>
          </p:cNvSpPr>
          <p:nvPr/>
        </p:nvSpPr>
        <p:spPr bwMode="auto">
          <a:xfrm>
            <a:off x="4277474" y="4305695"/>
            <a:ext cx="540000" cy="353333"/>
          </a:xfrm>
          <a:custGeom>
            <a:avLst/>
            <a:gdLst/>
            <a:ahLst/>
            <a:cxnLst>
              <a:cxn ang="0">
                <a:pos x="79" y="103"/>
              </a:cxn>
              <a:cxn ang="0">
                <a:pos x="122" y="59"/>
              </a:cxn>
              <a:cxn ang="0">
                <a:pos x="5" y="56"/>
              </a:cxn>
              <a:cxn ang="0">
                <a:pos x="61" y="0"/>
              </a:cxn>
              <a:cxn ang="0">
                <a:pos x="81" y="0"/>
              </a:cxn>
              <a:cxn ang="0">
                <a:pos x="70" y="53"/>
              </a:cxn>
              <a:cxn ang="0">
                <a:pos x="144" y="38"/>
              </a:cxn>
              <a:cxn ang="0">
                <a:pos x="193" y="51"/>
              </a:cxn>
              <a:cxn ang="0">
                <a:pos x="192" y="92"/>
              </a:cxn>
              <a:cxn ang="0">
                <a:pos x="159" y="125"/>
              </a:cxn>
              <a:cxn ang="0">
                <a:pos x="126" y="92"/>
              </a:cxn>
              <a:cxn ang="0">
                <a:pos x="159" y="59"/>
              </a:cxn>
              <a:cxn ang="0">
                <a:pos x="192" y="92"/>
              </a:cxn>
              <a:cxn ang="0">
                <a:pos x="66" y="94"/>
              </a:cxn>
              <a:cxn ang="0">
                <a:pos x="33" y="127"/>
              </a:cxn>
              <a:cxn ang="0">
                <a:pos x="12" y="119"/>
              </a:cxn>
              <a:cxn ang="0">
                <a:pos x="0" y="94"/>
              </a:cxn>
              <a:cxn ang="0">
                <a:pos x="33" y="60"/>
              </a:cxn>
              <a:cxn ang="0">
                <a:pos x="66" y="94"/>
              </a:cxn>
            </a:cxnLst>
            <a:rect l="0" t="0" r="r" b="b"/>
            <a:pathLst>
              <a:path w="193" h="127">
                <a:moveTo>
                  <a:pt x="79" y="103"/>
                </a:moveTo>
                <a:cubicBezTo>
                  <a:pt x="109" y="103"/>
                  <a:pt x="122" y="59"/>
                  <a:pt x="122" y="59"/>
                </a:cubicBezTo>
                <a:moveTo>
                  <a:pt x="5" y="56"/>
                </a:moveTo>
                <a:cubicBezTo>
                  <a:pt x="61" y="0"/>
                  <a:pt x="61" y="0"/>
                  <a:pt x="61" y="0"/>
                </a:cubicBezTo>
                <a:cubicBezTo>
                  <a:pt x="81" y="0"/>
                  <a:pt x="81" y="0"/>
                  <a:pt x="81" y="0"/>
                </a:cubicBezTo>
                <a:cubicBezTo>
                  <a:pt x="81" y="0"/>
                  <a:pt x="42" y="36"/>
                  <a:pt x="70" y="53"/>
                </a:cubicBezTo>
                <a:cubicBezTo>
                  <a:pt x="98" y="69"/>
                  <a:pt x="121" y="38"/>
                  <a:pt x="144" y="38"/>
                </a:cubicBezTo>
                <a:cubicBezTo>
                  <a:pt x="167" y="38"/>
                  <a:pt x="193" y="51"/>
                  <a:pt x="193" y="51"/>
                </a:cubicBezTo>
                <a:moveTo>
                  <a:pt x="192" y="92"/>
                </a:moveTo>
                <a:cubicBezTo>
                  <a:pt x="192" y="110"/>
                  <a:pt x="177" y="125"/>
                  <a:pt x="159" y="125"/>
                </a:cubicBezTo>
                <a:cubicBezTo>
                  <a:pt x="140" y="125"/>
                  <a:pt x="126" y="110"/>
                  <a:pt x="126" y="92"/>
                </a:cubicBezTo>
                <a:cubicBezTo>
                  <a:pt x="126" y="74"/>
                  <a:pt x="140" y="59"/>
                  <a:pt x="159" y="59"/>
                </a:cubicBezTo>
                <a:cubicBezTo>
                  <a:pt x="177" y="59"/>
                  <a:pt x="192" y="74"/>
                  <a:pt x="192" y="92"/>
                </a:cubicBezTo>
                <a:close/>
                <a:moveTo>
                  <a:pt x="66" y="94"/>
                </a:moveTo>
                <a:cubicBezTo>
                  <a:pt x="66" y="112"/>
                  <a:pt x="52" y="127"/>
                  <a:pt x="33" y="127"/>
                </a:cubicBezTo>
                <a:cubicBezTo>
                  <a:pt x="25" y="127"/>
                  <a:pt x="17" y="124"/>
                  <a:pt x="12" y="119"/>
                </a:cubicBezTo>
                <a:cubicBezTo>
                  <a:pt x="5" y="112"/>
                  <a:pt x="0" y="104"/>
                  <a:pt x="0" y="94"/>
                </a:cubicBezTo>
                <a:cubicBezTo>
                  <a:pt x="0" y="75"/>
                  <a:pt x="15" y="60"/>
                  <a:pt x="33" y="60"/>
                </a:cubicBezTo>
                <a:cubicBezTo>
                  <a:pt x="52" y="60"/>
                  <a:pt x="66" y="75"/>
                  <a:pt x="66" y="94"/>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4" name="Freeform 724"/>
          <p:cNvSpPr>
            <a:spLocks noChangeAspect="1" noEditPoints="1"/>
          </p:cNvSpPr>
          <p:nvPr/>
        </p:nvSpPr>
        <p:spPr bwMode="auto">
          <a:xfrm flipH="1">
            <a:off x="5320982" y="4351796"/>
            <a:ext cx="540000" cy="284835"/>
          </a:xfrm>
          <a:custGeom>
            <a:avLst/>
            <a:gdLst/>
            <a:ahLst/>
            <a:cxnLst>
              <a:cxn ang="0">
                <a:pos x="190" y="109"/>
              </a:cxn>
              <a:cxn ang="0">
                <a:pos x="175" y="114"/>
              </a:cxn>
              <a:cxn ang="0">
                <a:pos x="151" y="90"/>
              </a:cxn>
              <a:cxn ang="0">
                <a:pos x="175" y="66"/>
              </a:cxn>
              <a:cxn ang="0">
                <a:pos x="199" y="90"/>
              </a:cxn>
              <a:cxn ang="0">
                <a:pos x="197" y="100"/>
              </a:cxn>
              <a:cxn ang="0">
                <a:pos x="216" y="83"/>
              </a:cxn>
              <a:cxn ang="0">
                <a:pos x="197" y="49"/>
              </a:cxn>
              <a:cxn ang="0">
                <a:pos x="133" y="2"/>
              </a:cxn>
              <a:cxn ang="0">
                <a:pos x="56" y="39"/>
              </a:cxn>
              <a:cxn ang="0">
                <a:pos x="0" y="83"/>
              </a:cxn>
              <a:cxn ang="0">
                <a:pos x="19" y="99"/>
              </a:cxn>
              <a:cxn ang="0">
                <a:pos x="66" y="90"/>
              </a:cxn>
              <a:cxn ang="0">
                <a:pos x="42" y="114"/>
              </a:cxn>
              <a:cxn ang="0">
                <a:pos x="27" y="108"/>
              </a:cxn>
              <a:cxn ang="0">
                <a:pos x="18" y="90"/>
              </a:cxn>
              <a:cxn ang="0">
                <a:pos x="42" y="66"/>
              </a:cxn>
              <a:cxn ang="0">
                <a:pos x="66" y="90"/>
              </a:cxn>
              <a:cxn ang="0">
                <a:pos x="63" y="104"/>
              </a:cxn>
              <a:cxn ang="0">
                <a:pos x="155" y="104"/>
              </a:cxn>
            </a:cxnLst>
            <a:rect l="0" t="0" r="r" b="b"/>
            <a:pathLst>
              <a:path w="216" h="114">
                <a:moveTo>
                  <a:pt x="190" y="109"/>
                </a:moveTo>
                <a:cubicBezTo>
                  <a:pt x="186" y="112"/>
                  <a:pt x="181" y="114"/>
                  <a:pt x="175" y="114"/>
                </a:cubicBezTo>
                <a:cubicBezTo>
                  <a:pt x="162" y="114"/>
                  <a:pt x="151" y="104"/>
                  <a:pt x="151" y="90"/>
                </a:cubicBezTo>
                <a:cubicBezTo>
                  <a:pt x="151" y="77"/>
                  <a:pt x="162" y="66"/>
                  <a:pt x="175" y="66"/>
                </a:cubicBezTo>
                <a:cubicBezTo>
                  <a:pt x="188" y="66"/>
                  <a:pt x="199" y="77"/>
                  <a:pt x="199" y="90"/>
                </a:cubicBezTo>
                <a:cubicBezTo>
                  <a:pt x="199" y="94"/>
                  <a:pt x="198" y="97"/>
                  <a:pt x="197" y="100"/>
                </a:cubicBezTo>
                <a:cubicBezTo>
                  <a:pt x="205" y="101"/>
                  <a:pt x="216" y="92"/>
                  <a:pt x="216" y="83"/>
                </a:cubicBezTo>
                <a:cubicBezTo>
                  <a:pt x="216" y="72"/>
                  <a:pt x="197" y="51"/>
                  <a:pt x="197" y="49"/>
                </a:cubicBezTo>
                <a:cubicBezTo>
                  <a:pt x="199" y="26"/>
                  <a:pt x="169" y="4"/>
                  <a:pt x="133" y="2"/>
                </a:cubicBezTo>
                <a:cubicBezTo>
                  <a:pt x="97" y="0"/>
                  <a:pt x="74" y="12"/>
                  <a:pt x="56" y="39"/>
                </a:cubicBezTo>
                <a:cubicBezTo>
                  <a:pt x="55" y="40"/>
                  <a:pt x="0" y="46"/>
                  <a:pt x="0" y="83"/>
                </a:cubicBezTo>
                <a:cubicBezTo>
                  <a:pt x="0" y="90"/>
                  <a:pt x="7" y="99"/>
                  <a:pt x="19" y="99"/>
                </a:cubicBezTo>
                <a:moveTo>
                  <a:pt x="66" y="90"/>
                </a:moveTo>
                <a:cubicBezTo>
                  <a:pt x="66" y="104"/>
                  <a:pt x="56" y="114"/>
                  <a:pt x="42" y="114"/>
                </a:cubicBezTo>
                <a:cubicBezTo>
                  <a:pt x="36" y="114"/>
                  <a:pt x="31" y="112"/>
                  <a:pt x="27" y="108"/>
                </a:cubicBezTo>
                <a:cubicBezTo>
                  <a:pt x="22" y="104"/>
                  <a:pt x="18" y="98"/>
                  <a:pt x="18" y="90"/>
                </a:cubicBezTo>
                <a:cubicBezTo>
                  <a:pt x="18" y="77"/>
                  <a:pt x="29" y="66"/>
                  <a:pt x="42" y="66"/>
                </a:cubicBezTo>
                <a:cubicBezTo>
                  <a:pt x="56" y="66"/>
                  <a:pt x="66" y="77"/>
                  <a:pt x="66" y="90"/>
                </a:cubicBezTo>
                <a:close/>
                <a:moveTo>
                  <a:pt x="63" y="104"/>
                </a:moveTo>
                <a:cubicBezTo>
                  <a:pt x="155" y="104"/>
                  <a:pt x="155" y="104"/>
                  <a:pt x="155" y="10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5" name="Freeform 725"/>
          <p:cNvSpPr>
            <a:spLocks noChangeAspect="1" noEditPoints="1"/>
          </p:cNvSpPr>
          <p:nvPr/>
        </p:nvSpPr>
        <p:spPr bwMode="auto">
          <a:xfrm>
            <a:off x="6313907" y="4291408"/>
            <a:ext cx="468000" cy="386751"/>
          </a:xfrm>
          <a:custGeom>
            <a:avLst/>
            <a:gdLst/>
            <a:ahLst/>
            <a:cxnLst>
              <a:cxn ang="0">
                <a:pos x="134" y="83"/>
              </a:cxn>
              <a:cxn ang="0">
                <a:pos x="145" y="83"/>
              </a:cxn>
              <a:cxn ang="0">
                <a:pos x="161" y="70"/>
              </a:cxn>
              <a:cxn ang="0">
                <a:pos x="145" y="56"/>
              </a:cxn>
              <a:cxn ang="0">
                <a:pos x="122" y="82"/>
              </a:cxn>
              <a:cxn ang="0">
                <a:pos x="107" y="97"/>
              </a:cxn>
              <a:cxn ang="0">
                <a:pos x="64" y="97"/>
              </a:cxn>
              <a:cxn ang="0">
                <a:pos x="48" y="82"/>
              </a:cxn>
              <a:cxn ang="0">
                <a:pos x="26" y="56"/>
              </a:cxn>
              <a:cxn ang="0">
                <a:pos x="10" y="70"/>
              </a:cxn>
              <a:cxn ang="0">
                <a:pos x="26" y="83"/>
              </a:cxn>
              <a:cxn ang="0">
                <a:pos x="37" y="83"/>
              </a:cxn>
              <a:cxn ang="0">
                <a:pos x="146" y="34"/>
              </a:cxn>
              <a:cxn ang="0">
                <a:pos x="122" y="4"/>
              </a:cxn>
              <a:cxn ang="0">
                <a:pos x="49" y="4"/>
              </a:cxn>
              <a:cxn ang="0">
                <a:pos x="25" y="34"/>
              </a:cxn>
              <a:cxn ang="0">
                <a:pos x="25" y="46"/>
              </a:cxn>
              <a:cxn ang="0">
                <a:pos x="25" y="46"/>
              </a:cxn>
              <a:cxn ang="0">
                <a:pos x="0" y="70"/>
              </a:cxn>
              <a:cxn ang="0">
                <a:pos x="0" y="99"/>
              </a:cxn>
              <a:cxn ang="0">
                <a:pos x="6" y="114"/>
              </a:cxn>
              <a:cxn ang="0">
                <a:pos x="6" y="141"/>
              </a:cxn>
              <a:cxn ang="0">
                <a:pos x="27" y="141"/>
              </a:cxn>
              <a:cxn ang="0">
                <a:pos x="27" y="123"/>
              </a:cxn>
              <a:cxn ang="0">
                <a:pos x="144" y="123"/>
              </a:cxn>
              <a:cxn ang="0">
                <a:pos x="144" y="141"/>
              </a:cxn>
              <a:cxn ang="0">
                <a:pos x="165" y="141"/>
              </a:cxn>
              <a:cxn ang="0">
                <a:pos x="165" y="114"/>
              </a:cxn>
              <a:cxn ang="0">
                <a:pos x="171" y="99"/>
              </a:cxn>
              <a:cxn ang="0">
                <a:pos x="171" y="70"/>
              </a:cxn>
              <a:cxn ang="0">
                <a:pos x="146" y="46"/>
              </a:cxn>
              <a:cxn ang="0">
                <a:pos x="146" y="46"/>
              </a:cxn>
              <a:cxn ang="0">
                <a:pos x="40" y="46"/>
              </a:cxn>
            </a:cxnLst>
            <a:rect l="0" t="0" r="r" b="b"/>
            <a:pathLst>
              <a:path w="171" h="141">
                <a:moveTo>
                  <a:pt x="134" y="83"/>
                </a:moveTo>
                <a:cubicBezTo>
                  <a:pt x="138" y="83"/>
                  <a:pt x="142" y="83"/>
                  <a:pt x="145" y="83"/>
                </a:cubicBezTo>
                <a:cubicBezTo>
                  <a:pt x="154" y="83"/>
                  <a:pt x="161" y="77"/>
                  <a:pt x="161" y="70"/>
                </a:cubicBezTo>
                <a:cubicBezTo>
                  <a:pt x="161" y="62"/>
                  <a:pt x="154" y="56"/>
                  <a:pt x="145" y="56"/>
                </a:cubicBezTo>
                <a:cubicBezTo>
                  <a:pt x="132" y="56"/>
                  <a:pt x="122" y="82"/>
                  <a:pt x="122" y="82"/>
                </a:cubicBezTo>
                <a:cubicBezTo>
                  <a:pt x="119" y="91"/>
                  <a:pt x="115" y="97"/>
                  <a:pt x="107" y="97"/>
                </a:cubicBezTo>
                <a:cubicBezTo>
                  <a:pt x="64" y="97"/>
                  <a:pt x="64" y="97"/>
                  <a:pt x="64" y="97"/>
                </a:cubicBezTo>
                <a:cubicBezTo>
                  <a:pt x="56" y="97"/>
                  <a:pt x="51" y="91"/>
                  <a:pt x="48" y="82"/>
                </a:cubicBezTo>
                <a:cubicBezTo>
                  <a:pt x="48" y="82"/>
                  <a:pt x="39" y="56"/>
                  <a:pt x="26" y="56"/>
                </a:cubicBezTo>
                <a:cubicBezTo>
                  <a:pt x="17" y="56"/>
                  <a:pt x="10" y="62"/>
                  <a:pt x="10" y="70"/>
                </a:cubicBezTo>
                <a:cubicBezTo>
                  <a:pt x="10" y="77"/>
                  <a:pt x="17" y="83"/>
                  <a:pt x="26" y="83"/>
                </a:cubicBezTo>
                <a:cubicBezTo>
                  <a:pt x="29" y="83"/>
                  <a:pt x="33" y="83"/>
                  <a:pt x="37" y="83"/>
                </a:cubicBezTo>
                <a:moveTo>
                  <a:pt x="146" y="34"/>
                </a:moveTo>
                <a:cubicBezTo>
                  <a:pt x="146" y="21"/>
                  <a:pt x="136" y="7"/>
                  <a:pt x="122" y="4"/>
                </a:cubicBezTo>
                <a:cubicBezTo>
                  <a:pt x="98" y="0"/>
                  <a:pt x="73" y="0"/>
                  <a:pt x="49" y="4"/>
                </a:cubicBezTo>
                <a:cubicBezTo>
                  <a:pt x="35" y="7"/>
                  <a:pt x="25" y="21"/>
                  <a:pt x="25" y="34"/>
                </a:cubicBezTo>
                <a:cubicBezTo>
                  <a:pt x="25" y="46"/>
                  <a:pt x="25" y="46"/>
                  <a:pt x="25" y="46"/>
                </a:cubicBezTo>
                <a:cubicBezTo>
                  <a:pt x="25" y="46"/>
                  <a:pt x="25" y="46"/>
                  <a:pt x="25" y="46"/>
                </a:cubicBezTo>
                <a:cubicBezTo>
                  <a:pt x="11" y="46"/>
                  <a:pt x="0" y="57"/>
                  <a:pt x="0" y="70"/>
                </a:cubicBezTo>
                <a:cubicBezTo>
                  <a:pt x="0" y="99"/>
                  <a:pt x="0" y="99"/>
                  <a:pt x="0" y="99"/>
                </a:cubicBezTo>
                <a:cubicBezTo>
                  <a:pt x="0" y="105"/>
                  <a:pt x="2" y="110"/>
                  <a:pt x="6" y="114"/>
                </a:cubicBezTo>
                <a:cubicBezTo>
                  <a:pt x="6" y="141"/>
                  <a:pt x="6" y="141"/>
                  <a:pt x="6" y="141"/>
                </a:cubicBezTo>
                <a:cubicBezTo>
                  <a:pt x="27" y="141"/>
                  <a:pt x="27" y="141"/>
                  <a:pt x="27" y="141"/>
                </a:cubicBezTo>
                <a:cubicBezTo>
                  <a:pt x="27" y="123"/>
                  <a:pt x="27" y="123"/>
                  <a:pt x="27" y="123"/>
                </a:cubicBezTo>
                <a:cubicBezTo>
                  <a:pt x="144" y="123"/>
                  <a:pt x="144" y="123"/>
                  <a:pt x="144" y="123"/>
                </a:cubicBezTo>
                <a:cubicBezTo>
                  <a:pt x="144" y="141"/>
                  <a:pt x="144" y="141"/>
                  <a:pt x="144" y="141"/>
                </a:cubicBezTo>
                <a:cubicBezTo>
                  <a:pt x="165" y="141"/>
                  <a:pt x="165" y="141"/>
                  <a:pt x="165" y="141"/>
                </a:cubicBezTo>
                <a:cubicBezTo>
                  <a:pt x="165" y="114"/>
                  <a:pt x="165" y="114"/>
                  <a:pt x="165" y="114"/>
                </a:cubicBezTo>
                <a:cubicBezTo>
                  <a:pt x="168" y="110"/>
                  <a:pt x="171" y="105"/>
                  <a:pt x="171" y="99"/>
                </a:cubicBezTo>
                <a:cubicBezTo>
                  <a:pt x="171" y="70"/>
                  <a:pt x="171" y="70"/>
                  <a:pt x="171" y="70"/>
                </a:cubicBezTo>
                <a:cubicBezTo>
                  <a:pt x="171" y="57"/>
                  <a:pt x="160" y="46"/>
                  <a:pt x="146" y="46"/>
                </a:cubicBezTo>
                <a:cubicBezTo>
                  <a:pt x="146" y="46"/>
                  <a:pt x="146" y="46"/>
                  <a:pt x="146" y="46"/>
                </a:cubicBezTo>
                <a:cubicBezTo>
                  <a:pt x="40" y="46"/>
                  <a:pt x="40" y="46"/>
                  <a:pt x="40" y="4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6" name="Freeform 726"/>
          <p:cNvSpPr>
            <a:spLocks noChangeAspect="1" noEditPoints="1"/>
          </p:cNvSpPr>
          <p:nvPr/>
        </p:nvSpPr>
        <p:spPr bwMode="auto">
          <a:xfrm>
            <a:off x="7172324" y="4236747"/>
            <a:ext cx="468000" cy="435273"/>
          </a:xfrm>
          <a:custGeom>
            <a:avLst/>
            <a:gdLst/>
            <a:ahLst/>
            <a:cxnLst>
              <a:cxn ang="0">
                <a:pos x="43" y="112"/>
              </a:cxn>
              <a:cxn ang="0">
                <a:pos x="126" y="112"/>
              </a:cxn>
              <a:cxn ang="0">
                <a:pos x="146" y="34"/>
              </a:cxn>
              <a:cxn ang="0">
                <a:pos x="122" y="4"/>
              </a:cxn>
              <a:cxn ang="0">
                <a:pos x="48" y="4"/>
              </a:cxn>
              <a:cxn ang="0">
                <a:pos x="24" y="34"/>
              </a:cxn>
              <a:cxn ang="0">
                <a:pos x="24" y="46"/>
              </a:cxn>
              <a:cxn ang="0">
                <a:pos x="24" y="46"/>
              </a:cxn>
              <a:cxn ang="0">
                <a:pos x="0" y="70"/>
              </a:cxn>
              <a:cxn ang="0">
                <a:pos x="0" y="104"/>
              </a:cxn>
              <a:cxn ang="0">
                <a:pos x="5" y="119"/>
              </a:cxn>
              <a:cxn ang="0">
                <a:pos x="5" y="158"/>
              </a:cxn>
              <a:cxn ang="0">
                <a:pos x="37" y="158"/>
              </a:cxn>
              <a:cxn ang="0">
                <a:pos x="37" y="128"/>
              </a:cxn>
              <a:cxn ang="0">
                <a:pos x="133" y="128"/>
              </a:cxn>
              <a:cxn ang="0">
                <a:pos x="133" y="158"/>
              </a:cxn>
              <a:cxn ang="0">
                <a:pos x="165" y="158"/>
              </a:cxn>
              <a:cxn ang="0">
                <a:pos x="165" y="119"/>
              </a:cxn>
              <a:cxn ang="0">
                <a:pos x="170" y="104"/>
              </a:cxn>
              <a:cxn ang="0">
                <a:pos x="170" y="70"/>
              </a:cxn>
              <a:cxn ang="0">
                <a:pos x="146" y="46"/>
              </a:cxn>
              <a:cxn ang="0">
                <a:pos x="146" y="46"/>
              </a:cxn>
              <a:cxn ang="0">
                <a:pos x="39" y="46"/>
              </a:cxn>
              <a:cxn ang="0">
                <a:pos x="133" y="84"/>
              </a:cxn>
              <a:cxn ang="0">
                <a:pos x="144" y="84"/>
              </a:cxn>
              <a:cxn ang="0">
                <a:pos x="160" y="71"/>
              </a:cxn>
              <a:cxn ang="0">
                <a:pos x="144" y="58"/>
              </a:cxn>
              <a:cxn ang="0">
                <a:pos x="122" y="83"/>
              </a:cxn>
              <a:cxn ang="0">
                <a:pos x="106" y="99"/>
              </a:cxn>
              <a:cxn ang="0">
                <a:pos x="64" y="99"/>
              </a:cxn>
              <a:cxn ang="0">
                <a:pos x="47" y="83"/>
              </a:cxn>
              <a:cxn ang="0">
                <a:pos x="26" y="58"/>
              </a:cxn>
              <a:cxn ang="0">
                <a:pos x="10" y="71"/>
              </a:cxn>
              <a:cxn ang="0">
                <a:pos x="26" y="84"/>
              </a:cxn>
              <a:cxn ang="0">
                <a:pos x="37" y="84"/>
              </a:cxn>
            </a:cxnLst>
            <a:rect l="0" t="0" r="r" b="b"/>
            <a:pathLst>
              <a:path w="170" h="158">
                <a:moveTo>
                  <a:pt x="43" y="112"/>
                </a:moveTo>
                <a:cubicBezTo>
                  <a:pt x="126" y="112"/>
                  <a:pt x="126" y="112"/>
                  <a:pt x="126" y="112"/>
                </a:cubicBezTo>
                <a:moveTo>
                  <a:pt x="146" y="34"/>
                </a:moveTo>
                <a:cubicBezTo>
                  <a:pt x="146" y="21"/>
                  <a:pt x="135" y="7"/>
                  <a:pt x="122" y="4"/>
                </a:cubicBezTo>
                <a:cubicBezTo>
                  <a:pt x="97" y="0"/>
                  <a:pt x="72" y="0"/>
                  <a:pt x="48" y="4"/>
                </a:cubicBezTo>
                <a:cubicBezTo>
                  <a:pt x="35" y="7"/>
                  <a:pt x="24" y="21"/>
                  <a:pt x="24" y="34"/>
                </a:cubicBezTo>
                <a:cubicBezTo>
                  <a:pt x="24" y="46"/>
                  <a:pt x="24" y="46"/>
                  <a:pt x="24" y="46"/>
                </a:cubicBezTo>
                <a:cubicBezTo>
                  <a:pt x="24" y="46"/>
                  <a:pt x="24" y="46"/>
                  <a:pt x="24" y="46"/>
                </a:cubicBezTo>
                <a:cubicBezTo>
                  <a:pt x="11" y="46"/>
                  <a:pt x="0" y="57"/>
                  <a:pt x="0" y="70"/>
                </a:cubicBezTo>
                <a:cubicBezTo>
                  <a:pt x="0" y="104"/>
                  <a:pt x="0" y="104"/>
                  <a:pt x="0" y="104"/>
                </a:cubicBezTo>
                <a:cubicBezTo>
                  <a:pt x="0" y="109"/>
                  <a:pt x="2" y="115"/>
                  <a:pt x="5" y="119"/>
                </a:cubicBezTo>
                <a:cubicBezTo>
                  <a:pt x="5" y="158"/>
                  <a:pt x="5" y="158"/>
                  <a:pt x="5" y="158"/>
                </a:cubicBezTo>
                <a:cubicBezTo>
                  <a:pt x="37" y="158"/>
                  <a:pt x="37" y="158"/>
                  <a:pt x="37" y="158"/>
                </a:cubicBezTo>
                <a:cubicBezTo>
                  <a:pt x="37" y="128"/>
                  <a:pt x="37" y="128"/>
                  <a:pt x="37" y="128"/>
                </a:cubicBezTo>
                <a:cubicBezTo>
                  <a:pt x="133" y="128"/>
                  <a:pt x="133" y="128"/>
                  <a:pt x="133" y="128"/>
                </a:cubicBezTo>
                <a:cubicBezTo>
                  <a:pt x="133" y="158"/>
                  <a:pt x="133" y="158"/>
                  <a:pt x="133" y="158"/>
                </a:cubicBezTo>
                <a:cubicBezTo>
                  <a:pt x="165" y="158"/>
                  <a:pt x="165" y="158"/>
                  <a:pt x="165" y="158"/>
                </a:cubicBezTo>
                <a:cubicBezTo>
                  <a:pt x="165" y="119"/>
                  <a:pt x="165" y="119"/>
                  <a:pt x="165" y="119"/>
                </a:cubicBezTo>
                <a:cubicBezTo>
                  <a:pt x="168" y="115"/>
                  <a:pt x="170" y="109"/>
                  <a:pt x="170" y="104"/>
                </a:cubicBezTo>
                <a:cubicBezTo>
                  <a:pt x="170" y="70"/>
                  <a:pt x="170" y="70"/>
                  <a:pt x="170" y="70"/>
                </a:cubicBezTo>
                <a:cubicBezTo>
                  <a:pt x="170" y="57"/>
                  <a:pt x="159" y="46"/>
                  <a:pt x="146" y="46"/>
                </a:cubicBezTo>
                <a:cubicBezTo>
                  <a:pt x="146" y="46"/>
                  <a:pt x="146" y="46"/>
                  <a:pt x="146" y="46"/>
                </a:cubicBezTo>
                <a:cubicBezTo>
                  <a:pt x="39" y="46"/>
                  <a:pt x="39" y="46"/>
                  <a:pt x="39" y="46"/>
                </a:cubicBezTo>
                <a:moveTo>
                  <a:pt x="133" y="84"/>
                </a:moveTo>
                <a:cubicBezTo>
                  <a:pt x="137" y="84"/>
                  <a:pt x="141" y="84"/>
                  <a:pt x="144" y="84"/>
                </a:cubicBezTo>
                <a:cubicBezTo>
                  <a:pt x="153" y="84"/>
                  <a:pt x="160" y="78"/>
                  <a:pt x="160" y="71"/>
                </a:cubicBezTo>
                <a:cubicBezTo>
                  <a:pt x="160" y="64"/>
                  <a:pt x="153" y="58"/>
                  <a:pt x="144" y="58"/>
                </a:cubicBezTo>
                <a:cubicBezTo>
                  <a:pt x="132" y="58"/>
                  <a:pt x="122" y="83"/>
                  <a:pt x="122" y="83"/>
                </a:cubicBezTo>
                <a:cubicBezTo>
                  <a:pt x="118" y="92"/>
                  <a:pt x="115" y="99"/>
                  <a:pt x="106" y="99"/>
                </a:cubicBezTo>
                <a:cubicBezTo>
                  <a:pt x="64" y="99"/>
                  <a:pt x="64" y="99"/>
                  <a:pt x="64" y="99"/>
                </a:cubicBezTo>
                <a:cubicBezTo>
                  <a:pt x="55" y="99"/>
                  <a:pt x="51" y="92"/>
                  <a:pt x="47" y="83"/>
                </a:cubicBezTo>
                <a:cubicBezTo>
                  <a:pt x="47" y="83"/>
                  <a:pt x="38" y="58"/>
                  <a:pt x="26" y="58"/>
                </a:cubicBezTo>
                <a:cubicBezTo>
                  <a:pt x="17" y="58"/>
                  <a:pt x="10" y="64"/>
                  <a:pt x="10" y="71"/>
                </a:cubicBezTo>
                <a:cubicBezTo>
                  <a:pt x="10" y="78"/>
                  <a:pt x="17" y="84"/>
                  <a:pt x="26" y="84"/>
                </a:cubicBezTo>
                <a:cubicBezTo>
                  <a:pt x="29" y="84"/>
                  <a:pt x="33" y="84"/>
                  <a:pt x="37" y="8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Freeform 727"/>
          <p:cNvSpPr>
            <a:spLocks noChangeAspect="1" noEditPoints="1"/>
          </p:cNvSpPr>
          <p:nvPr/>
        </p:nvSpPr>
        <p:spPr bwMode="auto">
          <a:xfrm>
            <a:off x="8106789" y="4210380"/>
            <a:ext cx="432000" cy="459187"/>
          </a:xfrm>
          <a:custGeom>
            <a:avLst/>
            <a:gdLst/>
            <a:ahLst/>
            <a:cxnLst>
              <a:cxn ang="0">
                <a:pos x="137" y="118"/>
              </a:cxn>
              <a:cxn ang="0">
                <a:pos x="136" y="116"/>
              </a:cxn>
              <a:cxn ang="0">
                <a:pos x="143" y="90"/>
              </a:cxn>
              <a:cxn ang="0">
                <a:pos x="169" y="86"/>
              </a:cxn>
              <a:cxn ang="0">
                <a:pos x="170" y="87"/>
              </a:cxn>
              <a:cxn ang="0">
                <a:pos x="33" y="118"/>
              </a:cxn>
              <a:cxn ang="0">
                <a:pos x="35" y="116"/>
              </a:cxn>
              <a:cxn ang="0">
                <a:pos x="28" y="90"/>
              </a:cxn>
              <a:cxn ang="0">
                <a:pos x="1" y="86"/>
              </a:cxn>
              <a:cxn ang="0">
                <a:pos x="0" y="87"/>
              </a:cxn>
              <a:cxn ang="0">
                <a:pos x="137" y="118"/>
              </a:cxn>
              <a:cxn ang="0">
                <a:pos x="33" y="118"/>
              </a:cxn>
              <a:cxn ang="0">
                <a:pos x="0" y="101"/>
              </a:cxn>
              <a:cxn ang="0">
                <a:pos x="0" y="112"/>
              </a:cxn>
              <a:cxn ang="0">
                <a:pos x="6" y="142"/>
              </a:cxn>
              <a:cxn ang="0">
                <a:pos x="6" y="181"/>
              </a:cxn>
              <a:cxn ang="0">
                <a:pos x="32" y="181"/>
              </a:cxn>
              <a:cxn ang="0">
                <a:pos x="32" y="151"/>
              </a:cxn>
              <a:cxn ang="0">
                <a:pos x="138" y="151"/>
              </a:cxn>
              <a:cxn ang="0">
                <a:pos x="138" y="181"/>
              </a:cxn>
              <a:cxn ang="0">
                <a:pos x="165" y="181"/>
              </a:cxn>
              <a:cxn ang="0">
                <a:pos x="165" y="142"/>
              </a:cxn>
              <a:cxn ang="0">
                <a:pos x="170" y="112"/>
              </a:cxn>
              <a:cxn ang="0">
                <a:pos x="170" y="101"/>
              </a:cxn>
              <a:cxn ang="0">
                <a:pos x="170" y="101"/>
              </a:cxn>
              <a:cxn ang="0">
                <a:pos x="170" y="87"/>
              </a:cxn>
              <a:cxn ang="0">
                <a:pos x="0" y="87"/>
              </a:cxn>
              <a:cxn ang="0">
                <a:pos x="0" y="78"/>
              </a:cxn>
              <a:cxn ang="0">
                <a:pos x="13" y="57"/>
              </a:cxn>
              <a:cxn ang="0">
                <a:pos x="42" y="7"/>
              </a:cxn>
              <a:cxn ang="0">
                <a:pos x="131" y="7"/>
              </a:cxn>
              <a:cxn ang="0">
                <a:pos x="157" y="41"/>
              </a:cxn>
              <a:cxn ang="0">
                <a:pos x="29" y="54"/>
              </a:cxn>
              <a:cxn ang="0">
                <a:pos x="146" y="54"/>
              </a:cxn>
              <a:cxn ang="0">
                <a:pos x="146" y="54"/>
              </a:cxn>
              <a:cxn ang="0">
                <a:pos x="170" y="78"/>
              </a:cxn>
              <a:cxn ang="0">
                <a:pos x="170" y="87"/>
              </a:cxn>
              <a:cxn ang="0">
                <a:pos x="0" y="87"/>
              </a:cxn>
              <a:cxn ang="0">
                <a:pos x="0" y="101"/>
              </a:cxn>
            </a:cxnLst>
            <a:rect l="0" t="0" r="r" b="b"/>
            <a:pathLst>
              <a:path w="170" h="181">
                <a:moveTo>
                  <a:pt x="137" y="118"/>
                </a:moveTo>
                <a:cubicBezTo>
                  <a:pt x="137" y="117"/>
                  <a:pt x="136" y="117"/>
                  <a:pt x="136" y="116"/>
                </a:cubicBezTo>
                <a:cubicBezTo>
                  <a:pt x="130" y="111"/>
                  <a:pt x="134" y="99"/>
                  <a:pt x="143" y="90"/>
                </a:cubicBezTo>
                <a:cubicBezTo>
                  <a:pt x="152" y="82"/>
                  <a:pt x="164" y="80"/>
                  <a:pt x="169" y="86"/>
                </a:cubicBezTo>
                <a:cubicBezTo>
                  <a:pt x="170" y="86"/>
                  <a:pt x="170" y="86"/>
                  <a:pt x="170" y="87"/>
                </a:cubicBezTo>
                <a:moveTo>
                  <a:pt x="33" y="118"/>
                </a:moveTo>
                <a:cubicBezTo>
                  <a:pt x="34" y="117"/>
                  <a:pt x="34" y="117"/>
                  <a:pt x="35" y="116"/>
                </a:cubicBezTo>
                <a:cubicBezTo>
                  <a:pt x="40" y="111"/>
                  <a:pt x="37" y="99"/>
                  <a:pt x="28" y="90"/>
                </a:cubicBezTo>
                <a:cubicBezTo>
                  <a:pt x="18" y="82"/>
                  <a:pt x="6" y="80"/>
                  <a:pt x="1" y="86"/>
                </a:cubicBezTo>
                <a:cubicBezTo>
                  <a:pt x="1" y="86"/>
                  <a:pt x="0" y="86"/>
                  <a:pt x="0" y="87"/>
                </a:cubicBezTo>
                <a:moveTo>
                  <a:pt x="137" y="118"/>
                </a:moveTo>
                <a:cubicBezTo>
                  <a:pt x="33" y="118"/>
                  <a:pt x="33" y="118"/>
                  <a:pt x="33" y="118"/>
                </a:cubicBezTo>
                <a:moveTo>
                  <a:pt x="0" y="101"/>
                </a:moveTo>
                <a:cubicBezTo>
                  <a:pt x="0" y="112"/>
                  <a:pt x="0" y="112"/>
                  <a:pt x="0" y="112"/>
                </a:cubicBezTo>
                <a:cubicBezTo>
                  <a:pt x="0" y="117"/>
                  <a:pt x="2" y="138"/>
                  <a:pt x="6" y="142"/>
                </a:cubicBezTo>
                <a:cubicBezTo>
                  <a:pt x="6" y="181"/>
                  <a:pt x="6" y="181"/>
                  <a:pt x="6" y="181"/>
                </a:cubicBezTo>
                <a:cubicBezTo>
                  <a:pt x="32" y="181"/>
                  <a:pt x="32" y="181"/>
                  <a:pt x="32" y="181"/>
                </a:cubicBezTo>
                <a:cubicBezTo>
                  <a:pt x="32" y="151"/>
                  <a:pt x="32" y="151"/>
                  <a:pt x="32" y="151"/>
                </a:cubicBezTo>
                <a:cubicBezTo>
                  <a:pt x="138" y="151"/>
                  <a:pt x="138" y="151"/>
                  <a:pt x="138" y="151"/>
                </a:cubicBezTo>
                <a:cubicBezTo>
                  <a:pt x="138" y="181"/>
                  <a:pt x="138" y="181"/>
                  <a:pt x="138" y="181"/>
                </a:cubicBezTo>
                <a:cubicBezTo>
                  <a:pt x="165" y="181"/>
                  <a:pt x="165" y="181"/>
                  <a:pt x="165" y="181"/>
                </a:cubicBezTo>
                <a:cubicBezTo>
                  <a:pt x="165" y="142"/>
                  <a:pt x="165" y="142"/>
                  <a:pt x="165" y="142"/>
                </a:cubicBezTo>
                <a:cubicBezTo>
                  <a:pt x="168" y="138"/>
                  <a:pt x="170" y="117"/>
                  <a:pt x="170" y="112"/>
                </a:cubicBezTo>
                <a:cubicBezTo>
                  <a:pt x="170" y="101"/>
                  <a:pt x="170" y="101"/>
                  <a:pt x="170" y="101"/>
                </a:cubicBezTo>
                <a:moveTo>
                  <a:pt x="170" y="101"/>
                </a:moveTo>
                <a:cubicBezTo>
                  <a:pt x="170" y="87"/>
                  <a:pt x="170" y="87"/>
                  <a:pt x="170" y="87"/>
                </a:cubicBezTo>
                <a:moveTo>
                  <a:pt x="0" y="87"/>
                </a:moveTo>
                <a:cubicBezTo>
                  <a:pt x="0" y="78"/>
                  <a:pt x="0" y="78"/>
                  <a:pt x="0" y="78"/>
                </a:cubicBezTo>
                <a:cubicBezTo>
                  <a:pt x="0" y="69"/>
                  <a:pt x="5" y="61"/>
                  <a:pt x="13" y="57"/>
                </a:cubicBezTo>
                <a:cubicBezTo>
                  <a:pt x="13" y="35"/>
                  <a:pt x="26" y="11"/>
                  <a:pt x="42" y="7"/>
                </a:cubicBezTo>
                <a:cubicBezTo>
                  <a:pt x="71" y="0"/>
                  <a:pt x="101" y="0"/>
                  <a:pt x="131" y="7"/>
                </a:cubicBezTo>
                <a:cubicBezTo>
                  <a:pt x="143" y="10"/>
                  <a:pt x="153" y="24"/>
                  <a:pt x="157" y="41"/>
                </a:cubicBezTo>
                <a:moveTo>
                  <a:pt x="29" y="54"/>
                </a:moveTo>
                <a:cubicBezTo>
                  <a:pt x="146" y="54"/>
                  <a:pt x="146" y="54"/>
                  <a:pt x="146" y="54"/>
                </a:cubicBezTo>
                <a:cubicBezTo>
                  <a:pt x="146" y="54"/>
                  <a:pt x="146" y="54"/>
                  <a:pt x="146" y="54"/>
                </a:cubicBezTo>
                <a:cubicBezTo>
                  <a:pt x="159" y="54"/>
                  <a:pt x="170" y="65"/>
                  <a:pt x="170" y="78"/>
                </a:cubicBezTo>
                <a:cubicBezTo>
                  <a:pt x="170" y="87"/>
                  <a:pt x="170" y="87"/>
                  <a:pt x="170" y="87"/>
                </a:cubicBezTo>
                <a:moveTo>
                  <a:pt x="0" y="87"/>
                </a:moveTo>
                <a:cubicBezTo>
                  <a:pt x="0" y="101"/>
                  <a:pt x="0" y="101"/>
                  <a:pt x="0" y="10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8" name="Freeform 728"/>
          <p:cNvSpPr>
            <a:spLocks noChangeAspect="1"/>
          </p:cNvSpPr>
          <p:nvPr/>
        </p:nvSpPr>
        <p:spPr bwMode="auto">
          <a:xfrm>
            <a:off x="8999296" y="4178225"/>
            <a:ext cx="616783" cy="504000"/>
          </a:xfrm>
          <a:custGeom>
            <a:avLst/>
            <a:gdLst/>
            <a:ahLst/>
            <a:cxnLst>
              <a:cxn ang="0">
                <a:pos x="105" y="170"/>
              </a:cxn>
              <a:cxn ang="0">
                <a:pos x="141" y="102"/>
              </a:cxn>
              <a:cxn ang="0">
                <a:pos x="184" y="101"/>
              </a:cxn>
              <a:cxn ang="0">
                <a:pos x="207" y="85"/>
              </a:cxn>
              <a:cxn ang="0">
                <a:pos x="184" y="70"/>
              </a:cxn>
              <a:cxn ang="0">
                <a:pos x="141" y="68"/>
              </a:cxn>
              <a:cxn ang="0">
                <a:pos x="105" y="0"/>
              </a:cxn>
              <a:cxn ang="0">
                <a:pos x="87" y="2"/>
              </a:cxn>
              <a:cxn ang="0">
                <a:pos x="97" y="69"/>
              </a:cxn>
              <a:cxn ang="0">
                <a:pos x="32" y="75"/>
              </a:cxn>
              <a:cxn ang="0">
                <a:pos x="18" y="56"/>
              </a:cxn>
              <a:cxn ang="0">
                <a:pos x="0" y="56"/>
              </a:cxn>
              <a:cxn ang="0">
                <a:pos x="14" y="86"/>
              </a:cxn>
              <a:cxn ang="0">
                <a:pos x="0" y="114"/>
              </a:cxn>
              <a:cxn ang="0">
                <a:pos x="18" y="114"/>
              </a:cxn>
              <a:cxn ang="0">
                <a:pos x="32" y="96"/>
              </a:cxn>
              <a:cxn ang="0">
                <a:pos x="97" y="101"/>
              </a:cxn>
              <a:cxn ang="0">
                <a:pos x="87" y="170"/>
              </a:cxn>
            </a:cxnLst>
            <a:rect l="0" t="0" r="r" b="b"/>
            <a:pathLst>
              <a:path w="207" h="170">
                <a:moveTo>
                  <a:pt x="105" y="170"/>
                </a:moveTo>
                <a:cubicBezTo>
                  <a:pt x="141" y="102"/>
                  <a:pt x="141" y="102"/>
                  <a:pt x="141" y="102"/>
                </a:cubicBezTo>
                <a:cubicBezTo>
                  <a:pt x="184" y="101"/>
                  <a:pt x="184" y="101"/>
                  <a:pt x="184" y="101"/>
                </a:cubicBezTo>
                <a:cubicBezTo>
                  <a:pt x="193" y="101"/>
                  <a:pt x="207" y="94"/>
                  <a:pt x="207" y="85"/>
                </a:cubicBezTo>
                <a:cubicBezTo>
                  <a:pt x="207" y="77"/>
                  <a:pt x="193" y="70"/>
                  <a:pt x="184" y="70"/>
                </a:cubicBezTo>
                <a:cubicBezTo>
                  <a:pt x="141" y="68"/>
                  <a:pt x="141" y="68"/>
                  <a:pt x="141" y="68"/>
                </a:cubicBezTo>
                <a:cubicBezTo>
                  <a:pt x="105" y="0"/>
                  <a:pt x="105" y="0"/>
                  <a:pt x="105" y="0"/>
                </a:cubicBezTo>
                <a:cubicBezTo>
                  <a:pt x="87" y="2"/>
                  <a:pt x="87" y="2"/>
                  <a:pt x="87" y="2"/>
                </a:cubicBezTo>
                <a:cubicBezTo>
                  <a:pt x="97" y="69"/>
                  <a:pt x="97" y="69"/>
                  <a:pt x="97" y="69"/>
                </a:cubicBezTo>
                <a:cubicBezTo>
                  <a:pt x="32" y="75"/>
                  <a:pt x="32" y="75"/>
                  <a:pt x="32" y="75"/>
                </a:cubicBezTo>
                <a:cubicBezTo>
                  <a:pt x="18" y="56"/>
                  <a:pt x="18" y="56"/>
                  <a:pt x="18" y="56"/>
                </a:cubicBezTo>
                <a:cubicBezTo>
                  <a:pt x="0" y="56"/>
                  <a:pt x="0" y="56"/>
                  <a:pt x="0" y="56"/>
                </a:cubicBezTo>
                <a:cubicBezTo>
                  <a:pt x="14" y="86"/>
                  <a:pt x="14" y="86"/>
                  <a:pt x="14" y="86"/>
                </a:cubicBezTo>
                <a:cubicBezTo>
                  <a:pt x="0" y="114"/>
                  <a:pt x="0" y="114"/>
                  <a:pt x="0" y="114"/>
                </a:cubicBezTo>
                <a:cubicBezTo>
                  <a:pt x="18" y="114"/>
                  <a:pt x="18" y="114"/>
                  <a:pt x="18" y="114"/>
                </a:cubicBezTo>
                <a:cubicBezTo>
                  <a:pt x="32" y="96"/>
                  <a:pt x="32" y="96"/>
                  <a:pt x="32" y="96"/>
                </a:cubicBezTo>
                <a:cubicBezTo>
                  <a:pt x="97" y="101"/>
                  <a:pt x="97" y="101"/>
                  <a:pt x="97" y="101"/>
                </a:cubicBezTo>
                <a:cubicBezTo>
                  <a:pt x="87" y="170"/>
                  <a:pt x="87" y="170"/>
                  <a:pt x="87" y="17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729"/>
          <p:cNvSpPr>
            <a:spLocks noChangeAspect="1" noEditPoints="1"/>
          </p:cNvSpPr>
          <p:nvPr/>
        </p:nvSpPr>
        <p:spPr bwMode="auto">
          <a:xfrm flipH="1">
            <a:off x="10138869" y="4335233"/>
            <a:ext cx="736829" cy="288000"/>
          </a:xfrm>
          <a:custGeom>
            <a:avLst/>
            <a:gdLst/>
            <a:ahLst/>
            <a:cxnLst>
              <a:cxn ang="0">
                <a:pos x="229" y="34"/>
              </a:cxn>
              <a:cxn ang="0">
                <a:pos x="220" y="34"/>
              </a:cxn>
              <a:cxn ang="0">
                <a:pos x="228" y="6"/>
              </a:cxn>
              <a:cxn ang="0">
                <a:pos x="224" y="1"/>
              </a:cxn>
              <a:cxn ang="0">
                <a:pos x="213" y="1"/>
              </a:cxn>
              <a:cxn ang="0">
                <a:pos x="197" y="22"/>
              </a:cxn>
              <a:cxn ang="0">
                <a:pos x="174" y="33"/>
              </a:cxn>
              <a:cxn ang="0">
                <a:pos x="114" y="33"/>
              </a:cxn>
              <a:cxn ang="0">
                <a:pos x="73" y="27"/>
              </a:cxn>
              <a:cxn ang="0">
                <a:pos x="58" y="24"/>
              </a:cxn>
              <a:cxn ang="0">
                <a:pos x="11" y="45"/>
              </a:cxn>
              <a:cxn ang="0">
                <a:pos x="17" y="60"/>
              </a:cxn>
              <a:cxn ang="0">
                <a:pos x="78" y="68"/>
              </a:cxn>
              <a:cxn ang="0">
                <a:pos x="112" y="88"/>
              </a:cxn>
              <a:cxn ang="0">
                <a:pos x="120" y="83"/>
              </a:cxn>
              <a:cxn ang="0">
                <a:pos x="120" y="69"/>
              </a:cxn>
              <a:cxn ang="0">
                <a:pos x="215" y="56"/>
              </a:cxn>
              <a:cxn ang="0">
                <a:pos x="232" y="48"/>
              </a:cxn>
              <a:cxn ang="0">
                <a:pos x="234" y="39"/>
              </a:cxn>
              <a:cxn ang="0">
                <a:pos x="229" y="34"/>
              </a:cxn>
            </a:cxnLst>
            <a:rect l="0" t="0" r="r" b="b"/>
            <a:pathLst>
              <a:path w="234" h="92">
                <a:moveTo>
                  <a:pt x="229" y="34"/>
                </a:moveTo>
                <a:cubicBezTo>
                  <a:pt x="220" y="34"/>
                  <a:pt x="220" y="34"/>
                  <a:pt x="220" y="34"/>
                </a:cubicBezTo>
                <a:cubicBezTo>
                  <a:pt x="220" y="34"/>
                  <a:pt x="226" y="11"/>
                  <a:pt x="228" y="6"/>
                </a:cubicBezTo>
                <a:cubicBezTo>
                  <a:pt x="229" y="0"/>
                  <a:pt x="224" y="1"/>
                  <a:pt x="224" y="1"/>
                </a:cubicBezTo>
                <a:cubicBezTo>
                  <a:pt x="213" y="1"/>
                  <a:pt x="213" y="1"/>
                  <a:pt x="213" y="1"/>
                </a:cubicBezTo>
                <a:cubicBezTo>
                  <a:pt x="207" y="1"/>
                  <a:pt x="205" y="11"/>
                  <a:pt x="197" y="22"/>
                </a:cubicBezTo>
                <a:cubicBezTo>
                  <a:pt x="190" y="34"/>
                  <a:pt x="174" y="33"/>
                  <a:pt x="174" y="33"/>
                </a:cubicBezTo>
                <a:cubicBezTo>
                  <a:pt x="174" y="33"/>
                  <a:pt x="139" y="33"/>
                  <a:pt x="114" y="33"/>
                </a:cubicBezTo>
                <a:cubicBezTo>
                  <a:pt x="89" y="32"/>
                  <a:pt x="81" y="29"/>
                  <a:pt x="73" y="27"/>
                </a:cubicBezTo>
                <a:cubicBezTo>
                  <a:pt x="66" y="25"/>
                  <a:pt x="58" y="24"/>
                  <a:pt x="58" y="24"/>
                </a:cubicBezTo>
                <a:cubicBezTo>
                  <a:pt x="35" y="25"/>
                  <a:pt x="20" y="37"/>
                  <a:pt x="11" y="45"/>
                </a:cubicBezTo>
                <a:cubicBezTo>
                  <a:pt x="0" y="54"/>
                  <a:pt x="17" y="60"/>
                  <a:pt x="17" y="60"/>
                </a:cubicBezTo>
                <a:cubicBezTo>
                  <a:pt x="37" y="69"/>
                  <a:pt x="78" y="68"/>
                  <a:pt x="78" y="68"/>
                </a:cubicBezTo>
                <a:cubicBezTo>
                  <a:pt x="78" y="68"/>
                  <a:pt x="103" y="83"/>
                  <a:pt x="112" y="88"/>
                </a:cubicBezTo>
                <a:cubicBezTo>
                  <a:pt x="121" y="92"/>
                  <a:pt x="120" y="83"/>
                  <a:pt x="120" y="83"/>
                </a:cubicBezTo>
                <a:cubicBezTo>
                  <a:pt x="120" y="69"/>
                  <a:pt x="120" y="69"/>
                  <a:pt x="120" y="69"/>
                </a:cubicBezTo>
                <a:cubicBezTo>
                  <a:pt x="215" y="56"/>
                  <a:pt x="215" y="56"/>
                  <a:pt x="215" y="56"/>
                </a:cubicBezTo>
                <a:moveTo>
                  <a:pt x="232" y="48"/>
                </a:moveTo>
                <a:cubicBezTo>
                  <a:pt x="234" y="39"/>
                  <a:pt x="234" y="39"/>
                  <a:pt x="234" y="39"/>
                </a:cubicBezTo>
                <a:cubicBezTo>
                  <a:pt x="234" y="33"/>
                  <a:pt x="229" y="34"/>
                  <a:pt x="229" y="3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5" name="Groupe 429"/>
          <p:cNvGrpSpPr>
            <a:grpSpLocks noChangeAspect="1"/>
          </p:cNvGrpSpPr>
          <p:nvPr/>
        </p:nvGrpSpPr>
        <p:grpSpPr>
          <a:xfrm>
            <a:off x="1440361" y="4198993"/>
            <a:ext cx="612439" cy="540000"/>
            <a:chOff x="4487863" y="2801938"/>
            <a:chExt cx="295275" cy="260350"/>
          </a:xfrm>
        </p:grpSpPr>
        <p:sp>
          <p:nvSpPr>
            <p:cNvPr id="431" name="Freeform 561"/>
            <p:cNvSpPr>
              <a:spLocks/>
            </p:cNvSpPr>
            <p:nvPr/>
          </p:nvSpPr>
          <p:spPr bwMode="auto">
            <a:xfrm>
              <a:off x="4529138" y="3000375"/>
              <a:ext cx="95250" cy="28575"/>
            </a:xfrm>
            <a:custGeom>
              <a:avLst/>
              <a:gdLst/>
              <a:ahLst/>
              <a:cxnLst>
                <a:cxn ang="0">
                  <a:pos x="58" y="0"/>
                </a:cxn>
                <a:cxn ang="0">
                  <a:pos x="71" y="9"/>
                </a:cxn>
                <a:cxn ang="0">
                  <a:pos x="35" y="22"/>
                </a:cxn>
                <a:cxn ang="0">
                  <a:pos x="0" y="9"/>
                </a:cxn>
                <a:cxn ang="0">
                  <a:pos x="10" y="0"/>
                </a:cxn>
              </a:cxnLst>
              <a:rect l="0" t="0" r="r" b="b"/>
              <a:pathLst>
                <a:path w="71" h="22">
                  <a:moveTo>
                    <a:pt x="58" y="0"/>
                  </a:moveTo>
                  <a:cubicBezTo>
                    <a:pt x="66" y="2"/>
                    <a:pt x="71" y="5"/>
                    <a:pt x="71" y="9"/>
                  </a:cubicBezTo>
                  <a:cubicBezTo>
                    <a:pt x="71" y="17"/>
                    <a:pt x="55" y="22"/>
                    <a:pt x="35" y="22"/>
                  </a:cubicBezTo>
                  <a:cubicBezTo>
                    <a:pt x="16" y="22"/>
                    <a:pt x="0" y="17"/>
                    <a:pt x="0" y="9"/>
                  </a:cubicBezTo>
                  <a:cubicBezTo>
                    <a:pt x="0" y="6"/>
                    <a:pt x="4" y="3"/>
                    <a:pt x="1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562"/>
            <p:cNvSpPr>
              <a:spLocks/>
            </p:cNvSpPr>
            <p:nvPr/>
          </p:nvSpPr>
          <p:spPr bwMode="auto">
            <a:xfrm>
              <a:off x="4506913" y="3003550"/>
              <a:ext cx="136525" cy="44450"/>
            </a:xfrm>
            <a:custGeom>
              <a:avLst/>
              <a:gdLst/>
              <a:ahLst/>
              <a:cxnLst>
                <a:cxn ang="0">
                  <a:pos x="84" y="0"/>
                </a:cxn>
                <a:cxn ang="0">
                  <a:pos x="102" y="14"/>
                </a:cxn>
                <a:cxn ang="0">
                  <a:pos x="51" y="33"/>
                </a:cxn>
                <a:cxn ang="0">
                  <a:pos x="0" y="14"/>
                </a:cxn>
                <a:cxn ang="0">
                  <a:pos x="15" y="1"/>
                </a:cxn>
              </a:cxnLst>
              <a:rect l="0" t="0" r="r" b="b"/>
              <a:pathLst>
                <a:path w="102" h="33">
                  <a:moveTo>
                    <a:pt x="84" y="0"/>
                  </a:moveTo>
                  <a:cubicBezTo>
                    <a:pt x="95" y="4"/>
                    <a:pt x="102" y="9"/>
                    <a:pt x="102" y="14"/>
                  </a:cubicBezTo>
                  <a:cubicBezTo>
                    <a:pt x="102" y="25"/>
                    <a:pt x="80" y="33"/>
                    <a:pt x="51" y="33"/>
                  </a:cubicBezTo>
                  <a:cubicBezTo>
                    <a:pt x="23" y="33"/>
                    <a:pt x="0" y="25"/>
                    <a:pt x="0" y="14"/>
                  </a:cubicBezTo>
                  <a:cubicBezTo>
                    <a:pt x="0" y="9"/>
                    <a:pt x="6" y="5"/>
                    <a:pt x="15" y="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563"/>
            <p:cNvSpPr>
              <a:spLocks/>
            </p:cNvSpPr>
            <p:nvPr/>
          </p:nvSpPr>
          <p:spPr bwMode="auto">
            <a:xfrm>
              <a:off x="4487863" y="3003550"/>
              <a:ext cx="179388" cy="58738"/>
            </a:xfrm>
            <a:custGeom>
              <a:avLst/>
              <a:gdLst/>
              <a:ahLst/>
              <a:cxnLst>
                <a:cxn ang="0">
                  <a:pos x="109" y="0"/>
                </a:cxn>
                <a:cxn ang="0">
                  <a:pos x="134" y="19"/>
                </a:cxn>
                <a:cxn ang="0">
                  <a:pos x="67" y="43"/>
                </a:cxn>
                <a:cxn ang="0">
                  <a:pos x="0" y="19"/>
                </a:cxn>
                <a:cxn ang="0">
                  <a:pos x="19" y="2"/>
                </a:cxn>
              </a:cxnLst>
              <a:rect l="0" t="0" r="r" b="b"/>
              <a:pathLst>
                <a:path w="134" h="43">
                  <a:moveTo>
                    <a:pt x="109" y="0"/>
                  </a:moveTo>
                  <a:cubicBezTo>
                    <a:pt x="124" y="5"/>
                    <a:pt x="134" y="11"/>
                    <a:pt x="134" y="19"/>
                  </a:cubicBezTo>
                  <a:cubicBezTo>
                    <a:pt x="134" y="32"/>
                    <a:pt x="104" y="43"/>
                    <a:pt x="67" y="43"/>
                  </a:cubicBezTo>
                  <a:cubicBezTo>
                    <a:pt x="30" y="43"/>
                    <a:pt x="0" y="32"/>
                    <a:pt x="0" y="19"/>
                  </a:cubicBezTo>
                  <a:cubicBezTo>
                    <a:pt x="0" y="12"/>
                    <a:pt x="7" y="6"/>
                    <a:pt x="19"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Line 564"/>
            <p:cNvSpPr>
              <a:spLocks noChangeShapeType="1"/>
            </p:cNvSpPr>
            <p:nvPr/>
          </p:nvSpPr>
          <p:spPr bwMode="auto">
            <a:xfrm flipH="1">
              <a:off x="4716463" y="2997200"/>
              <a:ext cx="6667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565"/>
            <p:cNvSpPr>
              <a:spLocks/>
            </p:cNvSpPr>
            <p:nvPr/>
          </p:nvSpPr>
          <p:spPr bwMode="auto">
            <a:xfrm>
              <a:off x="4656138" y="2836863"/>
              <a:ext cx="57150" cy="160338"/>
            </a:xfrm>
            <a:custGeom>
              <a:avLst/>
              <a:gdLst/>
              <a:ahLst/>
              <a:cxnLst>
                <a:cxn ang="0">
                  <a:pos x="43" y="120"/>
                </a:cxn>
                <a:cxn ang="0">
                  <a:pos x="30" y="97"/>
                </a:cxn>
                <a:cxn ang="0">
                  <a:pos x="30" y="53"/>
                </a:cxn>
                <a:cxn ang="0">
                  <a:pos x="30" y="37"/>
                </a:cxn>
                <a:cxn ang="0">
                  <a:pos x="19" y="24"/>
                </a:cxn>
                <a:cxn ang="0">
                  <a:pos x="0" y="23"/>
                </a:cxn>
                <a:cxn ang="0">
                  <a:pos x="0" y="0"/>
                </a:cxn>
              </a:cxnLst>
              <a:rect l="0" t="0" r="r" b="b"/>
              <a:pathLst>
                <a:path w="43" h="120">
                  <a:moveTo>
                    <a:pt x="43" y="120"/>
                  </a:moveTo>
                  <a:cubicBezTo>
                    <a:pt x="28" y="119"/>
                    <a:pt x="30" y="97"/>
                    <a:pt x="30" y="97"/>
                  </a:cubicBezTo>
                  <a:cubicBezTo>
                    <a:pt x="30" y="75"/>
                    <a:pt x="30" y="76"/>
                    <a:pt x="30" y="53"/>
                  </a:cubicBezTo>
                  <a:cubicBezTo>
                    <a:pt x="30" y="48"/>
                    <a:pt x="30" y="43"/>
                    <a:pt x="30" y="37"/>
                  </a:cubicBezTo>
                  <a:cubicBezTo>
                    <a:pt x="30" y="32"/>
                    <a:pt x="23" y="26"/>
                    <a:pt x="19" y="24"/>
                  </a:cubicBezTo>
                  <a:cubicBezTo>
                    <a:pt x="13" y="22"/>
                    <a:pt x="6" y="23"/>
                    <a:pt x="0" y="23"/>
                  </a:cubicBezTo>
                  <a:cubicBezTo>
                    <a:pt x="0" y="0"/>
                    <a:pt x="0" y="0"/>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566"/>
            <p:cNvSpPr>
              <a:spLocks/>
            </p:cNvSpPr>
            <p:nvPr/>
          </p:nvSpPr>
          <p:spPr bwMode="auto">
            <a:xfrm>
              <a:off x="4559301" y="2867025"/>
              <a:ext cx="117475" cy="69850"/>
            </a:xfrm>
            <a:custGeom>
              <a:avLst/>
              <a:gdLst/>
              <a:ahLst/>
              <a:cxnLst>
                <a:cxn ang="0">
                  <a:pos x="88" y="23"/>
                </a:cxn>
                <a:cxn ang="0">
                  <a:pos x="71" y="25"/>
                </a:cxn>
                <a:cxn ang="0">
                  <a:pos x="61" y="35"/>
                </a:cxn>
                <a:cxn ang="0">
                  <a:pos x="47" y="32"/>
                </a:cxn>
                <a:cxn ang="0">
                  <a:pos x="30" y="24"/>
                </a:cxn>
                <a:cxn ang="0">
                  <a:pos x="26" y="47"/>
                </a:cxn>
                <a:cxn ang="0">
                  <a:pos x="4" y="49"/>
                </a:cxn>
                <a:cxn ang="0">
                  <a:pos x="41" y="5"/>
                </a:cxn>
                <a:cxn ang="0">
                  <a:pos x="43" y="1"/>
                </a:cxn>
                <a:cxn ang="0">
                  <a:pos x="52" y="1"/>
                </a:cxn>
              </a:cxnLst>
              <a:rect l="0" t="0" r="r" b="b"/>
              <a:pathLst>
                <a:path w="88" h="52">
                  <a:moveTo>
                    <a:pt x="88" y="23"/>
                  </a:moveTo>
                  <a:cubicBezTo>
                    <a:pt x="82" y="23"/>
                    <a:pt x="76" y="21"/>
                    <a:pt x="71" y="25"/>
                  </a:cubicBezTo>
                  <a:cubicBezTo>
                    <a:pt x="67" y="28"/>
                    <a:pt x="67" y="34"/>
                    <a:pt x="61" y="35"/>
                  </a:cubicBezTo>
                  <a:cubicBezTo>
                    <a:pt x="56" y="37"/>
                    <a:pt x="51" y="35"/>
                    <a:pt x="47" y="32"/>
                  </a:cubicBezTo>
                  <a:cubicBezTo>
                    <a:pt x="42" y="27"/>
                    <a:pt x="37" y="19"/>
                    <a:pt x="30" y="24"/>
                  </a:cubicBezTo>
                  <a:cubicBezTo>
                    <a:pt x="22" y="29"/>
                    <a:pt x="23" y="40"/>
                    <a:pt x="26" y="47"/>
                  </a:cubicBezTo>
                  <a:cubicBezTo>
                    <a:pt x="20" y="52"/>
                    <a:pt x="11" y="50"/>
                    <a:pt x="4" y="49"/>
                  </a:cubicBezTo>
                  <a:cubicBezTo>
                    <a:pt x="0" y="27"/>
                    <a:pt x="15" y="2"/>
                    <a:pt x="41" y="5"/>
                  </a:cubicBezTo>
                  <a:cubicBezTo>
                    <a:pt x="41" y="3"/>
                    <a:pt x="40" y="2"/>
                    <a:pt x="43" y="1"/>
                  </a:cubicBezTo>
                  <a:cubicBezTo>
                    <a:pt x="44" y="0"/>
                    <a:pt x="50" y="1"/>
                    <a:pt x="52" y="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567"/>
            <p:cNvSpPr>
              <a:spLocks/>
            </p:cNvSpPr>
            <p:nvPr/>
          </p:nvSpPr>
          <p:spPr bwMode="auto">
            <a:xfrm>
              <a:off x="4608513" y="2976563"/>
              <a:ext cx="68263" cy="22225"/>
            </a:xfrm>
            <a:custGeom>
              <a:avLst/>
              <a:gdLst/>
              <a:ahLst/>
              <a:cxnLst>
                <a:cxn ang="0">
                  <a:pos x="0" y="17"/>
                </a:cxn>
                <a:cxn ang="0">
                  <a:pos x="36" y="17"/>
                </a:cxn>
                <a:cxn ang="0">
                  <a:pos x="52" y="0"/>
                </a:cxn>
              </a:cxnLst>
              <a:rect l="0" t="0" r="r" b="b"/>
              <a:pathLst>
                <a:path w="52" h="17">
                  <a:moveTo>
                    <a:pt x="0" y="17"/>
                  </a:moveTo>
                  <a:cubicBezTo>
                    <a:pt x="0" y="17"/>
                    <a:pt x="35" y="17"/>
                    <a:pt x="36" y="17"/>
                  </a:cubicBezTo>
                  <a:cubicBezTo>
                    <a:pt x="50" y="16"/>
                    <a:pt x="52" y="0"/>
                    <a:pt x="52"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568"/>
            <p:cNvSpPr>
              <a:spLocks/>
            </p:cNvSpPr>
            <p:nvPr/>
          </p:nvSpPr>
          <p:spPr bwMode="auto">
            <a:xfrm>
              <a:off x="4564063" y="2943225"/>
              <a:ext cx="25400" cy="36513"/>
            </a:xfrm>
            <a:custGeom>
              <a:avLst/>
              <a:gdLst/>
              <a:ahLst/>
              <a:cxnLst>
                <a:cxn ang="0">
                  <a:pos x="18" y="14"/>
                </a:cxn>
                <a:cxn ang="0">
                  <a:pos x="18" y="14"/>
                </a:cxn>
                <a:cxn ang="0">
                  <a:pos x="10" y="0"/>
                </a:cxn>
                <a:cxn ang="0">
                  <a:pos x="0" y="14"/>
                </a:cxn>
                <a:cxn ang="0">
                  <a:pos x="1" y="15"/>
                </a:cxn>
                <a:cxn ang="0">
                  <a:pos x="0" y="18"/>
                </a:cxn>
                <a:cxn ang="0">
                  <a:pos x="9" y="28"/>
                </a:cxn>
                <a:cxn ang="0">
                  <a:pos x="19" y="18"/>
                </a:cxn>
                <a:cxn ang="0">
                  <a:pos x="18" y="14"/>
                </a:cxn>
              </a:cxnLst>
              <a:rect l="0" t="0" r="r" b="b"/>
              <a:pathLst>
                <a:path w="19" h="28">
                  <a:moveTo>
                    <a:pt x="18" y="14"/>
                  </a:moveTo>
                  <a:cubicBezTo>
                    <a:pt x="18" y="14"/>
                    <a:pt x="18" y="14"/>
                    <a:pt x="18" y="14"/>
                  </a:cubicBezTo>
                  <a:cubicBezTo>
                    <a:pt x="10" y="0"/>
                    <a:pt x="10" y="0"/>
                    <a:pt x="10" y="0"/>
                  </a:cubicBezTo>
                  <a:cubicBezTo>
                    <a:pt x="0" y="14"/>
                    <a:pt x="0" y="14"/>
                    <a:pt x="0" y="14"/>
                  </a:cubicBezTo>
                  <a:cubicBezTo>
                    <a:pt x="1" y="15"/>
                    <a:pt x="1" y="15"/>
                    <a:pt x="1" y="15"/>
                  </a:cubicBezTo>
                  <a:cubicBezTo>
                    <a:pt x="0" y="16"/>
                    <a:pt x="0" y="17"/>
                    <a:pt x="0" y="18"/>
                  </a:cubicBezTo>
                  <a:cubicBezTo>
                    <a:pt x="0" y="23"/>
                    <a:pt x="4" y="28"/>
                    <a:pt x="9" y="28"/>
                  </a:cubicBezTo>
                  <a:cubicBezTo>
                    <a:pt x="15" y="28"/>
                    <a:pt x="19" y="23"/>
                    <a:pt x="19" y="18"/>
                  </a:cubicBezTo>
                  <a:cubicBezTo>
                    <a:pt x="19" y="17"/>
                    <a:pt x="19" y="15"/>
                    <a:pt x="18" y="14"/>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569"/>
            <p:cNvSpPr>
              <a:spLocks/>
            </p:cNvSpPr>
            <p:nvPr/>
          </p:nvSpPr>
          <p:spPr bwMode="auto">
            <a:xfrm>
              <a:off x="4595813" y="2801938"/>
              <a:ext cx="103188" cy="36513"/>
            </a:xfrm>
            <a:custGeom>
              <a:avLst/>
              <a:gdLst/>
              <a:ahLst/>
              <a:cxnLst>
                <a:cxn ang="0">
                  <a:pos x="62" y="27"/>
                </a:cxn>
                <a:cxn ang="0">
                  <a:pos x="64" y="27"/>
                </a:cxn>
                <a:cxn ang="0">
                  <a:pos x="77" y="14"/>
                </a:cxn>
                <a:cxn ang="0">
                  <a:pos x="64" y="0"/>
                </a:cxn>
                <a:cxn ang="0">
                  <a:pos x="50" y="14"/>
                </a:cxn>
                <a:cxn ang="0">
                  <a:pos x="27" y="14"/>
                </a:cxn>
                <a:cxn ang="0">
                  <a:pos x="14" y="0"/>
                </a:cxn>
                <a:cxn ang="0">
                  <a:pos x="0" y="14"/>
                </a:cxn>
                <a:cxn ang="0">
                  <a:pos x="14" y="27"/>
                </a:cxn>
                <a:cxn ang="0">
                  <a:pos x="15" y="27"/>
                </a:cxn>
              </a:cxnLst>
              <a:rect l="0" t="0" r="r" b="b"/>
              <a:pathLst>
                <a:path w="77" h="27">
                  <a:moveTo>
                    <a:pt x="62" y="27"/>
                  </a:moveTo>
                  <a:cubicBezTo>
                    <a:pt x="63" y="27"/>
                    <a:pt x="63" y="27"/>
                    <a:pt x="64" y="27"/>
                  </a:cubicBezTo>
                  <a:cubicBezTo>
                    <a:pt x="71" y="27"/>
                    <a:pt x="77" y="21"/>
                    <a:pt x="77" y="14"/>
                  </a:cubicBezTo>
                  <a:cubicBezTo>
                    <a:pt x="77" y="6"/>
                    <a:pt x="71" y="0"/>
                    <a:pt x="64" y="0"/>
                  </a:cubicBezTo>
                  <a:cubicBezTo>
                    <a:pt x="56" y="0"/>
                    <a:pt x="50" y="6"/>
                    <a:pt x="50" y="14"/>
                  </a:cubicBezTo>
                  <a:cubicBezTo>
                    <a:pt x="27" y="14"/>
                    <a:pt x="27" y="14"/>
                    <a:pt x="27" y="14"/>
                  </a:cubicBezTo>
                  <a:cubicBezTo>
                    <a:pt x="27" y="6"/>
                    <a:pt x="21" y="0"/>
                    <a:pt x="14" y="0"/>
                  </a:cubicBezTo>
                  <a:cubicBezTo>
                    <a:pt x="6" y="0"/>
                    <a:pt x="0" y="6"/>
                    <a:pt x="0" y="14"/>
                  </a:cubicBezTo>
                  <a:cubicBezTo>
                    <a:pt x="0" y="21"/>
                    <a:pt x="6" y="27"/>
                    <a:pt x="14" y="27"/>
                  </a:cubicBezTo>
                  <a:cubicBezTo>
                    <a:pt x="14" y="27"/>
                    <a:pt x="15" y="27"/>
                    <a:pt x="15" y="2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41" name="ZoneTexte 440"/>
          <p:cNvSpPr txBox="1"/>
          <p:nvPr/>
        </p:nvSpPr>
        <p:spPr>
          <a:xfrm>
            <a:off x="1143000" y="4759131"/>
            <a:ext cx="1017916" cy="423344"/>
          </a:xfrm>
          <a:prstGeom prst="rect">
            <a:avLst/>
          </a:prstGeom>
          <a:noFill/>
        </p:spPr>
        <p:txBody>
          <a:bodyPr wrap="square" lIns="83969" tIns="41985" rIns="83969" bIns="41985" rtlCol="0">
            <a:spAutoFit/>
          </a:bodyPr>
          <a:lstStyle/>
          <a:p>
            <a:pPr algn="ctr"/>
            <a:r>
              <a:rPr lang="en-US" sz="1100">
                <a:solidFill>
                  <a:srgbClr val="494949"/>
                </a:solidFill>
              </a:rPr>
              <a:t>Water Drop 1</a:t>
            </a:r>
          </a:p>
        </p:txBody>
      </p:sp>
      <p:sp>
        <p:nvSpPr>
          <p:cNvPr id="442" name="Freeform 731"/>
          <p:cNvSpPr>
            <a:spLocks noChangeAspect="1" noEditPoints="1"/>
          </p:cNvSpPr>
          <p:nvPr/>
        </p:nvSpPr>
        <p:spPr bwMode="auto">
          <a:xfrm>
            <a:off x="9551239" y="2942920"/>
            <a:ext cx="317202" cy="540000"/>
          </a:xfrm>
          <a:custGeom>
            <a:avLst/>
            <a:gdLst/>
            <a:ahLst/>
            <a:cxnLst>
              <a:cxn ang="0">
                <a:pos x="27" y="135"/>
              </a:cxn>
              <a:cxn ang="0">
                <a:pos x="23" y="136"/>
              </a:cxn>
              <a:cxn ang="0">
                <a:pos x="15" y="119"/>
              </a:cxn>
              <a:cxn ang="0">
                <a:pos x="22" y="95"/>
              </a:cxn>
              <a:cxn ang="0">
                <a:pos x="33" y="77"/>
              </a:cxn>
              <a:cxn ang="0">
                <a:pos x="46" y="51"/>
              </a:cxn>
              <a:cxn ang="0">
                <a:pos x="50" y="0"/>
              </a:cxn>
              <a:cxn ang="0">
                <a:pos x="0" y="120"/>
              </a:cxn>
              <a:cxn ang="0">
                <a:pos x="50" y="170"/>
              </a:cxn>
              <a:cxn ang="0">
                <a:pos x="100" y="120"/>
              </a:cxn>
              <a:cxn ang="0">
                <a:pos x="67" y="44"/>
              </a:cxn>
            </a:cxnLst>
            <a:rect l="0" t="0" r="r" b="b"/>
            <a:pathLst>
              <a:path w="100" h="170">
                <a:moveTo>
                  <a:pt x="27" y="135"/>
                </a:moveTo>
                <a:cubicBezTo>
                  <a:pt x="26" y="136"/>
                  <a:pt x="25" y="136"/>
                  <a:pt x="23" y="136"/>
                </a:cubicBezTo>
                <a:cubicBezTo>
                  <a:pt x="16" y="134"/>
                  <a:pt x="15" y="126"/>
                  <a:pt x="15" y="119"/>
                </a:cubicBezTo>
                <a:cubicBezTo>
                  <a:pt x="16" y="111"/>
                  <a:pt x="19" y="103"/>
                  <a:pt x="22" y="95"/>
                </a:cubicBezTo>
                <a:cubicBezTo>
                  <a:pt x="25" y="89"/>
                  <a:pt x="29" y="83"/>
                  <a:pt x="33" y="77"/>
                </a:cubicBezTo>
                <a:cubicBezTo>
                  <a:pt x="37" y="71"/>
                  <a:pt x="42" y="60"/>
                  <a:pt x="46" y="51"/>
                </a:cubicBezTo>
                <a:moveTo>
                  <a:pt x="50" y="0"/>
                </a:moveTo>
                <a:cubicBezTo>
                  <a:pt x="43" y="46"/>
                  <a:pt x="0" y="79"/>
                  <a:pt x="0" y="120"/>
                </a:cubicBezTo>
                <a:cubicBezTo>
                  <a:pt x="0" y="147"/>
                  <a:pt x="23" y="170"/>
                  <a:pt x="50" y="170"/>
                </a:cubicBezTo>
                <a:cubicBezTo>
                  <a:pt x="78" y="170"/>
                  <a:pt x="100" y="147"/>
                  <a:pt x="100" y="120"/>
                </a:cubicBezTo>
                <a:cubicBezTo>
                  <a:pt x="100" y="91"/>
                  <a:pt x="82" y="69"/>
                  <a:pt x="67" y="4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ZoneTexte 442"/>
          <p:cNvSpPr txBox="1"/>
          <p:nvPr/>
        </p:nvSpPr>
        <p:spPr>
          <a:xfrm>
            <a:off x="9305625" y="3591501"/>
            <a:ext cx="738723" cy="254067"/>
          </a:xfrm>
          <a:prstGeom prst="rect">
            <a:avLst/>
          </a:prstGeom>
          <a:noFill/>
        </p:spPr>
        <p:txBody>
          <a:bodyPr wrap="square" lIns="83969" tIns="41985" rIns="83969" bIns="41985" rtlCol="0">
            <a:spAutoFit/>
          </a:bodyPr>
          <a:lstStyle/>
          <a:p>
            <a:pPr algn="ctr"/>
            <a:r>
              <a:rPr lang="en-US" sz="1100">
                <a:solidFill>
                  <a:srgbClr val="494949"/>
                </a:solidFill>
              </a:rPr>
              <a:t>Water</a:t>
            </a:r>
          </a:p>
        </p:txBody>
      </p:sp>
      <p:grpSp>
        <p:nvGrpSpPr>
          <p:cNvPr id="6" name="Groupe 487"/>
          <p:cNvGrpSpPr>
            <a:grpSpLocks noChangeAspect="1"/>
          </p:cNvGrpSpPr>
          <p:nvPr/>
        </p:nvGrpSpPr>
        <p:grpSpPr>
          <a:xfrm>
            <a:off x="4623705" y="5218305"/>
            <a:ext cx="805413" cy="504000"/>
            <a:chOff x="3643617" y="6439613"/>
            <a:chExt cx="258763" cy="161925"/>
          </a:xfrm>
        </p:grpSpPr>
        <p:sp>
          <p:nvSpPr>
            <p:cNvPr id="449" name="Freeform 607"/>
            <p:cNvSpPr>
              <a:spLocks/>
            </p:cNvSpPr>
            <p:nvPr/>
          </p:nvSpPr>
          <p:spPr bwMode="auto">
            <a:xfrm>
              <a:off x="3643617" y="6439613"/>
              <a:ext cx="258763" cy="161925"/>
            </a:xfrm>
            <a:custGeom>
              <a:avLst/>
              <a:gdLst/>
              <a:ahLst/>
              <a:cxnLst>
                <a:cxn ang="0">
                  <a:pos x="193" y="108"/>
                </a:cxn>
                <a:cxn ang="0">
                  <a:pos x="179" y="122"/>
                </a:cxn>
                <a:cxn ang="0">
                  <a:pos x="13" y="122"/>
                </a:cxn>
                <a:cxn ang="0">
                  <a:pos x="0" y="108"/>
                </a:cxn>
                <a:cxn ang="0">
                  <a:pos x="175" y="108"/>
                </a:cxn>
                <a:cxn ang="0">
                  <a:pos x="175" y="0"/>
                </a:cxn>
                <a:cxn ang="0">
                  <a:pos x="17" y="0"/>
                </a:cxn>
                <a:cxn ang="0">
                  <a:pos x="17" y="94"/>
                </a:cxn>
              </a:cxnLst>
              <a:rect l="0" t="0" r="r" b="b"/>
              <a:pathLst>
                <a:path w="193" h="122">
                  <a:moveTo>
                    <a:pt x="193" y="108"/>
                  </a:moveTo>
                  <a:cubicBezTo>
                    <a:pt x="193" y="116"/>
                    <a:pt x="187" y="122"/>
                    <a:pt x="179" y="122"/>
                  </a:cubicBezTo>
                  <a:cubicBezTo>
                    <a:pt x="13" y="122"/>
                    <a:pt x="13" y="122"/>
                    <a:pt x="13" y="122"/>
                  </a:cubicBezTo>
                  <a:cubicBezTo>
                    <a:pt x="6" y="122"/>
                    <a:pt x="0" y="116"/>
                    <a:pt x="0" y="108"/>
                  </a:cubicBezTo>
                  <a:cubicBezTo>
                    <a:pt x="175" y="108"/>
                    <a:pt x="175" y="108"/>
                    <a:pt x="175" y="108"/>
                  </a:cubicBezTo>
                  <a:cubicBezTo>
                    <a:pt x="175" y="0"/>
                    <a:pt x="175" y="0"/>
                    <a:pt x="175" y="0"/>
                  </a:cubicBezTo>
                  <a:cubicBezTo>
                    <a:pt x="17" y="0"/>
                    <a:pt x="17" y="0"/>
                    <a:pt x="17" y="0"/>
                  </a:cubicBezTo>
                  <a:cubicBezTo>
                    <a:pt x="17" y="94"/>
                    <a:pt x="17" y="94"/>
                    <a:pt x="17" y="9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608"/>
            <p:cNvSpPr>
              <a:spLocks noEditPoints="1"/>
            </p:cNvSpPr>
            <p:nvPr/>
          </p:nvSpPr>
          <p:spPr bwMode="auto">
            <a:xfrm>
              <a:off x="3676955" y="6480888"/>
              <a:ext cx="17463" cy="22225"/>
            </a:xfrm>
            <a:custGeom>
              <a:avLst/>
              <a:gdLst/>
              <a:ahLst/>
              <a:cxnLst>
                <a:cxn ang="0">
                  <a:pos x="6" y="14"/>
                </a:cxn>
                <a:cxn ang="0">
                  <a:pos x="9" y="9"/>
                </a:cxn>
                <a:cxn ang="0">
                  <a:pos x="6" y="3"/>
                </a:cxn>
                <a:cxn ang="0">
                  <a:pos x="4" y="9"/>
                </a:cxn>
                <a:cxn ang="0">
                  <a:pos x="6" y="14"/>
                </a:cxn>
                <a:cxn ang="0">
                  <a:pos x="6" y="0"/>
                </a:cxn>
                <a:cxn ang="0">
                  <a:pos x="13" y="8"/>
                </a:cxn>
                <a:cxn ang="0">
                  <a:pos x="6" y="17"/>
                </a:cxn>
                <a:cxn ang="0">
                  <a:pos x="0" y="8"/>
                </a:cxn>
                <a:cxn ang="0">
                  <a:pos x="6" y="0"/>
                </a:cxn>
              </a:cxnLst>
              <a:rect l="0" t="0" r="r" b="b"/>
              <a:pathLst>
                <a:path w="13" h="17">
                  <a:moveTo>
                    <a:pt x="6" y="14"/>
                  </a:moveTo>
                  <a:cubicBezTo>
                    <a:pt x="8" y="14"/>
                    <a:pt x="9" y="13"/>
                    <a:pt x="9" y="9"/>
                  </a:cubicBezTo>
                  <a:cubicBezTo>
                    <a:pt x="9" y="5"/>
                    <a:pt x="8" y="3"/>
                    <a:pt x="6" y="3"/>
                  </a:cubicBezTo>
                  <a:cubicBezTo>
                    <a:pt x="4" y="3"/>
                    <a:pt x="4" y="5"/>
                    <a:pt x="4" y="9"/>
                  </a:cubicBezTo>
                  <a:cubicBezTo>
                    <a:pt x="4" y="13"/>
                    <a:pt x="5" y="14"/>
                    <a:pt x="6" y="14"/>
                  </a:cubicBezTo>
                  <a:moveTo>
                    <a:pt x="6" y="0"/>
                  </a:moveTo>
                  <a:cubicBezTo>
                    <a:pt x="10" y="0"/>
                    <a:pt x="13" y="3"/>
                    <a:pt x="13" y="8"/>
                  </a:cubicBezTo>
                  <a:cubicBezTo>
                    <a:pt x="13" y="12"/>
                    <a:pt x="11" y="17"/>
                    <a:pt x="6" y="17"/>
                  </a:cubicBezTo>
                  <a:cubicBezTo>
                    <a:pt x="2" y="17"/>
                    <a:pt x="0" y="12"/>
                    <a:pt x="0" y="8"/>
                  </a:cubicBezTo>
                  <a:cubicBezTo>
                    <a:pt x="0" y="3"/>
                    <a:pt x="3" y="0"/>
                    <a:pt x="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609"/>
            <p:cNvSpPr>
              <a:spLocks/>
            </p:cNvSpPr>
            <p:nvPr/>
          </p:nvSpPr>
          <p:spPr bwMode="auto">
            <a:xfrm>
              <a:off x="3694417" y="6480888"/>
              <a:ext cx="11113" cy="22225"/>
            </a:xfrm>
            <a:custGeom>
              <a:avLst/>
              <a:gdLst/>
              <a:ahLst/>
              <a:cxnLst>
                <a:cxn ang="0">
                  <a:pos x="4" y="6"/>
                </a:cxn>
                <a:cxn ang="0">
                  <a:pos x="1" y="6"/>
                </a:cxn>
                <a:cxn ang="0">
                  <a:pos x="0" y="5"/>
                </a:cxn>
                <a:cxn ang="0">
                  <a:pos x="2" y="4"/>
                </a:cxn>
                <a:cxn ang="0">
                  <a:pos x="3" y="3"/>
                </a:cxn>
                <a:cxn ang="0">
                  <a:pos x="7" y="0"/>
                </a:cxn>
                <a:cxn ang="0">
                  <a:pos x="8" y="2"/>
                </a:cxn>
                <a:cxn ang="0">
                  <a:pos x="8" y="15"/>
                </a:cxn>
                <a:cxn ang="0">
                  <a:pos x="6" y="17"/>
                </a:cxn>
                <a:cxn ang="0">
                  <a:pos x="4" y="15"/>
                </a:cxn>
                <a:cxn ang="0">
                  <a:pos x="4" y="6"/>
                </a:cxn>
              </a:cxnLst>
              <a:rect l="0" t="0" r="r" b="b"/>
              <a:pathLst>
                <a:path w="8" h="17">
                  <a:moveTo>
                    <a:pt x="4" y="6"/>
                  </a:moveTo>
                  <a:cubicBezTo>
                    <a:pt x="1" y="6"/>
                    <a:pt x="1" y="6"/>
                    <a:pt x="1" y="6"/>
                  </a:cubicBezTo>
                  <a:cubicBezTo>
                    <a:pt x="1" y="6"/>
                    <a:pt x="0" y="6"/>
                    <a:pt x="0" y="5"/>
                  </a:cubicBezTo>
                  <a:cubicBezTo>
                    <a:pt x="0" y="4"/>
                    <a:pt x="1" y="4"/>
                    <a:pt x="2" y="4"/>
                  </a:cubicBezTo>
                  <a:cubicBezTo>
                    <a:pt x="3" y="3"/>
                    <a:pt x="3" y="3"/>
                    <a:pt x="3" y="3"/>
                  </a:cubicBezTo>
                  <a:cubicBezTo>
                    <a:pt x="5" y="3"/>
                    <a:pt x="5" y="0"/>
                    <a:pt x="7" y="0"/>
                  </a:cubicBezTo>
                  <a:cubicBezTo>
                    <a:pt x="7" y="0"/>
                    <a:pt x="8" y="1"/>
                    <a:pt x="8" y="2"/>
                  </a:cubicBezTo>
                  <a:cubicBezTo>
                    <a:pt x="8" y="15"/>
                    <a:pt x="8" y="15"/>
                    <a:pt x="8" y="15"/>
                  </a:cubicBezTo>
                  <a:cubicBezTo>
                    <a:pt x="8" y="16"/>
                    <a:pt x="7" y="17"/>
                    <a:pt x="6" y="17"/>
                  </a:cubicBezTo>
                  <a:cubicBezTo>
                    <a:pt x="5" y="17"/>
                    <a:pt x="4" y="16"/>
                    <a:pt x="4" y="15"/>
                  </a:cubicBezTo>
                  <a:cubicBezTo>
                    <a:pt x="4" y="6"/>
                    <a:pt x="4" y="6"/>
                    <a:pt x="4"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610"/>
            <p:cNvSpPr>
              <a:spLocks noEditPoints="1"/>
            </p:cNvSpPr>
            <p:nvPr/>
          </p:nvSpPr>
          <p:spPr bwMode="auto">
            <a:xfrm>
              <a:off x="3708705" y="6480888"/>
              <a:ext cx="15875" cy="22225"/>
            </a:xfrm>
            <a:custGeom>
              <a:avLst/>
              <a:gdLst/>
              <a:ahLst/>
              <a:cxnLst>
                <a:cxn ang="0">
                  <a:pos x="6" y="14"/>
                </a:cxn>
                <a:cxn ang="0">
                  <a:pos x="9" y="9"/>
                </a:cxn>
                <a:cxn ang="0">
                  <a:pos x="6" y="3"/>
                </a:cxn>
                <a:cxn ang="0">
                  <a:pos x="3" y="9"/>
                </a:cxn>
                <a:cxn ang="0">
                  <a:pos x="6" y="14"/>
                </a:cxn>
                <a:cxn ang="0">
                  <a:pos x="6" y="0"/>
                </a:cxn>
                <a:cxn ang="0">
                  <a:pos x="12" y="8"/>
                </a:cxn>
                <a:cxn ang="0">
                  <a:pos x="6" y="17"/>
                </a:cxn>
                <a:cxn ang="0">
                  <a:pos x="0" y="8"/>
                </a:cxn>
                <a:cxn ang="0">
                  <a:pos x="6" y="0"/>
                </a:cxn>
              </a:cxnLst>
              <a:rect l="0" t="0" r="r" b="b"/>
              <a:pathLst>
                <a:path w="12" h="17">
                  <a:moveTo>
                    <a:pt x="6" y="14"/>
                  </a:moveTo>
                  <a:cubicBezTo>
                    <a:pt x="8" y="14"/>
                    <a:pt x="9" y="13"/>
                    <a:pt x="9" y="9"/>
                  </a:cubicBezTo>
                  <a:cubicBezTo>
                    <a:pt x="9" y="5"/>
                    <a:pt x="8" y="3"/>
                    <a:pt x="6" y="3"/>
                  </a:cubicBezTo>
                  <a:cubicBezTo>
                    <a:pt x="4" y="3"/>
                    <a:pt x="3" y="5"/>
                    <a:pt x="3" y="9"/>
                  </a:cubicBezTo>
                  <a:cubicBezTo>
                    <a:pt x="3" y="13"/>
                    <a:pt x="4" y="14"/>
                    <a:pt x="6" y="14"/>
                  </a:cubicBezTo>
                  <a:moveTo>
                    <a:pt x="6" y="0"/>
                  </a:moveTo>
                  <a:cubicBezTo>
                    <a:pt x="10" y="0"/>
                    <a:pt x="12" y="3"/>
                    <a:pt x="12" y="8"/>
                  </a:cubicBezTo>
                  <a:cubicBezTo>
                    <a:pt x="12" y="12"/>
                    <a:pt x="11" y="17"/>
                    <a:pt x="6" y="17"/>
                  </a:cubicBezTo>
                  <a:cubicBezTo>
                    <a:pt x="1" y="17"/>
                    <a:pt x="0" y="12"/>
                    <a:pt x="0" y="8"/>
                  </a:cubicBezTo>
                  <a:cubicBezTo>
                    <a:pt x="0" y="3"/>
                    <a:pt x="2" y="0"/>
                    <a:pt x="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611"/>
            <p:cNvSpPr>
              <a:spLocks noEditPoints="1"/>
            </p:cNvSpPr>
            <p:nvPr/>
          </p:nvSpPr>
          <p:spPr bwMode="auto">
            <a:xfrm>
              <a:off x="3727755" y="6480888"/>
              <a:ext cx="15875" cy="22225"/>
            </a:xfrm>
            <a:custGeom>
              <a:avLst/>
              <a:gdLst/>
              <a:ahLst/>
              <a:cxnLst>
                <a:cxn ang="0">
                  <a:pos x="6" y="14"/>
                </a:cxn>
                <a:cxn ang="0">
                  <a:pos x="9" y="9"/>
                </a:cxn>
                <a:cxn ang="0">
                  <a:pos x="6" y="3"/>
                </a:cxn>
                <a:cxn ang="0">
                  <a:pos x="3" y="9"/>
                </a:cxn>
                <a:cxn ang="0">
                  <a:pos x="6" y="14"/>
                </a:cxn>
                <a:cxn ang="0">
                  <a:pos x="6" y="0"/>
                </a:cxn>
                <a:cxn ang="0">
                  <a:pos x="12" y="8"/>
                </a:cxn>
                <a:cxn ang="0">
                  <a:pos x="6" y="17"/>
                </a:cxn>
                <a:cxn ang="0">
                  <a:pos x="0" y="8"/>
                </a:cxn>
                <a:cxn ang="0">
                  <a:pos x="6" y="0"/>
                </a:cxn>
              </a:cxnLst>
              <a:rect l="0" t="0" r="r" b="b"/>
              <a:pathLst>
                <a:path w="12" h="17">
                  <a:moveTo>
                    <a:pt x="6" y="14"/>
                  </a:moveTo>
                  <a:cubicBezTo>
                    <a:pt x="8" y="14"/>
                    <a:pt x="9" y="13"/>
                    <a:pt x="9" y="9"/>
                  </a:cubicBezTo>
                  <a:cubicBezTo>
                    <a:pt x="9" y="5"/>
                    <a:pt x="8" y="3"/>
                    <a:pt x="6" y="3"/>
                  </a:cubicBezTo>
                  <a:cubicBezTo>
                    <a:pt x="4" y="3"/>
                    <a:pt x="3" y="5"/>
                    <a:pt x="3" y="9"/>
                  </a:cubicBezTo>
                  <a:cubicBezTo>
                    <a:pt x="3" y="13"/>
                    <a:pt x="4" y="14"/>
                    <a:pt x="6" y="14"/>
                  </a:cubicBezTo>
                  <a:moveTo>
                    <a:pt x="6" y="0"/>
                  </a:moveTo>
                  <a:cubicBezTo>
                    <a:pt x="10" y="0"/>
                    <a:pt x="12" y="3"/>
                    <a:pt x="12" y="8"/>
                  </a:cubicBezTo>
                  <a:cubicBezTo>
                    <a:pt x="12" y="12"/>
                    <a:pt x="11" y="17"/>
                    <a:pt x="6" y="17"/>
                  </a:cubicBezTo>
                  <a:cubicBezTo>
                    <a:pt x="1" y="17"/>
                    <a:pt x="0" y="12"/>
                    <a:pt x="0" y="8"/>
                  </a:cubicBezTo>
                  <a:cubicBezTo>
                    <a:pt x="0" y="3"/>
                    <a:pt x="2" y="0"/>
                    <a:pt x="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612"/>
            <p:cNvSpPr>
              <a:spLocks/>
            </p:cNvSpPr>
            <p:nvPr/>
          </p:nvSpPr>
          <p:spPr bwMode="auto">
            <a:xfrm>
              <a:off x="3745217" y="6480888"/>
              <a:ext cx="9525" cy="22225"/>
            </a:xfrm>
            <a:custGeom>
              <a:avLst/>
              <a:gdLst/>
              <a:ahLst/>
              <a:cxnLst>
                <a:cxn ang="0">
                  <a:pos x="4" y="6"/>
                </a:cxn>
                <a:cxn ang="0">
                  <a:pos x="1" y="6"/>
                </a:cxn>
                <a:cxn ang="0">
                  <a:pos x="0" y="5"/>
                </a:cxn>
                <a:cxn ang="0">
                  <a:pos x="1" y="4"/>
                </a:cxn>
                <a:cxn ang="0">
                  <a:pos x="2" y="3"/>
                </a:cxn>
                <a:cxn ang="0">
                  <a:pos x="6" y="0"/>
                </a:cxn>
                <a:cxn ang="0">
                  <a:pos x="7" y="2"/>
                </a:cxn>
                <a:cxn ang="0">
                  <a:pos x="7" y="15"/>
                </a:cxn>
                <a:cxn ang="0">
                  <a:pos x="6" y="17"/>
                </a:cxn>
                <a:cxn ang="0">
                  <a:pos x="4" y="15"/>
                </a:cxn>
                <a:cxn ang="0">
                  <a:pos x="4" y="6"/>
                </a:cxn>
              </a:cxnLst>
              <a:rect l="0" t="0" r="r" b="b"/>
              <a:pathLst>
                <a:path w="7" h="17">
                  <a:moveTo>
                    <a:pt x="4" y="6"/>
                  </a:moveTo>
                  <a:cubicBezTo>
                    <a:pt x="1" y="6"/>
                    <a:pt x="1" y="6"/>
                    <a:pt x="1" y="6"/>
                  </a:cubicBezTo>
                  <a:cubicBezTo>
                    <a:pt x="0" y="6"/>
                    <a:pt x="0" y="6"/>
                    <a:pt x="0" y="5"/>
                  </a:cubicBezTo>
                  <a:cubicBezTo>
                    <a:pt x="0" y="4"/>
                    <a:pt x="0" y="4"/>
                    <a:pt x="1" y="4"/>
                  </a:cubicBezTo>
                  <a:cubicBezTo>
                    <a:pt x="2" y="3"/>
                    <a:pt x="2" y="3"/>
                    <a:pt x="2" y="3"/>
                  </a:cubicBezTo>
                  <a:cubicBezTo>
                    <a:pt x="5" y="3"/>
                    <a:pt x="4" y="0"/>
                    <a:pt x="6" y="0"/>
                  </a:cubicBezTo>
                  <a:cubicBezTo>
                    <a:pt x="7" y="0"/>
                    <a:pt x="7" y="1"/>
                    <a:pt x="7" y="2"/>
                  </a:cubicBezTo>
                  <a:cubicBezTo>
                    <a:pt x="7" y="15"/>
                    <a:pt x="7" y="15"/>
                    <a:pt x="7" y="15"/>
                  </a:cubicBezTo>
                  <a:cubicBezTo>
                    <a:pt x="7" y="16"/>
                    <a:pt x="7" y="17"/>
                    <a:pt x="6" y="17"/>
                  </a:cubicBezTo>
                  <a:cubicBezTo>
                    <a:pt x="4" y="17"/>
                    <a:pt x="4" y="16"/>
                    <a:pt x="4" y="15"/>
                  </a:cubicBezTo>
                  <a:cubicBezTo>
                    <a:pt x="4" y="6"/>
                    <a:pt x="4" y="6"/>
                    <a:pt x="4"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613"/>
            <p:cNvSpPr>
              <a:spLocks noEditPoints="1"/>
            </p:cNvSpPr>
            <p:nvPr/>
          </p:nvSpPr>
          <p:spPr bwMode="auto">
            <a:xfrm>
              <a:off x="3759505" y="6480888"/>
              <a:ext cx="15875" cy="22225"/>
            </a:xfrm>
            <a:custGeom>
              <a:avLst/>
              <a:gdLst/>
              <a:ahLst/>
              <a:cxnLst>
                <a:cxn ang="0">
                  <a:pos x="6" y="14"/>
                </a:cxn>
                <a:cxn ang="0">
                  <a:pos x="9" y="9"/>
                </a:cxn>
                <a:cxn ang="0">
                  <a:pos x="6" y="3"/>
                </a:cxn>
                <a:cxn ang="0">
                  <a:pos x="4" y="9"/>
                </a:cxn>
                <a:cxn ang="0">
                  <a:pos x="6" y="14"/>
                </a:cxn>
                <a:cxn ang="0">
                  <a:pos x="6" y="0"/>
                </a:cxn>
                <a:cxn ang="0">
                  <a:pos x="12" y="8"/>
                </a:cxn>
                <a:cxn ang="0">
                  <a:pos x="6" y="17"/>
                </a:cxn>
                <a:cxn ang="0">
                  <a:pos x="0" y="8"/>
                </a:cxn>
                <a:cxn ang="0">
                  <a:pos x="6" y="0"/>
                </a:cxn>
              </a:cxnLst>
              <a:rect l="0" t="0" r="r" b="b"/>
              <a:pathLst>
                <a:path w="12" h="17">
                  <a:moveTo>
                    <a:pt x="6" y="14"/>
                  </a:moveTo>
                  <a:cubicBezTo>
                    <a:pt x="8" y="14"/>
                    <a:pt x="9" y="13"/>
                    <a:pt x="9" y="9"/>
                  </a:cubicBezTo>
                  <a:cubicBezTo>
                    <a:pt x="9" y="5"/>
                    <a:pt x="8" y="3"/>
                    <a:pt x="6" y="3"/>
                  </a:cubicBezTo>
                  <a:cubicBezTo>
                    <a:pt x="4" y="3"/>
                    <a:pt x="4" y="5"/>
                    <a:pt x="4" y="9"/>
                  </a:cubicBezTo>
                  <a:cubicBezTo>
                    <a:pt x="4" y="13"/>
                    <a:pt x="5" y="14"/>
                    <a:pt x="6" y="14"/>
                  </a:cubicBezTo>
                  <a:moveTo>
                    <a:pt x="6" y="0"/>
                  </a:moveTo>
                  <a:cubicBezTo>
                    <a:pt x="10" y="0"/>
                    <a:pt x="12" y="3"/>
                    <a:pt x="12" y="8"/>
                  </a:cubicBezTo>
                  <a:cubicBezTo>
                    <a:pt x="12" y="12"/>
                    <a:pt x="11" y="17"/>
                    <a:pt x="6" y="17"/>
                  </a:cubicBezTo>
                  <a:cubicBezTo>
                    <a:pt x="1" y="17"/>
                    <a:pt x="0" y="12"/>
                    <a:pt x="0" y="8"/>
                  </a:cubicBezTo>
                  <a:cubicBezTo>
                    <a:pt x="0" y="3"/>
                    <a:pt x="3" y="0"/>
                    <a:pt x="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614"/>
            <p:cNvSpPr>
              <a:spLocks/>
            </p:cNvSpPr>
            <p:nvPr/>
          </p:nvSpPr>
          <p:spPr bwMode="auto">
            <a:xfrm>
              <a:off x="3775380" y="6480888"/>
              <a:ext cx="11113" cy="22225"/>
            </a:xfrm>
            <a:custGeom>
              <a:avLst/>
              <a:gdLst/>
              <a:ahLst/>
              <a:cxnLst>
                <a:cxn ang="0">
                  <a:pos x="4" y="6"/>
                </a:cxn>
                <a:cxn ang="0">
                  <a:pos x="1" y="6"/>
                </a:cxn>
                <a:cxn ang="0">
                  <a:pos x="0" y="5"/>
                </a:cxn>
                <a:cxn ang="0">
                  <a:pos x="2" y="4"/>
                </a:cxn>
                <a:cxn ang="0">
                  <a:pos x="3" y="3"/>
                </a:cxn>
                <a:cxn ang="0">
                  <a:pos x="6" y="0"/>
                </a:cxn>
                <a:cxn ang="0">
                  <a:pos x="8" y="2"/>
                </a:cxn>
                <a:cxn ang="0">
                  <a:pos x="8" y="15"/>
                </a:cxn>
                <a:cxn ang="0">
                  <a:pos x="6" y="17"/>
                </a:cxn>
                <a:cxn ang="0">
                  <a:pos x="4" y="15"/>
                </a:cxn>
                <a:cxn ang="0">
                  <a:pos x="4" y="6"/>
                </a:cxn>
              </a:cxnLst>
              <a:rect l="0" t="0" r="r" b="b"/>
              <a:pathLst>
                <a:path w="8" h="17">
                  <a:moveTo>
                    <a:pt x="4" y="6"/>
                  </a:moveTo>
                  <a:cubicBezTo>
                    <a:pt x="1" y="6"/>
                    <a:pt x="1" y="6"/>
                    <a:pt x="1" y="6"/>
                  </a:cubicBezTo>
                  <a:cubicBezTo>
                    <a:pt x="1" y="6"/>
                    <a:pt x="0" y="6"/>
                    <a:pt x="0" y="5"/>
                  </a:cubicBezTo>
                  <a:cubicBezTo>
                    <a:pt x="0" y="4"/>
                    <a:pt x="1" y="4"/>
                    <a:pt x="2" y="4"/>
                  </a:cubicBezTo>
                  <a:cubicBezTo>
                    <a:pt x="3" y="3"/>
                    <a:pt x="3" y="3"/>
                    <a:pt x="3" y="3"/>
                  </a:cubicBezTo>
                  <a:cubicBezTo>
                    <a:pt x="5" y="3"/>
                    <a:pt x="5" y="0"/>
                    <a:pt x="6" y="0"/>
                  </a:cubicBezTo>
                  <a:cubicBezTo>
                    <a:pt x="7" y="0"/>
                    <a:pt x="8" y="1"/>
                    <a:pt x="8" y="2"/>
                  </a:cubicBezTo>
                  <a:cubicBezTo>
                    <a:pt x="8" y="15"/>
                    <a:pt x="8" y="15"/>
                    <a:pt x="8" y="15"/>
                  </a:cubicBezTo>
                  <a:cubicBezTo>
                    <a:pt x="8" y="16"/>
                    <a:pt x="7" y="17"/>
                    <a:pt x="6" y="17"/>
                  </a:cubicBezTo>
                  <a:cubicBezTo>
                    <a:pt x="5" y="17"/>
                    <a:pt x="4" y="16"/>
                    <a:pt x="4" y="15"/>
                  </a:cubicBezTo>
                  <a:cubicBezTo>
                    <a:pt x="4" y="6"/>
                    <a:pt x="4" y="6"/>
                    <a:pt x="4"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615"/>
            <p:cNvSpPr>
              <a:spLocks/>
            </p:cNvSpPr>
            <p:nvPr/>
          </p:nvSpPr>
          <p:spPr bwMode="auto">
            <a:xfrm>
              <a:off x="3789667" y="6480888"/>
              <a:ext cx="9525" cy="22225"/>
            </a:xfrm>
            <a:custGeom>
              <a:avLst/>
              <a:gdLst/>
              <a:ahLst/>
              <a:cxnLst>
                <a:cxn ang="0">
                  <a:pos x="4" y="6"/>
                </a:cxn>
                <a:cxn ang="0">
                  <a:pos x="1" y="6"/>
                </a:cxn>
                <a:cxn ang="0">
                  <a:pos x="0" y="5"/>
                </a:cxn>
                <a:cxn ang="0">
                  <a:pos x="1" y="4"/>
                </a:cxn>
                <a:cxn ang="0">
                  <a:pos x="2" y="3"/>
                </a:cxn>
                <a:cxn ang="0">
                  <a:pos x="6" y="0"/>
                </a:cxn>
                <a:cxn ang="0">
                  <a:pos x="7" y="2"/>
                </a:cxn>
                <a:cxn ang="0">
                  <a:pos x="7" y="15"/>
                </a:cxn>
                <a:cxn ang="0">
                  <a:pos x="5" y="17"/>
                </a:cxn>
                <a:cxn ang="0">
                  <a:pos x="4" y="15"/>
                </a:cxn>
                <a:cxn ang="0">
                  <a:pos x="4" y="6"/>
                </a:cxn>
              </a:cxnLst>
              <a:rect l="0" t="0" r="r" b="b"/>
              <a:pathLst>
                <a:path w="7" h="17">
                  <a:moveTo>
                    <a:pt x="4" y="6"/>
                  </a:moveTo>
                  <a:cubicBezTo>
                    <a:pt x="1" y="6"/>
                    <a:pt x="1" y="6"/>
                    <a:pt x="1" y="6"/>
                  </a:cubicBezTo>
                  <a:cubicBezTo>
                    <a:pt x="0" y="6"/>
                    <a:pt x="0" y="6"/>
                    <a:pt x="0" y="5"/>
                  </a:cubicBezTo>
                  <a:cubicBezTo>
                    <a:pt x="0" y="4"/>
                    <a:pt x="0" y="4"/>
                    <a:pt x="1" y="4"/>
                  </a:cubicBezTo>
                  <a:cubicBezTo>
                    <a:pt x="2" y="3"/>
                    <a:pt x="2" y="3"/>
                    <a:pt x="2" y="3"/>
                  </a:cubicBezTo>
                  <a:cubicBezTo>
                    <a:pt x="5" y="3"/>
                    <a:pt x="4" y="0"/>
                    <a:pt x="6" y="0"/>
                  </a:cubicBezTo>
                  <a:cubicBezTo>
                    <a:pt x="7" y="0"/>
                    <a:pt x="7" y="1"/>
                    <a:pt x="7" y="2"/>
                  </a:cubicBezTo>
                  <a:cubicBezTo>
                    <a:pt x="7" y="15"/>
                    <a:pt x="7" y="15"/>
                    <a:pt x="7" y="15"/>
                  </a:cubicBezTo>
                  <a:cubicBezTo>
                    <a:pt x="7" y="16"/>
                    <a:pt x="7" y="17"/>
                    <a:pt x="5" y="17"/>
                  </a:cubicBezTo>
                  <a:cubicBezTo>
                    <a:pt x="4" y="17"/>
                    <a:pt x="4" y="16"/>
                    <a:pt x="4" y="15"/>
                  </a:cubicBezTo>
                  <a:cubicBezTo>
                    <a:pt x="4" y="6"/>
                    <a:pt x="4" y="6"/>
                    <a:pt x="4"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616"/>
            <p:cNvSpPr>
              <a:spLocks noEditPoints="1"/>
            </p:cNvSpPr>
            <p:nvPr/>
          </p:nvSpPr>
          <p:spPr bwMode="auto">
            <a:xfrm>
              <a:off x="3802367" y="6480888"/>
              <a:ext cx="15875" cy="22225"/>
            </a:xfrm>
            <a:custGeom>
              <a:avLst/>
              <a:gdLst/>
              <a:ahLst/>
              <a:cxnLst>
                <a:cxn ang="0">
                  <a:pos x="6" y="14"/>
                </a:cxn>
                <a:cxn ang="0">
                  <a:pos x="9" y="9"/>
                </a:cxn>
                <a:cxn ang="0">
                  <a:pos x="6" y="3"/>
                </a:cxn>
                <a:cxn ang="0">
                  <a:pos x="3" y="9"/>
                </a:cxn>
                <a:cxn ang="0">
                  <a:pos x="6" y="14"/>
                </a:cxn>
                <a:cxn ang="0">
                  <a:pos x="6" y="0"/>
                </a:cxn>
                <a:cxn ang="0">
                  <a:pos x="12" y="8"/>
                </a:cxn>
                <a:cxn ang="0">
                  <a:pos x="6" y="17"/>
                </a:cxn>
                <a:cxn ang="0">
                  <a:pos x="0" y="8"/>
                </a:cxn>
                <a:cxn ang="0">
                  <a:pos x="6" y="0"/>
                </a:cxn>
              </a:cxnLst>
              <a:rect l="0" t="0" r="r" b="b"/>
              <a:pathLst>
                <a:path w="12" h="17">
                  <a:moveTo>
                    <a:pt x="6" y="14"/>
                  </a:moveTo>
                  <a:cubicBezTo>
                    <a:pt x="8" y="14"/>
                    <a:pt x="9" y="13"/>
                    <a:pt x="9" y="9"/>
                  </a:cubicBezTo>
                  <a:cubicBezTo>
                    <a:pt x="9" y="5"/>
                    <a:pt x="8" y="3"/>
                    <a:pt x="6" y="3"/>
                  </a:cubicBezTo>
                  <a:cubicBezTo>
                    <a:pt x="4" y="3"/>
                    <a:pt x="3" y="5"/>
                    <a:pt x="3" y="9"/>
                  </a:cubicBezTo>
                  <a:cubicBezTo>
                    <a:pt x="3" y="13"/>
                    <a:pt x="4" y="14"/>
                    <a:pt x="6" y="14"/>
                  </a:cubicBezTo>
                  <a:moveTo>
                    <a:pt x="6" y="0"/>
                  </a:moveTo>
                  <a:cubicBezTo>
                    <a:pt x="10" y="0"/>
                    <a:pt x="12" y="3"/>
                    <a:pt x="12" y="8"/>
                  </a:cubicBezTo>
                  <a:cubicBezTo>
                    <a:pt x="12" y="12"/>
                    <a:pt x="11" y="17"/>
                    <a:pt x="6" y="17"/>
                  </a:cubicBezTo>
                  <a:cubicBezTo>
                    <a:pt x="1" y="17"/>
                    <a:pt x="0" y="12"/>
                    <a:pt x="0" y="8"/>
                  </a:cubicBezTo>
                  <a:cubicBezTo>
                    <a:pt x="0" y="3"/>
                    <a:pt x="2" y="0"/>
                    <a:pt x="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617"/>
            <p:cNvSpPr>
              <a:spLocks/>
            </p:cNvSpPr>
            <p:nvPr/>
          </p:nvSpPr>
          <p:spPr bwMode="auto">
            <a:xfrm>
              <a:off x="3819830" y="6480888"/>
              <a:ext cx="11113" cy="22225"/>
            </a:xfrm>
            <a:custGeom>
              <a:avLst/>
              <a:gdLst/>
              <a:ahLst/>
              <a:cxnLst>
                <a:cxn ang="0">
                  <a:pos x="4" y="6"/>
                </a:cxn>
                <a:cxn ang="0">
                  <a:pos x="1" y="6"/>
                </a:cxn>
                <a:cxn ang="0">
                  <a:pos x="0" y="5"/>
                </a:cxn>
                <a:cxn ang="0">
                  <a:pos x="2" y="4"/>
                </a:cxn>
                <a:cxn ang="0">
                  <a:pos x="2" y="3"/>
                </a:cxn>
                <a:cxn ang="0">
                  <a:pos x="6" y="0"/>
                </a:cxn>
                <a:cxn ang="0">
                  <a:pos x="8" y="2"/>
                </a:cxn>
                <a:cxn ang="0">
                  <a:pos x="8" y="15"/>
                </a:cxn>
                <a:cxn ang="0">
                  <a:pos x="6" y="17"/>
                </a:cxn>
                <a:cxn ang="0">
                  <a:pos x="4" y="15"/>
                </a:cxn>
                <a:cxn ang="0">
                  <a:pos x="4" y="6"/>
                </a:cxn>
              </a:cxnLst>
              <a:rect l="0" t="0" r="r" b="b"/>
              <a:pathLst>
                <a:path w="8" h="17">
                  <a:moveTo>
                    <a:pt x="4" y="6"/>
                  </a:moveTo>
                  <a:cubicBezTo>
                    <a:pt x="1" y="6"/>
                    <a:pt x="1" y="6"/>
                    <a:pt x="1" y="6"/>
                  </a:cubicBezTo>
                  <a:cubicBezTo>
                    <a:pt x="0" y="6"/>
                    <a:pt x="0" y="6"/>
                    <a:pt x="0" y="5"/>
                  </a:cubicBezTo>
                  <a:cubicBezTo>
                    <a:pt x="0" y="4"/>
                    <a:pt x="0" y="4"/>
                    <a:pt x="2" y="4"/>
                  </a:cubicBezTo>
                  <a:cubicBezTo>
                    <a:pt x="2" y="3"/>
                    <a:pt x="2" y="3"/>
                    <a:pt x="2" y="3"/>
                  </a:cubicBezTo>
                  <a:cubicBezTo>
                    <a:pt x="5" y="3"/>
                    <a:pt x="4" y="0"/>
                    <a:pt x="6" y="0"/>
                  </a:cubicBezTo>
                  <a:cubicBezTo>
                    <a:pt x="7" y="0"/>
                    <a:pt x="8" y="1"/>
                    <a:pt x="8" y="2"/>
                  </a:cubicBezTo>
                  <a:cubicBezTo>
                    <a:pt x="8" y="15"/>
                    <a:pt x="8" y="15"/>
                    <a:pt x="8" y="15"/>
                  </a:cubicBezTo>
                  <a:cubicBezTo>
                    <a:pt x="8" y="16"/>
                    <a:pt x="7" y="17"/>
                    <a:pt x="6" y="17"/>
                  </a:cubicBezTo>
                  <a:cubicBezTo>
                    <a:pt x="5" y="17"/>
                    <a:pt x="4" y="16"/>
                    <a:pt x="4" y="15"/>
                  </a:cubicBezTo>
                  <a:cubicBezTo>
                    <a:pt x="4" y="6"/>
                    <a:pt x="4" y="6"/>
                    <a:pt x="4"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618"/>
            <p:cNvSpPr>
              <a:spLocks noEditPoints="1"/>
            </p:cNvSpPr>
            <p:nvPr/>
          </p:nvSpPr>
          <p:spPr bwMode="auto">
            <a:xfrm>
              <a:off x="3834117" y="6480888"/>
              <a:ext cx="17463" cy="22225"/>
            </a:xfrm>
            <a:custGeom>
              <a:avLst/>
              <a:gdLst/>
              <a:ahLst/>
              <a:cxnLst>
                <a:cxn ang="0">
                  <a:pos x="7" y="14"/>
                </a:cxn>
                <a:cxn ang="0">
                  <a:pos x="9" y="9"/>
                </a:cxn>
                <a:cxn ang="0">
                  <a:pos x="7" y="3"/>
                </a:cxn>
                <a:cxn ang="0">
                  <a:pos x="4" y="9"/>
                </a:cxn>
                <a:cxn ang="0">
                  <a:pos x="7" y="14"/>
                </a:cxn>
                <a:cxn ang="0">
                  <a:pos x="7" y="0"/>
                </a:cxn>
                <a:cxn ang="0">
                  <a:pos x="13" y="8"/>
                </a:cxn>
                <a:cxn ang="0">
                  <a:pos x="7" y="17"/>
                </a:cxn>
                <a:cxn ang="0">
                  <a:pos x="0" y="8"/>
                </a:cxn>
                <a:cxn ang="0">
                  <a:pos x="7" y="0"/>
                </a:cxn>
              </a:cxnLst>
              <a:rect l="0" t="0" r="r" b="b"/>
              <a:pathLst>
                <a:path w="13" h="17">
                  <a:moveTo>
                    <a:pt x="7" y="14"/>
                  </a:moveTo>
                  <a:cubicBezTo>
                    <a:pt x="8" y="14"/>
                    <a:pt x="9" y="13"/>
                    <a:pt x="9" y="9"/>
                  </a:cubicBezTo>
                  <a:cubicBezTo>
                    <a:pt x="9" y="5"/>
                    <a:pt x="9" y="3"/>
                    <a:pt x="7" y="3"/>
                  </a:cubicBezTo>
                  <a:cubicBezTo>
                    <a:pt x="5" y="3"/>
                    <a:pt x="4" y="5"/>
                    <a:pt x="4" y="9"/>
                  </a:cubicBezTo>
                  <a:cubicBezTo>
                    <a:pt x="4" y="13"/>
                    <a:pt x="5" y="14"/>
                    <a:pt x="7" y="14"/>
                  </a:cubicBezTo>
                  <a:moveTo>
                    <a:pt x="7" y="0"/>
                  </a:moveTo>
                  <a:cubicBezTo>
                    <a:pt x="10" y="0"/>
                    <a:pt x="13" y="3"/>
                    <a:pt x="13" y="8"/>
                  </a:cubicBezTo>
                  <a:cubicBezTo>
                    <a:pt x="13" y="12"/>
                    <a:pt x="11" y="17"/>
                    <a:pt x="7" y="17"/>
                  </a:cubicBezTo>
                  <a:cubicBezTo>
                    <a:pt x="2" y="17"/>
                    <a:pt x="0" y="12"/>
                    <a:pt x="0" y="8"/>
                  </a:cubicBezTo>
                  <a:cubicBezTo>
                    <a:pt x="0" y="3"/>
                    <a:pt x="3" y="0"/>
                    <a:pt x="7"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619"/>
            <p:cNvSpPr>
              <a:spLocks noEditPoints="1"/>
            </p:cNvSpPr>
            <p:nvPr/>
          </p:nvSpPr>
          <p:spPr bwMode="auto">
            <a:xfrm>
              <a:off x="3853167" y="6480888"/>
              <a:ext cx="15875" cy="22225"/>
            </a:xfrm>
            <a:custGeom>
              <a:avLst/>
              <a:gdLst/>
              <a:ahLst/>
              <a:cxnLst>
                <a:cxn ang="0">
                  <a:pos x="6" y="14"/>
                </a:cxn>
                <a:cxn ang="0">
                  <a:pos x="8" y="9"/>
                </a:cxn>
                <a:cxn ang="0">
                  <a:pos x="6" y="3"/>
                </a:cxn>
                <a:cxn ang="0">
                  <a:pos x="3" y="9"/>
                </a:cxn>
                <a:cxn ang="0">
                  <a:pos x="6" y="14"/>
                </a:cxn>
                <a:cxn ang="0">
                  <a:pos x="6" y="0"/>
                </a:cxn>
                <a:cxn ang="0">
                  <a:pos x="12" y="8"/>
                </a:cxn>
                <a:cxn ang="0">
                  <a:pos x="6" y="17"/>
                </a:cxn>
                <a:cxn ang="0">
                  <a:pos x="0" y="8"/>
                </a:cxn>
                <a:cxn ang="0">
                  <a:pos x="6" y="0"/>
                </a:cxn>
              </a:cxnLst>
              <a:rect l="0" t="0" r="r" b="b"/>
              <a:pathLst>
                <a:path w="12" h="17">
                  <a:moveTo>
                    <a:pt x="6" y="14"/>
                  </a:moveTo>
                  <a:cubicBezTo>
                    <a:pt x="7" y="14"/>
                    <a:pt x="8" y="13"/>
                    <a:pt x="8" y="9"/>
                  </a:cubicBezTo>
                  <a:cubicBezTo>
                    <a:pt x="8" y="5"/>
                    <a:pt x="8" y="3"/>
                    <a:pt x="6" y="3"/>
                  </a:cubicBezTo>
                  <a:cubicBezTo>
                    <a:pt x="4" y="3"/>
                    <a:pt x="3" y="5"/>
                    <a:pt x="3" y="9"/>
                  </a:cubicBezTo>
                  <a:cubicBezTo>
                    <a:pt x="3" y="13"/>
                    <a:pt x="4" y="14"/>
                    <a:pt x="6" y="14"/>
                  </a:cubicBezTo>
                  <a:moveTo>
                    <a:pt x="6" y="0"/>
                  </a:moveTo>
                  <a:cubicBezTo>
                    <a:pt x="9" y="0"/>
                    <a:pt x="12" y="3"/>
                    <a:pt x="12" y="8"/>
                  </a:cubicBezTo>
                  <a:cubicBezTo>
                    <a:pt x="12" y="12"/>
                    <a:pt x="11" y="17"/>
                    <a:pt x="6" y="17"/>
                  </a:cubicBezTo>
                  <a:cubicBezTo>
                    <a:pt x="1" y="17"/>
                    <a:pt x="0" y="12"/>
                    <a:pt x="0" y="8"/>
                  </a:cubicBezTo>
                  <a:cubicBezTo>
                    <a:pt x="0" y="3"/>
                    <a:pt x="2" y="0"/>
                    <a:pt x="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620"/>
            <p:cNvSpPr>
              <a:spLocks noEditPoints="1"/>
            </p:cNvSpPr>
            <p:nvPr/>
          </p:nvSpPr>
          <p:spPr bwMode="auto">
            <a:xfrm>
              <a:off x="3676955" y="6517400"/>
              <a:ext cx="17463" cy="23813"/>
            </a:xfrm>
            <a:custGeom>
              <a:avLst/>
              <a:gdLst/>
              <a:ahLst/>
              <a:cxnLst>
                <a:cxn ang="0">
                  <a:pos x="6" y="14"/>
                </a:cxn>
                <a:cxn ang="0">
                  <a:pos x="9" y="8"/>
                </a:cxn>
                <a:cxn ang="0">
                  <a:pos x="6" y="3"/>
                </a:cxn>
                <a:cxn ang="0">
                  <a:pos x="4" y="8"/>
                </a:cxn>
                <a:cxn ang="0">
                  <a:pos x="6" y="14"/>
                </a:cxn>
                <a:cxn ang="0">
                  <a:pos x="6" y="0"/>
                </a:cxn>
                <a:cxn ang="0">
                  <a:pos x="13" y="8"/>
                </a:cxn>
                <a:cxn ang="0">
                  <a:pos x="6" y="17"/>
                </a:cxn>
                <a:cxn ang="0">
                  <a:pos x="0" y="8"/>
                </a:cxn>
                <a:cxn ang="0">
                  <a:pos x="6" y="0"/>
                </a:cxn>
              </a:cxnLst>
              <a:rect l="0" t="0" r="r" b="b"/>
              <a:pathLst>
                <a:path w="13" h="17">
                  <a:moveTo>
                    <a:pt x="6" y="14"/>
                  </a:moveTo>
                  <a:cubicBezTo>
                    <a:pt x="8" y="14"/>
                    <a:pt x="9" y="12"/>
                    <a:pt x="9" y="8"/>
                  </a:cubicBezTo>
                  <a:cubicBezTo>
                    <a:pt x="9" y="5"/>
                    <a:pt x="8" y="3"/>
                    <a:pt x="6" y="3"/>
                  </a:cubicBezTo>
                  <a:cubicBezTo>
                    <a:pt x="4" y="3"/>
                    <a:pt x="4" y="5"/>
                    <a:pt x="4" y="8"/>
                  </a:cubicBezTo>
                  <a:cubicBezTo>
                    <a:pt x="4" y="12"/>
                    <a:pt x="5" y="14"/>
                    <a:pt x="6" y="14"/>
                  </a:cubicBezTo>
                  <a:moveTo>
                    <a:pt x="6" y="0"/>
                  </a:moveTo>
                  <a:cubicBezTo>
                    <a:pt x="10" y="0"/>
                    <a:pt x="13" y="3"/>
                    <a:pt x="13" y="8"/>
                  </a:cubicBezTo>
                  <a:cubicBezTo>
                    <a:pt x="13" y="12"/>
                    <a:pt x="11" y="17"/>
                    <a:pt x="6" y="17"/>
                  </a:cubicBezTo>
                  <a:cubicBezTo>
                    <a:pt x="2" y="17"/>
                    <a:pt x="0" y="12"/>
                    <a:pt x="0" y="8"/>
                  </a:cubicBezTo>
                  <a:cubicBezTo>
                    <a:pt x="0" y="3"/>
                    <a:pt x="3" y="0"/>
                    <a:pt x="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621"/>
            <p:cNvSpPr>
              <a:spLocks/>
            </p:cNvSpPr>
            <p:nvPr/>
          </p:nvSpPr>
          <p:spPr bwMode="auto">
            <a:xfrm>
              <a:off x="3694417" y="6517400"/>
              <a:ext cx="11113" cy="23813"/>
            </a:xfrm>
            <a:custGeom>
              <a:avLst/>
              <a:gdLst/>
              <a:ahLst/>
              <a:cxnLst>
                <a:cxn ang="0">
                  <a:pos x="4" y="6"/>
                </a:cxn>
                <a:cxn ang="0">
                  <a:pos x="1" y="6"/>
                </a:cxn>
                <a:cxn ang="0">
                  <a:pos x="0" y="5"/>
                </a:cxn>
                <a:cxn ang="0">
                  <a:pos x="2" y="3"/>
                </a:cxn>
                <a:cxn ang="0">
                  <a:pos x="3" y="3"/>
                </a:cxn>
                <a:cxn ang="0">
                  <a:pos x="7" y="0"/>
                </a:cxn>
                <a:cxn ang="0">
                  <a:pos x="8" y="1"/>
                </a:cxn>
                <a:cxn ang="0">
                  <a:pos x="8" y="14"/>
                </a:cxn>
                <a:cxn ang="0">
                  <a:pos x="6" y="17"/>
                </a:cxn>
                <a:cxn ang="0">
                  <a:pos x="4" y="14"/>
                </a:cxn>
                <a:cxn ang="0">
                  <a:pos x="4" y="6"/>
                </a:cxn>
              </a:cxnLst>
              <a:rect l="0" t="0" r="r" b="b"/>
              <a:pathLst>
                <a:path w="8" h="17">
                  <a:moveTo>
                    <a:pt x="4" y="6"/>
                  </a:moveTo>
                  <a:cubicBezTo>
                    <a:pt x="1" y="6"/>
                    <a:pt x="1" y="6"/>
                    <a:pt x="1" y="6"/>
                  </a:cubicBezTo>
                  <a:cubicBezTo>
                    <a:pt x="1" y="6"/>
                    <a:pt x="0" y="5"/>
                    <a:pt x="0" y="5"/>
                  </a:cubicBezTo>
                  <a:cubicBezTo>
                    <a:pt x="0" y="4"/>
                    <a:pt x="1" y="3"/>
                    <a:pt x="2" y="3"/>
                  </a:cubicBezTo>
                  <a:cubicBezTo>
                    <a:pt x="3" y="3"/>
                    <a:pt x="3" y="3"/>
                    <a:pt x="3" y="3"/>
                  </a:cubicBezTo>
                  <a:cubicBezTo>
                    <a:pt x="5" y="2"/>
                    <a:pt x="5" y="0"/>
                    <a:pt x="7" y="0"/>
                  </a:cubicBezTo>
                  <a:cubicBezTo>
                    <a:pt x="7" y="0"/>
                    <a:pt x="8" y="0"/>
                    <a:pt x="8" y="1"/>
                  </a:cubicBezTo>
                  <a:cubicBezTo>
                    <a:pt x="8" y="14"/>
                    <a:pt x="8" y="14"/>
                    <a:pt x="8" y="14"/>
                  </a:cubicBezTo>
                  <a:cubicBezTo>
                    <a:pt x="8" y="16"/>
                    <a:pt x="7" y="17"/>
                    <a:pt x="6" y="17"/>
                  </a:cubicBezTo>
                  <a:cubicBezTo>
                    <a:pt x="5" y="17"/>
                    <a:pt x="4" y="16"/>
                    <a:pt x="4" y="14"/>
                  </a:cubicBezTo>
                  <a:cubicBezTo>
                    <a:pt x="4" y="6"/>
                    <a:pt x="4" y="6"/>
                    <a:pt x="4"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622"/>
            <p:cNvSpPr>
              <a:spLocks noEditPoints="1"/>
            </p:cNvSpPr>
            <p:nvPr/>
          </p:nvSpPr>
          <p:spPr bwMode="auto">
            <a:xfrm>
              <a:off x="3708705" y="6517400"/>
              <a:ext cx="15875" cy="23813"/>
            </a:xfrm>
            <a:custGeom>
              <a:avLst/>
              <a:gdLst/>
              <a:ahLst/>
              <a:cxnLst>
                <a:cxn ang="0">
                  <a:pos x="6" y="14"/>
                </a:cxn>
                <a:cxn ang="0">
                  <a:pos x="9" y="8"/>
                </a:cxn>
                <a:cxn ang="0">
                  <a:pos x="6" y="3"/>
                </a:cxn>
                <a:cxn ang="0">
                  <a:pos x="3" y="8"/>
                </a:cxn>
                <a:cxn ang="0">
                  <a:pos x="6" y="14"/>
                </a:cxn>
                <a:cxn ang="0">
                  <a:pos x="6" y="0"/>
                </a:cxn>
                <a:cxn ang="0">
                  <a:pos x="12" y="8"/>
                </a:cxn>
                <a:cxn ang="0">
                  <a:pos x="6" y="17"/>
                </a:cxn>
                <a:cxn ang="0">
                  <a:pos x="0" y="8"/>
                </a:cxn>
                <a:cxn ang="0">
                  <a:pos x="6" y="0"/>
                </a:cxn>
              </a:cxnLst>
              <a:rect l="0" t="0" r="r" b="b"/>
              <a:pathLst>
                <a:path w="12" h="17">
                  <a:moveTo>
                    <a:pt x="6" y="14"/>
                  </a:moveTo>
                  <a:cubicBezTo>
                    <a:pt x="8" y="14"/>
                    <a:pt x="9" y="12"/>
                    <a:pt x="9" y="8"/>
                  </a:cubicBezTo>
                  <a:cubicBezTo>
                    <a:pt x="9" y="5"/>
                    <a:pt x="8" y="3"/>
                    <a:pt x="6" y="3"/>
                  </a:cubicBezTo>
                  <a:cubicBezTo>
                    <a:pt x="4" y="3"/>
                    <a:pt x="3" y="5"/>
                    <a:pt x="3" y="8"/>
                  </a:cubicBezTo>
                  <a:cubicBezTo>
                    <a:pt x="3" y="12"/>
                    <a:pt x="4" y="14"/>
                    <a:pt x="6" y="14"/>
                  </a:cubicBezTo>
                  <a:moveTo>
                    <a:pt x="6" y="0"/>
                  </a:moveTo>
                  <a:cubicBezTo>
                    <a:pt x="10" y="0"/>
                    <a:pt x="12" y="3"/>
                    <a:pt x="12" y="8"/>
                  </a:cubicBezTo>
                  <a:cubicBezTo>
                    <a:pt x="12" y="12"/>
                    <a:pt x="11" y="17"/>
                    <a:pt x="6" y="17"/>
                  </a:cubicBezTo>
                  <a:cubicBezTo>
                    <a:pt x="1" y="17"/>
                    <a:pt x="0" y="12"/>
                    <a:pt x="0" y="8"/>
                  </a:cubicBezTo>
                  <a:cubicBezTo>
                    <a:pt x="0" y="3"/>
                    <a:pt x="2" y="0"/>
                    <a:pt x="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623"/>
            <p:cNvSpPr>
              <a:spLocks/>
            </p:cNvSpPr>
            <p:nvPr/>
          </p:nvSpPr>
          <p:spPr bwMode="auto">
            <a:xfrm>
              <a:off x="3726167" y="6517400"/>
              <a:ext cx="9525" cy="23813"/>
            </a:xfrm>
            <a:custGeom>
              <a:avLst/>
              <a:gdLst/>
              <a:ahLst/>
              <a:cxnLst>
                <a:cxn ang="0">
                  <a:pos x="4" y="6"/>
                </a:cxn>
                <a:cxn ang="0">
                  <a:pos x="1" y="6"/>
                </a:cxn>
                <a:cxn ang="0">
                  <a:pos x="0" y="5"/>
                </a:cxn>
                <a:cxn ang="0">
                  <a:pos x="1" y="3"/>
                </a:cxn>
                <a:cxn ang="0">
                  <a:pos x="2" y="3"/>
                </a:cxn>
                <a:cxn ang="0">
                  <a:pos x="6" y="0"/>
                </a:cxn>
                <a:cxn ang="0">
                  <a:pos x="7" y="1"/>
                </a:cxn>
                <a:cxn ang="0">
                  <a:pos x="7" y="14"/>
                </a:cxn>
                <a:cxn ang="0">
                  <a:pos x="6" y="17"/>
                </a:cxn>
                <a:cxn ang="0">
                  <a:pos x="4" y="14"/>
                </a:cxn>
                <a:cxn ang="0">
                  <a:pos x="4" y="6"/>
                </a:cxn>
              </a:cxnLst>
              <a:rect l="0" t="0" r="r" b="b"/>
              <a:pathLst>
                <a:path w="7" h="17">
                  <a:moveTo>
                    <a:pt x="4" y="6"/>
                  </a:moveTo>
                  <a:cubicBezTo>
                    <a:pt x="1" y="6"/>
                    <a:pt x="1" y="6"/>
                    <a:pt x="1" y="6"/>
                  </a:cubicBezTo>
                  <a:cubicBezTo>
                    <a:pt x="0" y="6"/>
                    <a:pt x="0" y="5"/>
                    <a:pt x="0" y="5"/>
                  </a:cubicBezTo>
                  <a:cubicBezTo>
                    <a:pt x="0" y="4"/>
                    <a:pt x="0" y="3"/>
                    <a:pt x="1" y="3"/>
                  </a:cubicBezTo>
                  <a:cubicBezTo>
                    <a:pt x="2" y="3"/>
                    <a:pt x="2" y="3"/>
                    <a:pt x="2" y="3"/>
                  </a:cubicBezTo>
                  <a:cubicBezTo>
                    <a:pt x="5" y="2"/>
                    <a:pt x="4" y="0"/>
                    <a:pt x="6" y="0"/>
                  </a:cubicBezTo>
                  <a:cubicBezTo>
                    <a:pt x="7" y="0"/>
                    <a:pt x="7" y="0"/>
                    <a:pt x="7" y="1"/>
                  </a:cubicBezTo>
                  <a:cubicBezTo>
                    <a:pt x="7" y="14"/>
                    <a:pt x="7" y="14"/>
                    <a:pt x="7" y="14"/>
                  </a:cubicBezTo>
                  <a:cubicBezTo>
                    <a:pt x="7" y="16"/>
                    <a:pt x="7" y="17"/>
                    <a:pt x="6" y="17"/>
                  </a:cubicBezTo>
                  <a:cubicBezTo>
                    <a:pt x="4" y="17"/>
                    <a:pt x="4" y="16"/>
                    <a:pt x="4" y="14"/>
                  </a:cubicBezTo>
                  <a:cubicBezTo>
                    <a:pt x="4" y="6"/>
                    <a:pt x="4" y="6"/>
                    <a:pt x="4"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624"/>
            <p:cNvSpPr>
              <a:spLocks/>
            </p:cNvSpPr>
            <p:nvPr/>
          </p:nvSpPr>
          <p:spPr bwMode="auto">
            <a:xfrm>
              <a:off x="3738867" y="6517400"/>
              <a:ext cx="11113" cy="23813"/>
            </a:xfrm>
            <a:custGeom>
              <a:avLst/>
              <a:gdLst/>
              <a:ahLst/>
              <a:cxnLst>
                <a:cxn ang="0">
                  <a:pos x="4" y="6"/>
                </a:cxn>
                <a:cxn ang="0">
                  <a:pos x="1" y="6"/>
                </a:cxn>
                <a:cxn ang="0">
                  <a:pos x="0" y="5"/>
                </a:cxn>
                <a:cxn ang="0">
                  <a:pos x="2" y="3"/>
                </a:cxn>
                <a:cxn ang="0">
                  <a:pos x="3" y="3"/>
                </a:cxn>
                <a:cxn ang="0">
                  <a:pos x="6" y="0"/>
                </a:cxn>
                <a:cxn ang="0">
                  <a:pos x="8" y="1"/>
                </a:cxn>
                <a:cxn ang="0">
                  <a:pos x="8" y="14"/>
                </a:cxn>
                <a:cxn ang="0">
                  <a:pos x="6" y="17"/>
                </a:cxn>
                <a:cxn ang="0">
                  <a:pos x="4" y="14"/>
                </a:cxn>
                <a:cxn ang="0">
                  <a:pos x="4" y="6"/>
                </a:cxn>
              </a:cxnLst>
              <a:rect l="0" t="0" r="r" b="b"/>
              <a:pathLst>
                <a:path w="8" h="17">
                  <a:moveTo>
                    <a:pt x="4" y="6"/>
                  </a:moveTo>
                  <a:cubicBezTo>
                    <a:pt x="1" y="6"/>
                    <a:pt x="1" y="6"/>
                    <a:pt x="1" y="6"/>
                  </a:cubicBezTo>
                  <a:cubicBezTo>
                    <a:pt x="0" y="6"/>
                    <a:pt x="0" y="5"/>
                    <a:pt x="0" y="5"/>
                  </a:cubicBezTo>
                  <a:cubicBezTo>
                    <a:pt x="0" y="4"/>
                    <a:pt x="0" y="3"/>
                    <a:pt x="2" y="3"/>
                  </a:cubicBezTo>
                  <a:cubicBezTo>
                    <a:pt x="3" y="3"/>
                    <a:pt x="3" y="3"/>
                    <a:pt x="3" y="3"/>
                  </a:cubicBezTo>
                  <a:cubicBezTo>
                    <a:pt x="5" y="2"/>
                    <a:pt x="4" y="0"/>
                    <a:pt x="6" y="0"/>
                  </a:cubicBezTo>
                  <a:cubicBezTo>
                    <a:pt x="7" y="0"/>
                    <a:pt x="8" y="0"/>
                    <a:pt x="8" y="1"/>
                  </a:cubicBezTo>
                  <a:cubicBezTo>
                    <a:pt x="8" y="14"/>
                    <a:pt x="8" y="14"/>
                    <a:pt x="8" y="14"/>
                  </a:cubicBezTo>
                  <a:cubicBezTo>
                    <a:pt x="8" y="16"/>
                    <a:pt x="7" y="17"/>
                    <a:pt x="6" y="17"/>
                  </a:cubicBezTo>
                  <a:cubicBezTo>
                    <a:pt x="5" y="17"/>
                    <a:pt x="4" y="16"/>
                    <a:pt x="4" y="14"/>
                  </a:cubicBezTo>
                  <a:cubicBezTo>
                    <a:pt x="4" y="6"/>
                    <a:pt x="4" y="6"/>
                    <a:pt x="4"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625"/>
            <p:cNvSpPr>
              <a:spLocks noEditPoints="1"/>
            </p:cNvSpPr>
            <p:nvPr/>
          </p:nvSpPr>
          <p:spPr bwMode="auto">
            <a:xfrm>
              <a:off x="3751567" y="6517400"/>
              <a:ext cx="17463" cy="23813"/>
            </a:xfrm>
            <a:custGeom>
              <a:avLst/>
              <a:gdLst/>
              <a:ahLst/>
              <a:cxnLst>
                <a:cxn ang="0">
                  <a:pos x="7" y="14"/>
                </a:cxn>
                <a:cxn ang="0">
                  <a:pos x="9" y="8"/>
                </a:cxn>
                <a:cxn ang="0">
                  <a:pos x="7" y="3"/>
                </a:cxn>
                <a:cxn ang="0">
                  <a:pos x="4" y="8"/>
                </a:cxn>
                <a:cxn ang="0">
                  <a:pos x="7" y="14"/>
                </a:cxn>
                <a:cxn ang="0">
                  <a:pos x="7" y="0"/>
                </a:cxn>
                <a:cxn ang="0">
                  <a:pos x="13" y="8"/>
                </a:cxn>
                <a:cxn ang="0">
                  <a:pos x="7" y="17"/>
                </a:cxn>
                <a:cxn ang="0">
                  <a:pos x="0" y="8"/>
                </a:cxn>
                <a:cxn ang="0">
                  <a:pos x="7" y="0"/>
                </a:cxn>
              </a:cxnLst>
              <a:rect l="0" t="0" r="r" b="b"/>
              <a:pathLst>
                <a:path w="13" h="17">
                  <a:moveTo>
                    <a:pt x="7" y="14"/>
                  </a:moveTo>
                  <a:cubicBezTo>
                    <a:pt x="8" y="14"/>
                    <a:pt x="9" y="12"/>
                    <a:pt x="9" y="8"/>
                  </a:cubicBezTo>
                  <a:cubicBezTo>
                    <a:pt x="9" y="5"/>
                    <a:pt x="9" y="3"/>
                    <a:pt x="7" y="3"/>
                  </a:cubicBezTo>
                  <a:cubicBezTo>
                    <a:pt x="5" y="3"/>
                    <a:pt x="4" y="5"/>
                    <a:pt x="4" y="8"/>
                  </a:cubicBezTo>
                  <a:cubicBezTo>
                    <a:pt x="4" y="12"/>
                    <a:pt x="5" y="14"/>
                    <a:pt x="7" y="14"/>
                  </a:cubicBezTo>
                  <a:moveTo>
                    <a:pt x="7" y="0"/>
                  </a:moveTo>
                  <a:cubicBezTo>
                    <a:pt x="10" y="0"/>
                    <a:pt x="13" y="3"/>
                    <a:pt x="13" y="8"/>
                  </a:cubicBezTo>
                  <a:cubicBezTo>
                    <a:pt x="13" y="12"/>
                    <a:pt x="11" y="17"/>
                    <a:pt x="7" y="17"/>
                  </a:cubicBezTo>
                  <a:cubicBezTo>
                    <a:pt x="2" y="17"/>
                    <a:pt x="0" y="12"/>
                    <a:pt x="0" y="8"/>
                  </a:cubicBezTo>
                  <a:cubicBezTo>
                    <a:pt x="0" y="3"/>
                    <a:pt x="3" y="0"/>
                    <a:pt x="7"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626"/>
            <p:cNvSpPr>
              <a:spLocks/>
            </p:cNvSpPr>
            <p:nvPr/>
          </p:nvSpPr>
          <p:spPr bwMode="auto">
            <a:xfrm>
              <a:off x="3769030" y="6517400"/>
              <a:ext cx="11113" cy="23813"/>
            </a:xfrm>
            <a:custGeom>
              <a:avLst/>
              <a:gdLst/>
              <a:ahLst/>
              <a:cxnLst>
                <a:cxn ang="0">
                  <a:pos x="5" y="6"/>
                </a:cxn>
                <a:cxn ang="0">
                  <a:pos x="2" y="6"/>
                </a:cxn>
                <a:cxn ang="0">
                  <a:pos x="0" y="5"/>
                </a:cxn>
                <a:cxn ang="0">
                  <a:pos x="2" y="3"/>
                </a:cxn>
                <a:cxn ang="0">
                  <a:pos x="3" y="3"/>
                </a:cxn>
                <a:cxn ang="0">
                  <a:pos x="7" y="0"/>
                </a:cxn>
                <a:cxn ang="0">
                  <a:pos x="8" y="1"/>
                </a:cxn>
                <a:cxn ang="0">
                  <a:pos x="8" y="14"/>
                </a:cxn>
                <a:cxn ang="0">
                  <a:pos x="6" y="17"/>
                </a:cxn>
                <a:cxn ang="0">
                  <a:pos x="5" y="14"/>
                </a:cxn>
                <a:cxn ang="0">
                  <a:pos x="5" y="6"/>
                </a:cxn>
              </a:cxnLst>
              <a:rect l="0" t="0" r="r" b="b"/>
              <a:pathLst>
                <a:path w="8" h="17">
                  <a:moveTo>
                    <a:pt x="5" y="6"/>
                  </a:moveTo>
                  <a:cubicBezTo>
                    <a:pt x="2" y="6"/>
                    <a:pt x="2" y="6"/>
                    <a:pt x="2" y="6"/>
                  </a:cubicBezTo>
                  <a:cubicBezTo>
                    <a:pt x="1" y="6"/>
                    <a:pt x="0" y="5"/>
                    <a:pt x="0" y="5"/>
                  </a:cubicBezTo>
                  <a:cubicBezTo>
                    <a:pt x="0" y="4"/>
                    <a:pt x="1" y="3"/>
                    <a:pt x="2" y="3"/>
                  </a:cubicBezTo>
                  <a:cubicBezTo>
                    <a:pt x="3" y="3"/>
                    <a:pt x="3" y="3"/>
                    <a:pt x="3" y="3"/>
                  </a:cubicBezTo>
                  <a:cubicBezTo>
                    <a:pt x="6" y="2"/>
                    <a:pt x="5" y="0"/>
                    <a:pt x="7" y="0"/>
                  </a:cubicBezTo>
                  <a:cubicBezTo>
                    <a:pt x="7" y="0"/>
                    <a:pt x="8" y="0"/>
                    <a:pt x="8" y="1"/>
                  </a:cubicBezTo>
                  <a:cubicBezTo>
                    <a:pt x="8" y="14"/>
                    <a:pt x="8" y="14"/>
                    <a:pt x="8" y="14"/>
                  </a:cubicBezTo>
                  <a:cubicBezTo>
                    <a:pt x="8" y="16"/>
                    <a:pt x="8" y="17"/>
                    <a:pt x="6" y="17"/>
                  </a:cubicBezTo>
                  <a:cubicBezTo>
                    <a:pt x="5" y="17"/>
                    <a:pt x="5" y="16"/>
                    <a:pt x="5" y="14"/>
                  </a:cubicBezTo>
                  <a:cubicBezTo>
                    <a:pt x="5" y="6"/>
                    <a:pt x="5" y="6"/>
                    <a:pt x="5"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627"/>
            <p:cNvSpPr>
              <a:spLocks noEditPoints="1"/>
            </p:cNvSpPr>
            <p:nvPr/>
          </p:nvSpPr>
          <p:spPr bwMode="auto">
            <a:xfrm>
              <a:off x="3784905" y="6517400"/>
              <a:ext cx="15875" cy="23813"/>
            </a:xfrm>
            <a:custGeom>
              <a:avLst/>
              <a:gdLst/>
              <a:ahLst/>
              <a:cxnLst>
                <a:cxn ang="0">
                  <a:pos x="6" y="14"/>
                </a:cxn>
                <a:cxn ang="0">
                  <a:pos x="9" y="8"/>
                </a:cxn>
                <a:cxn ang="0">
                  <a:pos x="6" y="3"/>
                </a:cxn>
                <a:cxn ang="0">
                  <a:pos x="3" y="8"/>
                </a:cxn>
                <a:cxn ang="0">
                  <a:pos x="6" y="14"/>
                </a:cxn>
                <a:cxn ang="0">
                  <a:pos x="6" y="0"/>
                </a:cxn>
                <a:cxn ang="0">
                  <a:pos x="12" y="8"/>
                </a:cxn>
                <a:cxn ang="0">
                  <a:pos x="6" y="17"/>
                </a:cxn>
                <a:cxn ang="0">
                  <a:pos x="0" y="8"/>
                </a:cxn>
                <a:cxn ang="0">
                  <a:pos x="6" y="0"/>
                </a:cxn>
              </a:cxnLst>
              <a:rect l="0" t="0" r="r" b="b"/>
              <a:pathLst>
                <a:path w="12" h="17">
                  <a:moveTo>
                    <a:pt x="6" y="14"/>
                  </a:moveTo>
                  <a:cubicBezTo>
                    <a:pt x="8" y="14"/>
                    <a:pt x="9" y="12"/>
                    <a:pt x="9" y="8"/>
                  </a:cubicBezTo>
                  <a:cubicBezTo>
                    <a:pt x="9" y="5"/>
                    <a:pt x="8" y="3"/>
                    <a:pt x="6" y="3"/>
                  </a:cubicBezTo>
                  <a:cubicBezTo>
                    <a:pt x="4" y="3"/>
                    <a:pt x="3" y="5"/>
                    <a:pt x="3" y="8"/>
                  </a:cubicBezTo>
                  <a:cubicBezTo>
                    <a:pt x="3" y="12"/>
                    <a:pt x="4" y="14"/>
                    <a:pt x="6" y="14"/>
                  </a:cubicBezTo>
                  <a:moveTo>
                    <a:pt x="6" y="0"/>
                  </a:moveTo>
                  <a:cubicBezTo>
                    <a:pt x="10" y="0"/>
                    <a:pt x="12" y="3"/>
                    <a:pt x="12" y="8"/>
                  </a:cubicBezTo>
                  <a:cubicBezTo>
                    <a:pt x="12" y="12"/>
                    <a:pt x="11" y="17"/>
                    <a:pt x="6" y="17"/>
                  </a:cubicBezTo>
                  <a:cubicBezTo>
                    <a:pt x="1" y="17"/>
                    <a:pt x="0" y="12"/>
                    <a:pt x="0" y="8"/>
                  </a:cubicBezTo>
                  <a:cubicBezTo>
                    <a:pt x="0" y="3"/>
                    <a:pt x="2" y="0"/>
                    <a:pt x="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628"/>
            <p:cNvSpPr>
              <a:spLocks noEditPoints="1"/>
            </p:cNvSpPr>
            <p:nvPr/>
          </p:nvSpPr>
          <p:spPr bwMode="auto">
            <a:xfrm>
              <a:off x="3802367" y="6517400"/>
              <a:ext cx="15875" cy="23813"/>
            </a:xfrm>
            <a:custGeom>
              <a:avLst/>
              <a:gdLst/>
              <a:ahLst/>
              <a:cxnLst>
                <a:cxn ang="0">
                  <a:pos x="6" y="14"/>
                </a:cxn>
                <a:cxn ang="0">
                  <a:pos x="9" y="8"/>
                </a:cxn>
                <a:cxn ang="0">
                  <a:pos x="6" y="3"/>
                </a:cxn>
                <a:cxn ang="0">
                  <a:pos x="3" y="8"/>
                </a:cxn>
                <a:cxn ang="0">
                  <a:pos x="6" y="14"/>
                </a:cxn>
                <a:cxn ang="0">
                  <a:pos x="6" y="0"/>
                </a:cxn>
                <a:cxn ang="0">
                  <a:pos x="12" y="8"/>
                </a:cxn>
                <a:cxn ang="0">
                  <a:pos x="6" y="17"/>
                </a:cxn>
                <a:cxn ang="0">
                  <a:pos x="0" y="8"/>
                </a:cxn>
                <a:cxn ang="0">
                  <a:pos x="6" y="0"/>
                </a:cxn>
              </a:cxnLst>
              <a:rect l="0" t="0" r="r" b="b"/>
              <a:pathLst>
                <a:path w="12" h="17">
                  <a:moveTo>
                    <a:pt x="6" y="14"/>
                  </a:moveTo>
                  <a:cubicBezTo>
                    <a:pt x="8" y="14"/>
                    <a:pt x="9" y="12"/>
                    <a:pt x="9" y="8"/>
                  </a:cubicBezTo>
                  <a:cubicBezTo>
                    <a:pt x="9" y="5"/>
                    <a:pt x="8" y="3"/>
                    <a:pt x="6" y="3"/>
                  </a:cubicBezTo>
                  <a:cubicBezTo>
                    <a:pt x="4" y="3"/>
                    <a:pt x="3" y="5"/>
                    <a:pt x="3" y="8"/>
                  </a:cubicBezTo>
                  <a:cubicBezTo>
                    <a:pt x="3" y="12"/>
                    <a:pt x="4" y="14"/>
                    <a:pt x="6" y="14"/>
                  </a:cubicBezTo>
                  <a:moveTo>
                    <a:pt x="6" y="0"/>
                  </a:moveTo>
                  <a:cubicBezTo>
                    <a:pt x="10" y="0"/>
                    <a:pt x="12" y="3"/>
                    <a:pt x="12" y="8"/>
                  </a:cubicBezTo>
                  <a:cubicBezTo>
                    <a:pt x="12" y="12"/>
                    <a:pt x="11" y="17"/>
                    <a:pt x="6" y="17"/>
                  </a:cubicBezTo>
                  <a:cubicBezTo>
                    <a:pt x="1" y="17"/>
                    <a:pt x="0" y="12"/>
                    <a:pt x="0" y="8"/>
                  </a:cubicBezTo>
                  <a:cubicBezTo>
                    <a:pt x="0" y="3"/>
                    <a:pt x="2" y="0"/>
                    <a:pt x="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629"/>
            <p:cNvSpPr>
              <a:spLocks/>
            </p:cNvSpPr>
            <p:nvPr/>
          </p:nvSpPr>
          <p:spPr bwMode="auto">
            <a:xfrm>
              <a:off x="3819830" y="6517400"/>
              <a:ext cx="11113" cy="23813"/>
            </a:xfrm>
            <a:custGeom>
              <a:avLst/>
              <a:gdLst/>
              <a:ahLst/>
              <a:cxnLst>
                <a:cxn ang="0">
                  <a:pos x="4" y="6"/>
                </a:cxn>
                <a:cxn ang="0">
                  <a:pos x="1" y="6"/>
                </a:cxn>
                <a:cxn ang="0">
                  <a:pos x="0" y="5"/>
                </a:cxn>
                <a:cxn ang="0">
                  <a:pos x="2" y="3"/>
                </a:cxn>
                <a:cxn ang="0">
                  <a:pos x="2" y="3"/>
                </a:cxn>
                <a:cxn ang="0">
                  <a:pos x="6" y="0"/>
                </a:cxn>
                <a:cxn ang="0">
                  <a:pos x="8" y="1"/>
                </a:cxn>
                <a:cxn ang="0">
                  <a:pos x="8" y="14"/>
                </a:cxn>
                <a:cxn ang="0">
                  <a:pos x="6" y="17"/>
                </a:cxn>
                <a:cxn ang="0">
                  <a:pos x="4" y="14"/>
                </a:cxn>
                <a:cxn ang="0">
                  <a:pos x="4" y="6"/>
                </a:cxn>
              </a:cxnLst>
              <a:rect l="0" t="0" r="r" b="b"/>
              <a:pathLst>
                <a:path w="8" h="17">
                  <a:moveTo>
                    <a:pt x="4" y="6"/>
                  </a:moveTo>
                  <a:cubicBezTo>
                    <a:pt x="1" y="6"/>
                    <a:pt x="1" y="6"/>
                    <a:pt x="1" y="6"/>
                  </a:cubicBezTo>
                  <a:cubicBezTo>
                    <a:pt x="0" y="6"/>
                    <a:pt x="0" y="5"/>
                    <a:pt x="0" y="5"/>
                  </a:cubicBezTo>
                  <a:cubicBezTo>
                    <a:pt x="0" y="4"/>
                    <a:pt x="0" y="3"/>
                    <a:pt x="2" y="3"/>
                  </a:cubicBezTo>
                  <a:cubicBezTo>
                    <a:pt x="2" y="3"/>
                    <a:pt x="2" y="3"/>
                    <a:pt x="2" y="3"/>
                  </a:cubicBezTo>
                  <a:cubicBezTo>
                    <a:pt x="5" y="2"/>
                    <a:pt x="4" y="0"/>
                    <a:pt x="6" y="0"/>
                  </a:cubicBezTo>
                  <a:cubicBezTo>
                    <a:pt x="7" y="0"/>
                    <a:pt x="8" y="0"/>
                    <a:pt x="8" y="1"/>
                  </a:cubicBezTo>
                  <a:cubicBezTo>
                    <a:pt x="8" y="14"/>
                    <a:pt x="8" y="14"/>
                    <a:pt x="8" y="14"/>
                  </a:cubicBezTo>
                  <a:cubicBezTo>
                    <a:pt x="8" y="16"/>
                    <a:pt x="7" y="17"/>
                    <a:pt x="6" y="17"/>
                  </a:cubicBezTo>
                  <a:cubicBezTo>
                    <a:pt x="5" y="17"/>
                    <a:pt x="4" y="16"/>
                    <a:pt x="4" y="14"/>
                  </a:cubicBezTo>
                  <a:cubicBezTo>
                    <a:pt x="4" y="6"/>
                    <a:pt x="4" y="6"/>
                    <a:pt x="4"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630"/>
            <p:cNvSpPr>
              <a:spLocks/>
            </p:cNvSpPr>
            <p:nvPr/>
          </p:nvSpPr>
          <p:spPr bwMode="auto">
            <a:xfrm>
              <a:off x="3832530" y="6517400"/>
              <a:ext cx="11113" cy="23813"/>
            </a:xfrm>
            <a:custGeom>
              <a:avLst/>
              <a:gdLst/>
              <a:ahLst/>
              <a:cxnLst>
                <a:cxn ang="0">
                  <a:pos x="4" y="6"/>
                </a:cxn>
                <a:cxn ang="0">
                  <a:pos x="2" y="6"/>
                </a:cxn>
                <a:cxn ang="0">
                  <a:pos x="0" y="5"/>
                </a:cxn>
                <a:cxn ang="0">
                  <a:pos x="2" y="3"/>
                </a:cxn>
                <a:cxn ang="0">
                  <a:pos x="3" y="3"/>
                </a:cxn>
                <a:cxn ang="0">
                  <a:pos x="7" y="0"/>
                </a:cxn>
                <a:cxn ang="0">
                  <a:pos x="8" y="1"/>
                </a:cxn>
                <a:cxn ang="0">
                  <a:pos x="8" y="14"/>
                </a:cxn>
                <a:cxn ang="0">
                  <a:pos x="6" y="17"/>
                </a:cxn>
                <a:cxn ang="0">
                  <a:pos x="4" y="14"/>
                </a:cxn>
                <a:cxn ang="0">
                  <a:pos x="4" y="6"/>
                </a:cxn>
              </a:cxnLst>
              <a:rect l="0" t="0" r="r" b="b"/>
              <a:pathLst>
                <a:path w="8" h="17">
                  <a:moveTo>
                    <a:pt x="4" y="6"/>
                  </a:moveTo>
                  <a:cubicBezTo>
                    <a:pt x="2" y="6"/>
                    <a:pt x="2" y="6"/>
                    <a:pt x="2" y="6"/>
                  </a:cubicBezTo>
                  <a:cubicBezTo>
                    <a:pt x="1" y="6"/>
                    <a:pt x="0" y="5"/>
                    <a:pt x="0" y="5"/>
                  </a:cubicBezTo>
                  <a:cubicBezTo>
                    <a:pt x="0" y="4"/>
                    <a:pt x="1" y="3"/>
                    <a:pt x="2" y="3"/>
                  </a:cubicBezTo>
                  <a:cubicBezTo>
                    <a:pt x="3" y="3"/>
                    <a:pt x="3" y="3"/>
                    <a:pt x="3" y="3"/>
                  </a:cubicBezTo>
                  <a:cubicBezTo>
                    <a:pt x="5" y="2"/>
                    <a:pt x="5" y="0"/>
                    <a:pt x="7" y="0"/>
                  </a:cubicBezTo>
                  <a:cubicBezTo>
                    <a:pt x="7" y="0"/>
                    <a:pt x="8" y="0"/>
                    <a:pt x="8" y="1"/>
                  </a:cubicBezTo>
                  <a:cubicBezTo>
                    <a:pt x="8" y="14"/>
                    <a:pt x="8" y="14"/>
                    <a:pt x="8" y="14"/>
                  </a:cubicBezTo>
                  <a:cubicBezTo>
                    <a:pt x="8" y="16"/>
                    <a:pt x="8" y="17"/>
                    <a:pt x="6" y="17"/>
                  </a:cubicBezTo>
                  <a:cubicBezTo>
                    <a:pt x="5" y="17"/>
                    <a:pt x="4" y="16"/>
                    <a:pt x="4" y="14"/>
                  </a:cubicBezTo>
                  <a:cubicBezTo>
                    <a:pt x="4" y="6"/>
                    <a:pt x="4" y="6"/>
                    <a:pt x="4"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631"/>
            <p:cNvSpPr>
              <a:spLocks/>
            </p:cNvSpPr>
            <p:nvPr/>
          </p:nvSpPr>
          <p:spPr bwMode="auto">
            <a:xfrm>
              <a:off x="3845230" y="6517400"/>
              <a:ext cx="9525" cy="23813"/>
            </a:xfrm>
            <a:custGeom>
              <a:avLst/>
              <a:gdLst/>
              <a:ahLst/>
              <a:cxnLst>
                <a:cxn ang="0">
                  <a:pos x="4" y="6"/>
                </a:cxn>
                <a:cxn ang="0">
                  <a:pos x="1" y="6"/>
                </a:cxn>
                <a:cxn ang="0">
                  <a:pos x="0" y="5"/>
                </a:cxn>
                <a:cxn ang="0">
                  <a:pos x="1" y="3"/>
                </a:cxn>
                <a:cxn ang="0">
                  <a:pos x="2" y="3"/>
                </a:cxn>
                <a:cxn ang="0">
                  <a:pos x="6" y="0"/>
                </a:cxn>
                <a:cxn ang="0">
                  <a:pos x="7" y="1"/>
                </a:cxn>
                <a:cxn ang="0">
                  <a:pos x="7" y="14"/>
                </a:cxn>
                <a:cxn ang="0">
                  <a:pos x="6" y="17"/>
                </a:cxn>
                <a:cxn ang="0">
                  <a:pos x="4" y="14"/>
                </a:cxn>
                <a:cxn ang="0">
                  <a:pos x="4" y="6"/>
                </a:cxn>
              </a:cxnLst>
              <a:rect l="0" t="0" r="r" b="b"/>
              <a:pathLst>
                <a:path w="7" h="17">
                  <a:moveTo>
                    <a:pt x="4" y="6"/>
                  </a:moveTo>
                  <a:cubicBezTo>
                    <a:pt x="1" y="6"/>
                    <a:pt x="1" y="6"/>
                    <a:pt x="1" y="6"/>
                  </a:cubicBezTo>
                  <a:cubicBezTo>
                    <a:pt x="0" y="6"/>
                    <a:pt x="0" y="5"/>
                    <a:pt x="0" y="5"/>
                  </a:cubicBezTo>
                  <a:cubicBezTo>
                    <a:pt x="0" y="4"/>
                    <a:pt x="0" y="3"/>
                    <a:pt x="1" y="3"/>
                  </a:cubicBezTo>
                  <a:cubicBezTo>
                    <a:pt x="2" y="3"/>
                    <a:pt x="2" y="3"/>
                    <a:pt x="2" y="3"/>
                  </a:cubicBezTo>
                  <a:cubicBezTo>
                    <a:pt x="5" y="2"/>
                    <a:pt x="4" y="0"/>
                    <a:pt x="6" y="0"/>
                  </a:cubicBezTo>
                  <a:cubicBezTo>
                    <a:pt x="7" y="0"/>
                    <a:pt x="7" y="0"/>
                    <a:pt x="7" y="1"/>
                  </a:cubicBezTo>
                  <a:cubicBezTo>
                    <a:pt x="7" y="14"/>
                    <a:pt x="7" y="14"/>
                    <a:pt x="7" y="14"/>
                  </a:cubicBezTo>
                  <a:cubicBezTo>
                    <a:pt x="7" y="16"/>
                    <a:pt x="7" y="17"/>
                    <a:pt x="6" y="17"/>
                  </a:cubicBezTo>
                  <a:cubicBezTo>
                    <a:pt x="4" y="17"/>
                    <a:pt x="4" y="16"/>
                    <a:pt x="4" y="14"/>
                  </a:cubicBezTo>
                  <a:cubicBezTo>
                    <a:pt x="4" y="6"/>
                    <a:pt x="4" y="6"/>
                    <a:pt x="4" y="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632"/>
            <p:cNvSpPr>
              <a:spLocks noEditPoints="1"/>
            </p:cNvSpPr>
            <p:nvPr/>
          </p:nvSpPr>
          <p:spPr bwMode="auto">
            <a:xfrm>
              <a:off x="3859517" y="6517400"/>
              <a:ext cx="15875" cy="23813"/>
            </a:xfrm>
            <a:custGeom>
              <a:avLst/>
              <a:gdLst/>
              <a:ahLst/>
              <a:cxnLst>
                <a:cxn ang="0">
                  <a:pos x="6" y="14"/>
                </a:cxn>
                <a:cxn ang="0">
                  <a:pos x="9" y="8"/>
                </a:cxn>
                <a:cxn ang="0">
                  <a:pos x="6" y="3"/>
                </a:cxn>
                <a:cxn ang="0">
                  <a:pos x="4" y="8"/>
                </a:cxn>
                <a:cxn ang="0">
                  <a:pos x="6" y="14"/>
                </a:cxn>
                <a:cxn ang="0">
                  <a:pos x="6" y="0"/>
                </a:cxn>
                <a:cxn ang="0">
                  <a:pos x="12" y="8"/>
                </a:cxn>
                <a:cxn ang="0">
                  <a:pos x="6" y="17"/>
                </a:cxn>
                <a:cxn ang="0">
                  <a:pos x="0" y="8"/>
                </a:cxn>
                <a:cxn ang="0">
                  <a:pos x="6" y="0"/>
                </a:cxn>
              </a:cxnLst>
              <a:rect l="0" t="0" r="r" b="b"/>
              <a:pathLst>
                <a:path w="12" h="17">
                  <a:moveTo>
                    <a:pt x="6" y="14"/>
                  </a:moveTo>
                  <a:cubicBezTo>
                    <a:pt x="8" y="14"/>
                    <a:pt x="9" y="12"/>
                    <a:pt x="9" y="8"/>
                  </a:cubicBezTo>
                  <a:cubicBezTo>
                    <a:pt x="9" y="5"/>
                    <a:pt x="8" y="3"/>
                    <a:pt x="6" y="3"/>
                  </a:cubicBezTo>
                  <a:cubicBezTo>
                    <a:pt x="4" y="3"/>
                    <a:pt x="4" y="5"/>
                    <a:pt x="4" y="8"/>
                  </a:cubicBezTo>
                  <a:cubicBezTo>
                    <a:pt x="4" y="12"/>
                    <a:pt x="5" y="14"/>
                    <a:pt x="6" y="14"/>
                  </a:cubicBezTo>
                  <a:moveTo>
                    <a:pt x="6" y="0"/>
                  </a:moveTo>
                  <a:cubicBezTo>
                    <a:pt x="10" y="0"/>
                    <a:pt x="12" y="3"/>
                    <a:pt x="12" y="8"/>
                  </a:cubicBezTo>
                  <a:cubicBezTo>
                    <a:pt x="12" y="12"/>
                    <a:pt x="11" y="17"/>
                    <a:pt x="6" y="17"/>
                  </a:cubicBezTo>
                  <a:cubicBezTo>
                    <a:pt x="1" y="17"/>
                    <a:pt x="0" y="12"/>
                    <a:pt x="0" y="8"/>
                  </a:cubicBezTo>
                  <a:cubicBezTo>
                    <a:pt x="0" y="3"/>
                    <a:pt x="3" y="0"/>
                    <a:pt x="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75" name="Freeform 633"/>
          <p:cNvSpPr>
            <a:spLocks noChangeAspect="1" noEditPoints="1"/>
          </p:cNvSpPr>
          <p:nvPr/>
        </p:nvSpPr>
        <p:spPr bwMode="auto">
          <a:xfrm>
            <a:off x="5670388" y="5218305"/>
            <a:ext cx="792697" cy="504000"/>
          </a:xfrm>
          <a:custGeom>
            <a:avLst/>
            <a:gdLst/>
            <a:ahLst/>
            <a:cxnLst>
              <a:cxn ang="0">
                <a:pos x="118" y="20"/>
              </a:cxn>
              <a:cxn ang="0">
                <a:pos x="140" y="20"/>
              </a:cxn>
              <a:cxn ang="0">
                <a:pos x="140" y="44"/>
              </a:cxn>
              <a:cxn ang="0">
                <a:pos x="51" y="83"/>
              </a:cxn>
              <a:cxn ang="0">
                <a:pos x="75" y="59"/>
              </a:cxn>
              <a:cxn ang="0">
                <a:pos x="89" y="73"/>
              </a:cxn>
              <a:cxn ang="0">
                <a:pos x="130" y="31"/>
              </a:cxn>
              <a:cxn ang="0">
                <a:pos x="40" y="91"/>
              </a:cxn>
              <a:cxn ang="0">
                <a:pos x="157" y="91"/>
              </a:cxn>
              <a:cxn ang="0">
                <a:pos x="40" y="22"/>
              </a:cxn>
              <a:cxn ang="0">
                <a:pos x="40" y="91"/>
              </a:cxn>
              <a:cxn ang="0">
                <a:pos x="192" y="108"/>
              </a:cxn>
              <a:cxn ang="0">
                <a:pos x="179" y="122"/>
              </a:cxn>
              <a:cxn ang="0">
                <a:pos x="13" y="122"/>
              </a:cxn>
              <a:cxn ang="0">
                <a:pos x="0" y="108"/>
              </a:cxn>
              <a:cxn ang="0">
                <a:pos x="175" y="108"/>
              </a:cxn>
              <a:cxn ang="0">
                <a:pos x="175" y="0"/>
              </a:cxn>
              <a:cxn ang="0">
                <a:pos x="17" y="0"/>
              </a:cxn>
              <a:cxn ang="0">
                <a:pos x="17" y="93"/>
              </a:cxn>
            </a:cxnLst>
            <a:rect l="0" t="0" r="r" b="b"/>
            <a:pathLst>
              <a:path w="192" h="122">
                <a:moveTo>
                  <a:pt x="118" y="20"/>
                </a:moveTo>
                <a:cubicBezTo>
                  <a:pt x="140" y="20"/>
                  <a:pt x="140" y="20"/>
                  <a:pt x="140" y="20"/>
                </a:cubicBezTo>
                <a:cubicBezTo>
                  <a:pt x="140" y="44"/>
                  <a:pt x="140" y="44"/>
                  <a:pt x="140" y="44"/>
                </a:cubicBezTo>
                <a:moveTo>
                  <a:pt x="51" y="83"/>
                </a:moveTo>
                <a:cubicBezTo>
                  <a:pt x="75" y="59"/>
                  <a:pt x="75" y="59"/>
                  <a:pt x="75" y="59"/>
                </a:cubicBezTo>
                <a:cubicBezTo>
                  <a:pt x="89" y="73"/>
                  <a:pt x="89" y="73"/>
                  <a:pt x="89" y="73"/>
                </a:cubicBezTo>
                <a:cubicBezTo>
                  <a:pt x="130" y="31"/>
                  <a:pt x="130" y="31"/>
                  <a:pt x="130" y="31"/>
                </a:cubicBezTo>
                <a:moveTo>
                  <a:pt x="40" y="91"/>
                </a:moveTo>
                <a:cubicBezTo>
                  <a:pt x="157" y="91"/>
                  <a:pt x="157" y="91"/>
                  <a:pt x="157" y="91"/>
                </a:cubicBezTo>
                <a:moveTo>
                  <a:pt x="40" y="22"/>
                </a:moveTo>
                <a:cubicBezTo>
                  <a:pt x="40" y="91"/>
                  <a:pt x="40" y="91"/>
                  <a:pt x="40" y="91"/>
                </a:cubicBezTo>
                <a:moveTo>
                  <a:pt x="192" y="108"/>
                </a:moveTo>
                <a:cubicBezTo>
                  <a:pt x="192" y="116"/>
                  <a:pt x="187" y="122"/>
                  <a:pt x="179" y="122"/>
                </a:cubicBezTo>
                <a:cubicBezTo>
                  <a:pt x="13" y="122"/>
                  <a:pt x="13" y="122"/>
                  <a:pt x="13" y="122"/>
                </a:cubicBezTo>
                <a:cubicBezTo>
                  <a:pt x="6" y="122"/>
                  <a:pt x="0" y="116"/>
                  <a:pt x="0" y="108"/>
                </a:cubicBezTo>
                <a:cubicBezTo>
                  <a:pt x="175" y="108"/>
                  <a:pt x="175" y="108"/>
                  <a:pt x="175" y="108"/>
                </a:cubicBezTo>
                <a:cubicBezTo>
                  <a:pt x="175" y="0"/>
                  <a:pt x="175" y="0"/>
                  <a:pt x="175" y="0"/>
                </a:cubicBezTo>
                <a:cubicBezTo>
                  <a:pt x="17" y="0"/>
                  <a:pt x="17" y="0"/>
                  <a:pt x="17" y="0"/>
                </a:cubicBezTo>
                <a:cubicBezTo>
                  <a:pt x="17" y="93"/>
                  <a:pt x="17" y="93"/>
                  <a:pt x="17" y="9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634"/>
          <p:cNvSpPr>
            <a:spLocks noChangeAspect="1"/>
          </p:cNvSpPr>
          <p:nvPr/>
        </p:nvSpPr>
        <p:spPr bwMode="auto">
          <a:xfrm>
            <a:off x="8978061" y="5346663"/>
            <a:ext cx="540000" cy="336668"/>
          </a:xfrm>
          <a:custGeom>
            <a:avLst/>
            <a:gdLst/>
            <a:ahLst/>
            <a:cxnLst>
              <a:cxn ang="0">
                <a:pos x="161" y="120"/>
              </a:cxn>
              <a:cxn ang="0">
                <a:pos x="193" y="88"/>
              </a:cxn>
              <a:cxn ang="0">
                <a:pos x="161" y="56"/>
              </a:cxn>
              <a:cxn ang="0">
                <a:pos x="161" y="56"/>
              </a:cxn>
              <a:cxn ang="0">
                <a:pos x="161" y="55"/>
              </a:cxn>
              <a:cxn ang="0">
                <a:pos x="107" y="0"/>
              </a:cxn>
              <a:cxn ang="0">
                <a:pos x="56" y="36"/>
              </a:cxn>
              <a:cxn ang="0">
                <a:pos x="43" y="34"/>
              </a:cxn>
              <a:cxn ang="0">
                <a:pos x="0" y="77"/>
              </a:cxn>
              <a:cxn ang="0">
                <a:pos x="43" y="120"/>
              </a:cxn>
              <a:cxn ang="0">
                <a:pos x="132" y="120"/>
              </a:cxn>
            </a:cxnLst>
            <a:rect l="0" t="0" r="r" b="b"/>
            <a:pathLst>
              <a:path w="193" h="120">
                <a:moveTo>
                  <a:pt x="161" y="120"/>
                </a:moveTo>
                <a:cubicBezTo>
                  <a:pt x="179" y="120"/>
                  <a:pt x="193" y="105"/>
                  <a:pt x="193" y="88"/>
                </a:cubicBezTo>
                <a:cubicBezTo>
                  <a:pt x="193" y="70"/>
                  <a:pt x="179" y="56"/>
                  <a:pt x="161" y="56"/>
                </a:cubicBezTo>
                <a:cubicBezTo>
                  <a:pt x="161" y="56"/>
                  <a:pt x="161" y="56"/>
                  <a:pt x="161" y="56"/>
                </a:cubicBezTo>
                <a:cubicBezTo>
                  <a:pt x="161" y="56"/>
                  <a:pt x="161" y="55"/>
                  <a:pt x="161" y="55"/>
                </a:cubicBezTo>
                <a:cubicBezTo>
                  <a:pt x="161" y="24"/>
                  <a:pt x="137" y="0"/>
                  <a:pt x="107" y="0"/>
                </a:cubicBezTo>
                <a:cubicBezTo>
                  <a:pt x="83" y="0"/>
                  <a:pt x="64" y="15"/>
                  <a:pt x="56" y="36"/>
                </a:cubicBezTo>
                <a:cubicBezTo>
                  <a:pt x="52" y="34"/>
                  <a:pt x="47" y="34"/>
                  <a:pt x="43" y="34"/>
                </a:cubicBezTo>
                <a:cubicBezTo>
                  <a:pt x="19" y="34"/>
                  <a:pt x="0" y="53"/>
                  <a:pt x="0" y="77"/>
                </a:cubicBezTo>
                <a:cubicBezTo>
                  <a:pt x="0" y="100"/>
                  <a:pt x="19" y="120"/>
                  <a:pt x="43" y="120"/>
                </a:cubicBezTo>
                <a:cubicBezTo>
                  <a:pt x="132" y="120"/>
                  <a:pt x="132" y="120"/>
                  <a:pt x="132" y="12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635"/>
          <p:cNvSpPr>
            <a:spLocks noChangeAspect="1" noEditPoints="1"/>
          </p:cNvSpPr>
          <p:nvPr/>
        </p:nvSpPr>
        <p:spPr bwMode="auto">
          <a:xfrm>
            <a:off x="7849045" y="5218305"/>
            <a:ext cx="787805" cy="504000"/>
          </a:xfrm>
          <a:custGeom>
            <a:avLst/>
            <a:gdLst/>
            <a:ahLst/>
            <a:cxnLst>
              <a:cxn ang="0">
                <a:pos x="134" y="88"/>
              </a:cxn>
              <a:cxn ang="0">
                <a:pos x="152" y="69"/>
              </a:cxn>
              <a:cxn ang="0">
                <a:pos x="134" y="50"/>
              </a:cxn>
              <a:cxn ang="0">
                <a:pos x="133" y="50"/>
              </a:cxn>
              <a:cxn ang="0">
                <a:pos x="133" y="49"/>
              </a:cxn>
              <a:cxn ang="0">
                <a:pos x="101" y="16"/>
              </a:cxn>
              <a:cxn ang="0">
                <a:pos x="71" y="38"/>
              </a:cxn>
              <a:cxn ang="0">
                <a:pos x="63" y="36"/>
              </a:cxn>
              <a:cxn ang="0">
                <a:pos x="38" y="62"/>
              </a:cxn>
              <a:cxn ang="0">
                <a:pos x="63" y="88"/>
              </a:cxn>
              <a:cxn ang="0">
                <a:pos x="116" y="88"/>
              </a:cxn>
              <a:cxn ang="0">
                <a:pos x="192" y="109"/>
              </a:cxn>
              <a:cxn ang="0">
                <a:pos x="179" y="122"/>
              </a:cxn>
              <a:cxn ang="0">
                <a:pos x="13" y="122"/>
              </a:cxn>
              <a:cxn ang="0">
                <a:pos x="0" y="109"/>
              </a:cxn>
              <a:cxn ang="0">
                <a:pos x="175" y="109"/>
              </a:cxn>
              <a:cxn ang="0">
                <a:pos x="175" y="0"/>
              </a:cxn>
              <a:cxn ang="0">
                <a:pos x="17" y="0"/>
              </a:cxn>
              <a:cxn ang="0">
                <a:pos x="17" y="94"/>
              </a:cxn>
            </a:cxnLst>
            <a:rect l="0" t="0" r="r" b="b"/>
            <a:pathLst>
              <a:path w="192" h="122">
                <a:moveTo>
                  <a:pt x="134" y="88"/>
                </a:moveTo>
                <a:cubicBezTo>
                  <a:pt x="144" y="88"/>
                  <a:pt x="152" y="79"/>
                  <a:pt x="152" y="69"/>
                </a:cubicBezTo>
                <a:cubicBezTo>
                  <a:pt x="152" y="58"/>
                  <a:pt x="144" y="50"/>
                  <a:pt x="134" y="50"/>
                </a:cubicBezTo>
                <a:cubicBezTo>
                  <a:pt x="134" y="50"/>
                  <a:pt x="133" y="50"/>
                  <a:pt x="133" y="50"/>
                </a:cubicBezTo>
                <a:cubicBezTo>
                  <a:pt x="133" y="49"/>
                  <a:pt x="133" y="49"/>
                  <a:pt x="133" y="49"/>
                </a:cubicBezTo>
                <a:cubicBezTo>
                  <a:pt x="133" y="31"/>
                  <a:pt x="119" y="16"/>
                  <a:pt x="101" y="16"/>
                </a:cubicBezTo>
                <a:cubicBezTo>
                  <a:pt x="87" y="16"/>
                  <a:pt x="76" y="25"/>
                  <a:pt x="71" y="38"/>
                </a:cubicBezTo>
                <a:cubicBezTo>
                  <a:pt x="69" y="37"/>
                  <a:pt x="66" y="36"/>
                  <a:pt x="63" y="36"/>
                </a:cubicBezTo>
                <a:cubicBezTo>
                  <a:pt x="49" y="36"/>
                  <a:pt x="38" y="48"/>
                  <a:pt x="38" y="62"/>
                </a:cubicBezTo>
                <a:cubicBezTo>
                  <a:pt x="38" y="76"/>
                  <a:pt x="49" y="88"/>
                  <a:pt x="63" y="88"/>
                </a:cubicBezTo>
                <a:cubicBezTo>
                  <a:pt x="116" y="88"/>
                  <a:pt x="116" y="88"/>
                  <a:pt x="116" y="88"/>
                </a:cubicBezTo>
                <a:moveTo>
                  <a:pt x="192" y="109"/>
                </a:moveTo>
                <a:cubicBezTo>
                  <a:pt x="192" y="116"/>
                  <a:pt x="186" y="122"/>
                  <a:pt x="179" y="122"/>
                </a:cubicBezTo>
                <a:cubicBezTo>
                  <a:pt x="13" y="122"/>
                  <a:pt x="13" y="122"/>
                  <a:pt x="13" y="122"/>
                </a:cubicBezTo>
                <a:cubicBezTo>
                  <a:pt x="5" y="122"/>
                  <a:pt x="0" y="116"/>
                  <a:pt x="0" y="109"/>
                </a:cubicBezTo>
                <a:cubicBezTo>
                  <a:pt x="175" y="109"/>
                  <a:pt x="175" y="109"/>
                  <a:pt x="175" y="109"/>
                </a:cubicBezTo>
                <a:cubicBezTo>
                  <a:pt x="175" y="0"/>
                  <a:pt x="175" y="0"/>
                  <a:pt x="175" y="0"/>
                </a:cubicBezTo>
                <a:cubicBezTo>
                  <a:pt x="17" y="0"/>
                  <a:pt x="17" y="0"/>
                  <a:pt x="17" y="0"/>
                </a:cubicBezTo>
                <a:cubicBezTo>
                  <a:pt x="17" y="94"/>
                  <a:pt x="17" y="94"/>
                  <a:pt x="17" y="9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754"/>
          <p:cNvSpPr>
            <a:spLocks noChangeAspect="1" noEditPoints="1"/>
          </p:cNvSpPr>
          <p:nvPr/>
        </p:nvSpPr>
        <p:spPr bwMode="auto">
          <a:xfrm>
            <a:off x="1338811" y="5254305"/>
            <a:ext cx="736075" cy="468000"/>
          </a:xfrm>
          <a:custGeom>
            <a:avLst/>
            <a:gdLst/>
            <a:ahLst/>
            <a:cxnLst>
              <a:cxn ang="0">
                <a:pos x="179" y="122"/>
              </a:cxn>
              <a:cxn ang="0">
                <a:pos x="0" y="109"/>
              </a:cxn>
              <a:cxn ang="0">
                <a:pos x="175" y="0"/>
              </a:cxn>
              <a:cxn ang="0">
                <a:pos x="17" y="94"/>
              </a:cxn>
              <a:cxn ang="0">
                <a:pos x="117" y="41"/>
              </a:cxn>
              <a:cxn ang="0">
                <a:pos x="117" y="24"/>
              </a:cxn>
              <a:cxn ang="0">
                <a:pos x="90" y="68"/>
              </a:cxn>
              <a:cxn ang="0">
                <a:pos x="70" y="68"/>
              </a:cxn>
              <a:cxn ang="0">
                <a:pos x="90" y="68"/>
              </a:cxn>
              <a:cxn ang="0">
                <a:pos x="120" y="50"/>
              </a:cxn>
              <a:cxn ang="0">
                <a:pos x="123" y="49"/>
              </a:cxn>
              <a:cxn ang="0">
                <a:pos x="134" y="54"/>
              </a:cxn>
              <a:cxn ang="0">
                <a:pos x="132" y="42"/>
              </a:cxn>
              <a:cxn ang="0">
                <a:pos x="144" y="38"/>
              </a:cxn>
              <a:cxn ang="0">
                <a:pos x="135" y="30"/>
              </a:cxn>
              <a:cxn ang="0">
                <a:pos x="141" y="20"/>
              </a:cxn>
              <a:cxn ang="0">
                <a:pos x="129" y="19"/>
              </a:cxn>
              <a:cxn ang="0">
                <a:pos x="128" y="7"/>
              </a:cxn>
              <a:cxn ang="0">
                <a:pos x="118" y="15"/>
              </a:cxn>
              <a:cxn ang="0">
                <a:pos x="109" y="6"/>
              </a:cxn>
              <a:cxn ang="0">
                <a:pos x="107" y="18"/>
              </a:cxn>
              <a:cxn ang="0">
                <a:pos x="94" y="18"/>
              </a:cxn>
              <a:cxn ang="0">
                <a:pos x="100" y="28"/>
              </a:cxn>
              <a:cxn ang="0">
                <a:pos x="91" y="36"/>
              </a:cxn>
              <a:cxn ang="0">
                <a:pos x="102" y="41"/>
              </a:cxn>
              <a:cxn ang="0">
                <a:pos x="99" y="52"/>
              </a:cxn>
              <a:cxn ang="0">
                <a:pos x="110" y="54"/>
              </a:cxn>
              <a:cxn ang="0">
                <a:pos x="104" y="64"/>
              </a:cxn>
              <a:cxn ang="0">
                <a:pos x="113" y="71"/>
              </a:cxn>
              <a:cxn ang="0">
                <a:pos x="103" y="77"/>
              </a:cxn>
              <a:cxn ang="0">
                <a:pos x="108" y="88"/>
              </a:cxn>
              <a:cxn ang="0">
                <a:pos x="96" y="87"/>
              </a:cxn>
              <a:cxn ang="0">
                <a:pos x="94" y="99"/>
              </a:cxn>
              <a:cxn ang="0">
                <a:pos x="84" y="92"/>
              </a:cxn>
              <a:cxn ang="0">
                <a:pos x="77" y="102"/>
              </a:cxn>
              <a:cxn ang="0">
                <a:pos x="72" y="91"/>
              </a:cxn>
              <a:cxn ang="0">
                <a:pos x="61" y="96"/>
              </a:cxn>
              <a:cxn ang="0">
                <a:pos x="62" y="84"/>
              </a:cxn>
              <a:cxn ang="0">
                <a:pos x="50" y="83"/>
              </a:cxn>
              <a:cxn ang="0">
                <a:pos x="56" y="73"/>
              </a:cxn>
              <a:cxn ang="0">
                <a:pos x="47" y="66"/>
              </a:cxn>
              <a:cxn ang="0">
                <a:pos x="57" y="60"/>
              </a:cxn>
              <a:cxn ang="0">
                <a:pos x="52" y="49"/>
              </a:cxn>
              <a:cxn ang="0">
                <a:pos x="64" y="50"/>
              </a:cxn>
              <a:cxn ang="0">
                <a:pos x="66" y="38"/>
              </a:cxn>
              <a:cxn ang="0">
                <a:pos x="76" y="44"/>
              </a:cxn>
              <a:cxn ang="0">
                <a:pos x="83" y="35"/>
              </a:cxn>
              <a:cxn ang="0">
                <a:pos x="88" y="45"/>
              </a:cxn>
            </a:cxnLst>
            <a:rect l="0" t="0" r="r" b="b"/>
            <a:pathLst>
              <a:path w="193" h="122">
                <a:moveTo>
                  <a:pt x="193" y="109"/>
                </a:moveTo>
                <a:cubicBezTo>
                  <a:pt x="193" y="116"/>
                  <a:pt x="187" y="122"/>
                  <a:pt x="179" y="122"/>
                </a:cubicBezTo>
                <a:cubicBezTo>
                  <a:pt x="13" y="122"/>
                  <a:pt x="13" y="122"/>
                  <a:pt x="13" y="122"/>
                </a:cubicBezTo>
                <a:cubicBezTo>
                  <a:pt x="6" y="122"/>
                  <a:pt x="0" y="116"/>
                  <a:pt x="0" y="109"/>
                </a:cubicBezTo>
                <a:cubicBezTo>
                  <a:pt x="175" y="109"/>
                  <a:pt x="175" y="109"/>
                  <a:pt x="175" y="109"/>
                </a:cubicBezTo>
                <a:cubicBezTo>
                  <a:pt x="175" y="0"/>
                  <a:pt x="175" y="0"/>
                  <a:pt x="175" y="0"/>
                </a:cubicBezTo>
                <a:cubicBezTo>
                  <a:pt x="17" y="0"/>
                  <a:pt x="17" y="0"/>
                  <a:pt x="17" y="0"/>
                </a:cubicBezTo>
                <a:cubicBezTo>
                  <a:pt x="17" y="94"/>
                  <a:pt x="17" y="94"/>
                  <a:pt x="17" y="94"/>
                </a:cubicBezTo>
                <a:moveTo>
                  <a:pt x="126" y="32"/>
                </a:moveTo>
                <a:cubicBezTo>
                  <a:pt x="126" y="37"/>
                  <a:pt x="122" y="41"/>
                  <a:pt x="117" y="41"/>
                </a:cubicBezTo>
                <a:cubicBezTo>
                  <a:pt x="112" y="41"/>
                  <a:pt x="108" y="37"/>
                  <a:pt x="108" y="32"/>
                </a:cubicBezTo>
                <a:cubicBezTo>
                  <a:pt x="108" y="28"/>
                  <a:pt x="112" y="24"/>
                  <a:pt x="117" y="24"/>
                </a:cubicBezTo>
                <a:cubicBezTo>
                  <a:pt x="122" y="24"/>
                  <a:pt x="126" y="28"/>
                  <a:pt x="126" y="32"/>
                </a:cubicBezTo>
                <a:close/>
                <a:moveTo>
                  <a:pt x="90" y="68"/>
                </a:moveTo>
                <a:cubicBezTo>
                  <a:pt x="90" y="74"/>
                  <a:pt x="85" y="78"/>
                  <a:pt x="80" y="78"/>
                </a:cubicBezTo>
                <a:cubicBezTo>
                  <a:pt x="75" y="78"/>
                  <a:pt x="70" y="74"/>
                  <a:pt x="70" y="68"/>
                </a:cubicBezTo>
                <a:cubicBezTo>
                  <a:pt x="70" y="63"/>
                  <a:pt x="75" y="59"/>
                  <a:pt x="80" y="59"/>
                </a:cubicBezTo>
                <a:cubicBezTo>
                  <a:pt x="85" y="59"/>
                  <a:pt x="90" y="63"/>
                  <a:pt x="90" y="68"/>
                </a:cubicBezTo>
                <a:close/>
                <a:moveTo>
                  <a:pt x="116" y="60"/>
                </a:moveTo>
                <a:cubicBezTo>
                  <a:pt x="120" y="50"/>
                  <a:pt x="120" y="50"/>
                  <a:pt x="120" y="50"/>
                </a:cubicBezTo>
                <a:cubicBezTo>
                  <a:pt x="120" y="50"/>
                  <a:pt x="121" y="50"/>
                  <a:pt x="121" y="50"/>
                </a:cubicBezTo>
                <a:cubicBezTo>
                  <a:pt x="122" y="50"/>
                  <a:pt x="122" y="50"/>
                  <a:pt x="123" y="49"/>
                </a:cubicBezTo>
                <a:cubicBezTo>
                  <a:pt x="129" y="57"/>
                  <a:pt x="129" y="57"/>
                  <a:pt x="129" y="57"/>
                </a:cubicBezTo>
                <a:cubicBezTo>
                  <a:pt x="134" y="54"/>
                  <a:pt x="134" y="54"/>
                  <a:pt x="134" y="54"/>
                </a:cubicBezTo>
                <a:cubicBezTo>
                  <a:pt x="130" y="45"/>
                  <a:pt x="130" y="45"/>
                  <a:pt x="130" y="45"/>
                </a:cubicBezTo>
                <a:cubicBezTo>
                  <a:pt x="131" y="44"/>
                  <a:pt x="132" y="43"/>
                  <a:pt x="132" y="42"/>
                </a:cubicBezTo>
                <a:cubicBezTo>
                  <a:pt x="142" y="43"/>
                  <a:pt x="142" y="43"/>
                  <a:pt x="142" y="43"/>
                </a:cubicBezTo>
                <a:cubicBezTo>
                  <a:pt x="144" y="38"/>
                  <a:pt x="144" y="38"/>
                  <a:pt x="144" y="38"/>
                </a:cubicBezTo>
                <a:cubicBezTo>
                  <a:pt x="135" y="33"/>
                  <a:pt x="135" y="33"/>
                  <a:pt x="135" y="33"/>
                </a:cubicBezTo>
                <a:cubicBezTo>
                  <a:pt x="135" y="32"/>
                  <a:pt x="135" y="31"/>
                  <a:pt x="135" y="30"/>
                </a:cubicBezTo>
                <a:cubicBezTo>
                  <a:pt x="143" y="25"/>
                  <a:pt x="143" y="25"/>
                  <a:pt x="143" y="25"/>
                </a:cubicBezTo>
                <a:cubicBezTo>
                  <a:pt x="141" y="20"/>
                  <a:pt x="141" y="20"/>
                  <a:pt x="141" y="20"/>
                </a:cubicBezTo>
                <a:cubicBezTo>
                  <a:pt x="132" y="22"/>
                  <a:pt x="132" y="22"/>
                  <a:pt x="132" y="22"/>
                </a:cubicBezTo>
                <a:cubicBezTo>
                  <a:pt x="131" y="21"/>
                  <a:pt x="130" y="20"/>
                  <a:pt x="129" y="19"/>
                </a:cubicBezTo>
                <a:cubicBezTo>
                  <a:pt x="132" y="10"/>
                  <a:pt x="132" y="10"/>
                  <a:pt x="132" y="10"/>
                </a:cubicBezTo>
                <a:cubicBezTo>
                  <a:pt x="128" y="7"/>
                  <a:pt x="128" y="7"/>
                  <a:pt x="128" y="7"/>
                </a:cubicBezTo>
                <a:cubicBezTo>
                  <a:pt x="121" y="15"/>
                  <a:pt x="121" y="15"/>
                  <a:pt x="121" y="15"/>
                </a:cubicBezTo>
                <a:cubicBezTo>
                  <a:pt x="120" y="15"/>
                  <a:pt x="119" y="15"/>
                  <a:pt x="118" y="15"/>
                </a:cubicBezTo>
                <a:cubicBezTo>
                  <a:pt x="114" y="5"/>
                  <a:pt x="114" y="5"/>
                  <a:pt x="114" y="5"/>
                </a:cubicBezTo>
                <a:cubicBezTo>
                  <a:pt x="109" y="6"/>
                  <a:pt x="109" y="6"/>
                  <a:pt x="109" y="6"/>
                </a:cubicBezTo>
                <a:cubicBezTo>
                  <a:pt x="109" y="16"/>
                  <a:pt x="109" y="16"/>
                  <a:pt x="109" y="16"/>
                </a:cubicBezTo>
                <a:cubicBezTo>
                  <a:pt x="108" y="17"/>
                  <a:pt x="108" y="18"/>
                  <a:pt x="107" y="18"/>
                </a:cubicBezTo>
                <a:cubicBezTo>
                  <a:pt x="98" y="13"/>
                  <a:pt x="98" y="13"/>
                  <a:pt x="98" y="13"/>
                </a:cubicBezTo>
                <a:cubicBezTo>
                  <a:pt x="94" y="18"/>
                  <a:pt x="94" y="18"/>
                  <a:pt x="94" y="18"/>
                </a:cubicBezTo>
                <a:cubicBezTo>
                  <a:pt x="101" y="25"/>
                  <a:pt x="101" y="25"/>
                  <a:pt x="101" y="25"/>
                </a:cubicBezTo>
                <a:cubicBezTo>
                  <a:pt x="101" y="26"/>
                  <a:pt x="100" y="27"/>
                  <a:pt x="100" y="28"/>
                </a:cubicBezTo>
                <a:cubicBezTo>
                  <a:pt x="90" y="31"/>
                  <a:pt x="90" y="31"/>
                  <a:pt x="90" y="31"/>
                </a:cubicBezTo>
                <a:cubicBezTo>
                  <a:pt x="91" y="36"/>
                  <a:pt x="91" y="36"/>
                  <a:pt x="91" y="36"/>
                </a:cubicBezTo>
                <a:cubicBezTo>
                  <a:pt x="101" y="38"/>
                  <a:pt x="101" y="38"/>
                  <a:pt x="101" y="38"/>
                </a:cubicBezTo>
                <a:cubicBezTo>
                  <a:pt x="101" y="39"/>
                  <a:pt x="101" y="40"/>
                  <a:pt x="102" y="41"/>
                </a:cubicBezTo>
                <a:cubicBezTo>
                  <a:pt x="96" y="49"/>
                  <a:pt x="96" y="49"/>
                  <a:pt x="96" y="49"/>
                </a:cubicBezTo>
                <a:cubicBezTo>
                  <a:pt x="99" y="52"/>
                  <a:pt x="99" y="52"/>
                  <a:pt x="99" y="52"/>
                </a:cubicBezTo>
                <a:cubicBezTo>
                  <a:pt x="108" y="49"/>
                  <a:pt x="108" y="49"/>
                  <a:pt x="108" y="49"/>
                </a:cubicBezTo>
                <a:cubicBezTo>
                  <a:pt x="110" y="54"/>
                  <a:pt x="110" y="54"/>
                  <a:pt x="110" y="54"/>
                </a:cubicBezTo>
                <a:cubicBezTo>
                  <a:pt x="103" y="60"/>
                  <a:pt x="103" y="60"/>
                  <a:pt x="103" y="60"/>
                </a:cubicBezTo>
                <a:cubicBezTo>
                  <a:pt x="103" y="61"/>
                  <a:pt x="104" y="63"/>
                  <a:pt x="104" y="64"/>
                </a:cubicBezTo>
                <a:cubicBezTo>
                  <a:pt x="113" y="66"/>
                  <a:pt x="113" y="66"/>
                  <a:pt x="113" y="66"/>
                </a:cubicBezTo>
                <a:cubicBezTo>
                  <a:pt x="113" y="71"/>
                  <a:pt x="113" y="71"/>
                  <a:pt x="113" y="71"/>
                </a:cubicBezTo>
                <a:cubicBezTo>
                  <a:pt x="104" y="73"/>
                  <a:pt x="104" y="73"/>
                  <a:pt x="104" y="73"/>
                </a:cubicBezTo>
                <a:cubicBezTo>
                  <a:pt x="104" y="74"/>
                  <a:pt x="103" y="75"/>
                  <a:pt x="103" y="77"/>
                </a:cubicBezTo>
                <a:cubicBezTo>
                  <a:pt x="110" y="83"/>
                  <a:pt x="110" y="83"/>
                  <a:pt x="110" y="83"/>
                </a:cubicBezTo>
                <a:cubicBezTo>
                  <a:pt x="108" y="88"/>
                  <a:pt x="108" y="88"/>
                  <a:pt x="108" y="88"/>
                </a:cubicBezTo>
                <a:cubicBezTo>
                  <a:pt x="99" y="84"/>
                  <a:pt x="99" y="84"/>
                  <a:pt x="99" y="84"/>
                </a:cubicBezTo>
                <a:cubicBezTo>
                  <a:pt x="98" y="85"/>
                  <a:pt x="97" y="86"/>
                  <a:pt x="96" y="87"/>
                </a:cubicBezTo>
                <a:cubicBezTo>
                  <a:pt x="99" y="96"/>
                  <a:pt x="99" y="96"/>
                  <a:pt x="99" y="96"/>
                </a:cubicBezTo>
                <a:cubicBezTo>
                  <a:pt x="94" y="99"/>
                  <a:pt x="94" y="99"/>
                  <a:pt x="94" y="99"/>
                </a:cubicBezTo>
                <a:cubicBezTo>
                  <a:pt x="88" y="91"/>
                  <a:pt x="88" y="91"/>
                  <a:pt x="88" y="91"/>
                </a:cubicBezTo>
                <a:cubicBezTo>
                  <a:pt x="87" y="92"/>
                  <a:pt x="86" y="92"/>
                  <a:pt x="84" y="92"/>
                </a:cubicBezTo>
                <a:cubicBezTo>
                  <a:pt x="83" y="102"/>
                  <a:pt x="83" y="102"/>
                  <a:pt x="83" y="102"/>
                </a:cubicBezTo>
                <a:cubicBezTo>
                  <a:pt x="77" y="102"/>
                  <a:pt x="77" y="102"/>
                  <a:pt x="77" y="102"/>
                </a:cubicBezTo>
                <a:cubicBezTo>
                  <a:pt x="76" y="92"/>
                  <a:pt x="76" y="92"/>
                  <a:pt x="76" y="92"/>
                </a:cubicBezTo>
                <a:cubicBezTo>
                  <a:pt x="74" y="92"/>
                  <a:pt x="73" y="92"/>
                  <a:pt x="72" y="91"/>
                </a:cubicBezTo>
                <a:cubicBezTo>
                  <a:pt x="66" y="99"/>
                  <a:pt x="66" y="99"/>
                  <a:pt x="66" y="99"/>
                </a:cubicBezTo>
                <a:cubicBezTo>
                  <a:pt x="61" y="96"/>
                  <a:pt x="61" y="96"/>
                  <a:pt x="61" y="96"/>
                </a:cubicBezTo>
                <a:cubicBezTo>
                  <a:pt x="64" y="87"/>
                  <a:pt x="64" y="87"/>
                  <a:pt x="64" y="87"/>
                </a:cubicBezTo>
                <a:cubicBezTo>
                  <a:pt x="63" y="86"/>
                  <a:pt x="62" y="85"/>
                  <a:pt x="62" y="84"/>
                </a:cubicBezTo>
                <a:cubicBezTo>
                  <a:pt x="52" y="88"/>
                  <a:pt x="52" y="88"/>
                  <a:pt x="52" y="88"/>
                </a:cubicBezTo>
                <a:cubicBezTo>
                  <a:pt x="50" y="83"/>
                  <a:pt x="50" y="83"/>
                  <a:pt x="50" y="83"/>
                </a:cubicBezTo>
                <a:cubicBezTo>
                  <a:pt x="57" y="77"/>
                  <a:pt x="57" y="77"/>
                  <a:pt x="57" y="77"/>
                </a:cubicBezTo>
                <a:cubicBezTo>
                  <a:pt x="57" y="75"/>
                  <a:pt x="56" y="74"/>
                  <a:pt x="56" y="73"/>
                </a:cubicBezTo>
                <a:cubicBezTo>
                  <a:pt x="47" y="71"/>
                  <a:pt x="47" y="71"/>
                  <a:pt x="47" y="71"/>
                </a:cubicBezTo>
                <a:cubicBezTo>
                  <a:pt x="47" y="66"/>
                  <a:pt x="47" y="66"/>
                  <a:pt x="47" y="66"/>
                </a:cubicBezTo>
                <a:cubicBezTo>
                  <a:pt x="56" y="64"/>
                  <a:pt x="56" y="64"/>
                  <a:pt x="56" y="64"/>
                </a:cubicBezTo>
                <a:cubicBezTo>
                  <a:pt x="56" y="63"/>
                  <a:pt x="57" y="61"/>
                  <a:pt x="57" y="60"/>
                </a:cubicBezTo>
                <a:cubicBezTo>
                  <a:pt x="50" y="54"/>
                  <a:pt x="50" y="54"/>
                  <a:pt x="50" y="54"/>
                </a:cubicBezTo>
                <a:cubicBezTo>
                  <a:pt x="52" y="49"/>
                  <a:pt x="52" y="49"/>
                  <a:pt x="52" y="49"/>
                </a:cubicBezTo>
                <a:cubicBezTo>
                  <a:pt x="62" y="52"/>
                  <a:pt x="62" y="52"/>
                  <a:pt x="62" y="52"/>
                </a:cubicBezTo>
                <a:cubicBezTo>
                  <a:pt x="62" y="51"/>
                  <a:pt x="63" y="50"/>
                  <a:pt x="64" y="50"/>
                </a:cubicBezTo>
                <a:cubicBezTo>
                  <a:pt x="61" y="40"/>
                  <a:pt x="61" y="40"/>
                  <a:pt x="61" y="40"/>
                </a:cubicBezTo>
                <a:cubicBezTo>
                  <a:pt x="66" y="38"/>
                  <a:pt x="66" y="38"/>
                  <a:pt x="66" y="38"/>
                </a:cubicBezTo>
                <a:cubicBezTo>
                  <a:pt x="72" y="45"/>
                  <a:pt x="72" y="45"/>
                  <a:pt x="72" y="45"/>
                </a:cubicBezTo>
                <a:cubicBezTo>
                  <a:pt x="73" y="45"/>
                  <a:pt x="74" y="44"/>
                  <a:pt x="76" y="44"/>
                </a:cubicBezTo>
                <a:cubicBezTo>
                  <a:pt x="77" y="35"/>
                  <a:pt x="77" y="35"/>
                  <a:pt x="77" y="35"/>
                </a:cubicBezTo>
                <a:cubicBezTo>
                  <a:pt x="83" y="35"/>
                  <a:pt x="83" y="35"/>
                  <a:pt x="83" y="35"/>
                </a:cubicBezTo>
                <a:cubicBezTo>
                  <a:pt x="84" y="44"/>
                  <a:pt x="84" y="44"/>
                  <a:pt x="84" y="44"/>
                </a:cubicBezTo>
                <a:cubicBezTo>
                  <a:pt x="86" y="44"/>
                  <a:pt x="87" y="45"/>
                  <a:pt x="88" y="4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7" name="Groupe 488"/>
          <p:cNvGrpSpPr>
            <a:grpSpLocks noChangeAspect="1"/>
          </p:cNvGrpSpPr>
          <p:nvPr/>
        </p:nvGrpSpPr>
        <p:grpSpPr>
          <a:xfrm>
            <a:off x="3528304" y="5218305"/>
            <a:ext cx="789925" cy="504000"/>
            <a:chOff x="3294367" y="6431675"/>
            <a:chExt cx="258763" cy="165100"/>
          </a:xfrm>
        </p:grpSpPr>
        <p:sp>
          <p:nvSpPr>
            <p:cNvPr id="484" name="Freeform 760"/>
            <p:cNvSpPr>
              <a:spLocks noChangeAspect="1"/>
            </p:cNvSpPr>
            <p:nvPr/>
          </p:nvSpPr>
          <p:spPr bwMode="auto">
            <a:xfrm>
              <a:off x="3330880" y="6485650"/>
              <a:ext cx="87313" cy="85725"/>
            </a:xfrm>
            <a:custGeom>
              <a:avLst/>
              <a:gdLst/>
              <a:ahLst/>
              <a:cxnLst>
                <a:cxn ang="0">
                  <a:pos x="62" y="37"/>
                </a:cxn>
                <a:cxn ang="0">
                  <a:pos x="62" y="48"/>
                </a:cxn>
                <a:cxn ang="0">
                  <a:pos x="49" y="61"/>
                </a:cxn>
                <a:cxn ang="0">
                  <a:pos x="38" y="61"/>
                </a:cxn>
                <a:cxn ang="0">
                  <a:pos x="3" y="27"/>
                </a:cxn>
                <a:cxn ang="0">
                  <a:pos x="3" y="16"/>
                </a:cxn>
                <a:cxn ang="0">
                  <a:pos x="17" y="3"/>
                </a:cxn>
                <a:cxn ang="0">
                  <a:pos x="28" y="3"/>
                </a:cxn>
                <a:cxn ang="0">
                  <a:pos x="62" y="37"/>
                </a:cxn>
              </a:cxnLst>
              <a:rect l="0" t="0" r="r" b="b"/>
              <a:pathLst>
                <a:path w="65" h="64">
                  <a:moveTo>
                    <a:pt x="62" y="37"/>
                  </a:moveTo>
                  <a:cubicBezTo>
                    <a:pt x="65" y="40"/>
                    <a:pt x="65" y="45"/>
                    <a:pt x="62" y="48"/>
                  </a:cubicBezTo>
                  <a:cubicBezTo>
                    <a:pt x="49" y="61"/>
                    <a:pt x="49" y="61"/>
                    <a:pt x="49" y="61"/>
                  </a:cubicBezTo>
                  <a:cubicBezTo>
                    <a:pt x="46" y="64"/>
                    <a:pt x="41" y="64"/>
                    <a:pt x="38" y="61"/>
                  </a:cubicBezTo>
                  <a:cubicBezTo>
                    <a:pt x="3" y="27"/>
                    <a:pt x="3" y="27"/>
                    <a:pt x="3" y="27"/>
                  </a:cubicBezTo>
                  <a:cubicBezTo>
                    <a:pt x="0" y="24"/>
                    <a:pt x="0" y="19"/>
                    <a:pt x="3" y="16"/>
                  </a:cubicBezTo>
                  <a:cubicBezTo>
                    <a:pt x="17" y="3"/>
                    <a:pt x="17" y="3"/>
                    <a:pt x="17" y="3"/>
                  </a:cubicBezTo>
                  <a:cubicBezTo>
                    <a:pt x="20" y="0"/>
                    <a:pt x="25" y="0"/>
                    <a:pt x="28" y="3"/>
                  </a:cubicBezTo>
                  <a:cubicBezTo>
                    <a:pt x="62" y="37"/>
                    <a:pt x="62" y="37"/>
                    <a:pt x="62" y="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761"/>
            <p:cNvSpPr>
              <a:spLocks noChangeAspect="1"/>
            </p:cNvSpPr>
            <p:nvPr/>
          </p:nvSpPr>
          <p:spPr bwMode="auto">
            <a:xfrm>
              <a:off x="3340405" y="6493588"/>
              <a:ext cx="47625" cy="47625"/>
            </a:xfrm>
            <a:custGeom>
              <a:avLst/>
              <a:gdLst/>
              <a:ahLst/>
              <a:cxnLst>
                <a:cxn ang="0">
                  <a:pos x="35" y="17"/>
                </a:cxn>
                <a:cxn ang="0">
                  <a:pos x="33" y="24"/>
                </a:cxn>
                <a:cxn ang="0">
                  <a:pos x="23" y="33"/>
                </a:cxn>
                <a:cxn ang="0">
                  <a:pos x="17" y="35"/>
                </a:cxn>
                <a:cxn ang="0">
                  <a:pos x="1" y="19"/>
                </a:cxn>
                <a:cxn ang="0">
                  <a:pos x="3" y="13"/>
                </a:cxn>
                <a:cxn ang="0">
                  <a:pos x="12" y="3"/>
                </a:cxn>
                <a:cxn ang="0">
                  <a:pos x="19" y="1"/>
                </a:cxn>
                <a:cxn ang="0">
                  <a:pos x="35" y="17"/>
                </a:cxn>
              </a:cxnLst>
              <a:rect l="0" t="0" r="r" b="b"/>
              <a:pathLst>
                <a:path w="36" h="36">
                  <a:moveTo>
                    <a:pt x="35" y="17"/>
                  </a:moveTo>
                  <a:cubicBezTo>
                    <a:pt x="36" y="18"/>
                    <a:pt x="35" y="21"/>
                    <a:pt x="33" y="24"/>
                  </a:cubicBezTo>
                  <a:cubicBezTo>
                    <a:pt x="23" y="33"/>
                    <a:pt x="23" y="33"/>
                    <a:pt x="23" y="33"/>
                  </a:cubicBezTo>
                  <a:cubicBezTo>
                    <a:pt x="21" y="36"/>
                    <a:pt x="18" y="36"/>
                    <a:pt x="17" y="35"/>
                  </a:cubicBezTo>
                  <a:cubicBezTo>
                    <a:pt x="1" y="19"/>
                    <a:pt x="1" y="19"/>
                    <a:pt x="1" y="19"/>
                  </a:cubicBezTo>
                  <a:cubicBezTo>
                    <a:pt x="0" y="18"/>
                    <a:pt x="0" y="15"/>
                    <a:pt x="3" y="13"/>
                  </a:cubicBezTo>
                  <a:cubicBezTo>
                    <a:pt x="12" y="3"/>
                    <a:pt x="12" y="3"/>
                    <a:pt x="12" y="3"/>
                  </a:cubicBezTo>
                  <a:cubicBezTo>
                    <a:pt x="15" y="1"/>
                    <a:pt x="18" y="0"/>
                    <a:pt x="19" y="1"/>
                  </a:cubicBezTo>
                  <a:cubicBezTo>
                    <a:pt x="35" y="17"/>
                    <a:pt x="35" y="17"/>
                    <a:pt x="35" y="17"/>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762"/>
            <p:cNvSpPr>
              <a:spLocks noChangeAspect="1" noEditPoints="1"/>
            </p:cNvSpPr>
            <p:nvPr/>
          </p:nvSpPr>
          <p:spPr bwMode="auto">
            <a:xfrm>
              <a:off x="3294367" y="6431675"/>
              <a:ext cx="258763" cy="165100"/>
            </a:xfrm>
            <a:custGeom>
              <a:avLst/>
              <a:gdLst/>
              <a:ahLst/>
              <a:cxnLst>
                <a:cxn ang="0">
                  <a:pos x="193" y="110"/>
                </a:cxn>
                <a:cxn ang="0">
                  <a:pos x="180" y="123"/>
                </a:cxn>
                <a:cxn ang="0">
                  <a:pos x="13" y="123"/>
                </a:cxn>
                <a:cxn ang="0">
                  <a:pos x="0" y="110"/>
                </a:cxn>
                <a:cxn ang="0">
                  <a:pos x="176" y="110"/>
                </a:cxn>
                <a:cxn ang="0">
                  <a:pos x="176" y="0"/>
                </a:cxn>
                <a:cxn ang="0">
                  <a:pos x="18" y="0"/>
                </a:cxn>
                <a:cxn ang="0">
                  <a:pos x="18" y="95"/>
                </a:cxn>
                <a:cxn ang="0">
                  <a:pos x="124" y="38"/>
                </a:cxn>
                <a:cxn ang="0">
                  <a:pos x="127" y="48"/>
                </a:cxn>
                <a:cxn ang="0">
                  <a:pos x="142" y="48"/>
                </a:cxn>
                <a:cxn ang="0">
                  <a:pos x="145" y="42"/>
                </a:cxn>
                <a:cxn ang="0">
                  <a:pos x="145" y="42"/>
                </a:cxn>
                <a:cxn ang="0">
                  <a:pos x="142" y="33"/>
                </a:cxn>
                <a:cxn ang="0">
                  <a:pos x="127" y="33"/>
                </a:cxn>
                <a:cxn ang="0">
                  <a:pos x="124" y="38"/>
                </a:cxn>
                <a:cxn ang="0">
                  <a:pos x="139" y="58"/>
                </a:cxn>
                <a:cxn ang="0">
                  <a:pos x="167" y="86"/>
                </a:cxn>
                <a:cxn ang="0">
                  <a:pos x="175" y="86"/>
                </a:cxn>
                <a:cxn ang="0">
                  <a:pos x="145" y="42"/>
                </a:cxn>
                <a:cxn ang="0">
                  <a:pos x="151" y="44"/>
                </a:cxn>
                <a:cxn ang="0">
                  <a:pos x="175" y="67"/>
                </a:cxn>
                <a:cxn ang="0">
                  <a:pos x="131" y="23"/>
                </a:cxn>
                <a:cxn ang="0">
                  <a:pos x="111" y="3"/>
                </a:cxn>
                <a:cxn ang="0">
                  <a:pos x="124" y="38"/>
                </a:cxn>
                <a:cxn ang="0">
                  <a:pos x="118" y="37"/>
                </a:cxn>
                <a:cxn ang="0">
                  <a:pos x="84" y="3"/>
                </a:cxn>
                <a:cxn ang="0">
                  <a:pos x="117" y="49"/>
                </a:cxn>
                <a:cxn ang="0">
                  <a:pos x="120" y="56"/>
                </a:cxn>
                <a:cxn ang="0">
                  <a:pos x="126" y="58"/>
                </a:cxn>
                <a:cxn ang="0">
                  <a:pos x="107" y="49"/>
                </a:cxn>
                <a:cxn ang="0">
                  <a:pos x="112" y="63"/>
                </a:cxn>
                <a:cxn ang="0">
                  <a:pos x="126" y="69"/>
                </a:cxn>
                <a:cxn ang="0">
                  <a:pos x="126" y="79"/>
                </a:cxn>
                <a:cxn ang="0">
                  <a:pos x="105" y="70"/>
                </a:cxn>
                <a:cxn ang="0">
                  <a:pos x="96" y="49"/>
                </a:cxn>
              </a:cxnLst>
              <a:rect l="0" t="0" r="r" b="b"/>
              <a:pathLst>
                <a:path w="193" h="123">
                  <a:moveTo>
                    <a:pt x="193" y="110"/>
                  </a:moveTo>
                  <a:cubicBezTo>
                    <a:pt x="193" y="117"/>
                    <a:pt x="187" y="123"/>
                    <a:pt x="180" y="123"/>
                  </a:cubicBezTo>
                  <a:cubicBezTo>
                    <a:pt x="13" y="123"/>
                    <a:pt x="13" y="123"/>
                    <a:pt x="13" y="123"/>
                  </a:cubicBezTo>
                  <a:cubicBezTo>
                    <a:pt x="6" y="123"/>
                    <a:pt x="0" y="117"/>
                    <a:pt x="0" y="110"/>
                  </a:cubicBezTo>
                  <a:cubicBezTo>
                    <a:pt x="176" y="110"/>
                    <a:pt x="176" y="110"/>
                    <a:pt x="176" y="110"/>
                  </a:cubicBezTo>
                  <a:cubicBezTo>
                    <a:pt x="176" y="0"/>
                    <a:pt x="176" y="0"/>
                    <a:pt x="176" y="0"/>
                  </a:cubicBezTo>
                  <a:cubicBezTo>
                    <a:pt x="18" y="0"/>
                    <a:pt x="18" y="0"/>
                    <a:pt x="18" y="0"/>
                  </a:cubicBezTo>
                  <a:cubicBezTo>
                    <a:pt x="18" y="95"/>
                    <a:pt x="18" y="95"/>
                    <a:pt x="18" y="95"/>
                  </a:cubicBezTo>
                  <a:moveTo>
                    <a:pt x="124" y="38"/>
                  </a:moveTo>
                  <a:cubicBezTo>
                    <a:pt x="124" y="42"/>
                    <a:pt x="125" y="45"/>
                    <a:pt x="127" y="48"/>
                  </a:cubicBezTo>
                  <a:cubicBezTo>
                    <a:pt x="131" y="52"/>
                    <a:pt x="138" y="52"/>
                    <a:pt x="142" y="48"/>
                  </a:cubicBezTo>
                  <a:cubicBezTo>
                    <a:pt x="144" y="46"/>
                    <a:pt x="145" y="44"/>
                    <a:pt x="145" y="42"/>
                  </a:cubicBezTo>
                  <a:moveTo>
                    <a:pt x="145" y="42"/>
                  </a:moveTo>
                  <a:cubicBezTo>
                    <a:pt x="146" y="39"/>
                    <a:pt x="145" y="35"/>
                    <a:pt x="142" y="33"/>
                  </a:cubicBezTo>
                  <a:cubicBezTo>
                    <a:pt x="138" y="29"/>
                    <a:pt x="131" y="29"/>
                    <a:pt x="127" y="33"/>
                  </a:cubicBezTo>
                  <a:cubicBezTo>
                    <a:pt x="126" y="34"/>
                    <a:pt x="125" y="36"/>
                    <a:pt x="124" y="38"/>
                  </a:cubicBezTo>
                  <a:moveTo>
                    <a:pt x="139" y="58"/>
                  </a:moveTo>
                  <a:cubicBezTo>
                    <a:pt x="167" y="86"/>
                    <a:pt x="167" y="86"/>
                    <a:pt x="167" y="86"/>
                  </a:cubicBezTo>
                  <a:cubicBezTo>
                    <a:pt x="175" y="86"/>
                    <a:pt x="175" y="86"/>
                    <a:pt x="175" y="86"/>
                  </a:cubicBezTo>
                  <a:moveTo>
                    <a:pt x="145" y="42"/>
                  </a:moveTo>
                  <a:cubicBezTo>
                    <a:pt x="151" y="44"/>
                    <a:pt x="151" y="44"/>
                    <a:pt x="151" y="44"/>
                  </a:cubicBezTo>
                  <a:cubicBezTo>
                    <a:pt x="175" y="67"/>
                    <a:pt x="175" y="67"/>
                    <a:pt x="175" y="67"/>
                  </a:cubicBezTo>
                  <a:moveTo>
                    <a:pt x="131" y="23"/>
                  </a:moveTo>
                  <a:cubicBezTo>
                    <a:pt x="111" y="3"/>
                    <a:pt x="111" y="3"/>
                    <a:pt x="111" y="3"/>
                  </a:cubicBezTo>
                  <a:moveTo>
                    <a:pt x="124" y="38"/>
                  </a:moveTo>
                  <a:cubicBezTo>
                    <a:pt x="118" y="37"/>
                    <a:pt x="118" y="37"/>
                    <a:pt x="118" y="37"/>
                  </a:cubicBezTo>
                  <a:cubicBezTo>
                    <a:pt x="84" y="3"/>
                    <a:pt x="84" y="3"/>
                    <a:pt x="84" y="3"/>
                  </a:cubicBezTo>
                  <a:moveTo>
                    <a:pt x="117" y="49"/>
                  </a:moveTo>
                  <a:cubicBezTo>
                    <a:pt x="117" y="52"/>
                    <a:pt x="118" y="54"/>
                    <a:pt x="120" y="56"/>
                  </a:cubicBezTo>
                  <a:cubicBezTo>
                    <a:pt x="121" y="57"/>
                    <a:pt x="124" y="58"/>
                    <a:pt x="126" y="58"/>
                  </a:cubicBezTo>
                  <a:moveTo>
                    <a:pt x="107" y="49"/>
                  </a:moveTo>
                  <a:cubicBezTo>
                    <a:pt x="107" y="54"/>
                    <a:pt x="109" y="59"/>
                    <a:pt x="112" y="63"/>
                  </a:cubicBezTo>
                  <a:cubicBezTo>
                    <a:pt x="116" y="67"/>
                    <a:pt x="121" y="69"/>
                    <a:pt x="126" y="69"/>
                  </a:cubicBezTo>
                  <a:moveTo>
                    <a:pt x="126" y="79"/>
                  </a:moveTo>
                  <a:cubicBezTo>
                    <a:pt x="118" y="79"/>
                    <a:pt x="111" y="76"/>
                    <a:pt x="105" y="70"/>
                  </a:cubicBezTo>
                  <a:cubicBezTo>
                    <a:pt x="99" y="65"/>
                    <a:pt x="96" y="57"/>
                    <a:pt x="96" y="49"/>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87" name="Freeform 763"/>
          <p:cNvSpPr>
            <a:spLocks noChangeAspect="1" noEditPoints="1"/>
          </p:cNvSpPr>
          <p:nvPr/>
        </p:nvSpPr>
        <p:spPr bwMode="auto">
          <a:xfrm>
            <a:off x="2498117" y="5218305"/>
            <a:ext cx="800470" cy="504000"/>
          </a:xfrm>
          <a:custGeom>
            <a:avLst/>
            <a:gdLst/>
            <a:ahLst/>
            <a:cxnLst>
              <a:cxn ang="0">
                <a:pos x="192" y="108"/>
              </a:cxn>
              <a:cxn ang="0">
                <a:pos x="179" y="122"/>
              </a:cxn>
              <a:cxn ang="0">
                <a:pos x="13" y="122"/>
              </a:cxn>
              <a:cxn ang="0">
                <a:pos x="0" y="108"/>
              </a:cxn>
              <a:cxn ang="0">
                <a:pos x="175" y="108"/>
              </a:cxn>
              <a:cxn ang="0">
                <a:pos x="175" y="0"/>
              </a:cxn>
              <a:cxn ang="0">
                <a:pos x="17" y="0"/>
              </a:cxn>
              <a:cxn ang="0">
                <a:pos x="17" y="93"/>
              </a:cxn>
              <a:cxn ang="0">
                <a:pos x="89" y="104"/>
              </a:cxn>
              <a:cxn ang="0">
                <a:pos x="93" y="55"/>
              </a:cxn>
              <a:cxn ang="0">
                <a:pos x="98" y="55"/>
              </a:cxn>
              <a:cxn ang="0">
                <a:pos x="102" y="104"/>
              </a:cxn>
              <a:cxn ang="0">
                <a:pos x="90" y="1"/>
              </a:cxn>
              <a:cxn ang="0">
                <a:pos x="93" y="27"/>
              </a:cxn>
              <a:cxn ang="0">
                <a:pos x="85" y="37"/>
              </a:cxn>
              <a:cxn ang="0">
                <a:pos x="85" y="41"/>
              </a:cxn>
              <a:cxn ang="0">
                <a:pos x="62" y="52"/>
              </a:cxn>
              <a:cxn ang="0">
                <a:pos x="37" y="72"/>
              </a:cxn>
              <a:cxn ang="0">
                <a:pos x="67" y="61"/>
              </a:cxn>
              <a:cxn ang="0">
                <a:pos x="89" y="46"/>
              </a:cxn>
              <a:cxn ang="0">
                <a:pos x="96" y="48"/>
              </a:cxn>
              <a:cxn ang="0">
                <a:pos x="103" y="46"/>
              </a:cxn>
              <a:cxn ang="0">
                <a:pos x="125" y="61"/>
              </a:cxn>
              <a:cxn ang="0">
                <a:pos x="154" y="72"/>
              </a:cxn>
              <a:cxn ang="0">
                <a:pos x="130" y="52"/>
              </a:cxn>
              <a:cxn ang="0">
                <a:pos x="106" y="41"/>
              </a:cxn>
              <a:cxn ang="0">
                <a:pos x="107" y="37"/>
              </a:cxn>
              <a:cxn ang="0">
                <a:pos x="99" y="27"/>
              </a:cxn>
              <a:cxn ang="0">
                <a:pos x="101" y="1"/>
              </a:cxn>
            </a:cxnLst>
            <a:rect l="0" t="0" r="r" b="b"/>
            <a:pathLst>
              <a:path w="192" h="122">
                <a:moveTo>
                  <a:pt x="192" y="108"/>
                </a:moveTo>
                <a:cubicBezTo>
                  <a:pt x="192" y="116"/>
                  <a:pt x="186" y="122"/>
                  <a:pt x="179" y="122"/>
                </a:cubicBezTo>
                <a:cubicBezTo>
                  <a:pt x="13" y="122"/>
                  <a:pt x="13" y="122"/>
                  <a:pt x="13" y="122"/>
                </a:cubicBezTo>
                <a:cubicBezTo>
                  <a:pt x="6" y="122"/>
                  <a:pt x="0" y="116"/>
                  <a:pt x="0" y="108"/>
                </a:cubicBezTo>
                <a:cubicBezTo>
                  <a:pt x="175" y="108"/>
                  <a:pt x="175" y="108"/>
                  <a:pt x="175" y="108"/>
                </a:cubicBezTo>
                <a:cubicBezTo>
                  <a:pt x="175" y="0"/>
                  <a:pt x="175" y="0"/>
                  <a:pt x="175" y="0"/>
                </a:cubicBezTo>
                <a:cubicBezTo>
                  <a:pt x="17" y="0"/>
                  <a:pt x="17" y="0"/>
                  <a:pt x="17" y="0"/>
                </a:cubicBezTo>
                <a:cubicBezTo>
                  <a:pt x="17" y="93"/>
                  <a:pt x="17" y="93"/>
                  <a:pt x="17" y="93"/>
                </a:cubicBezTo>
                <a:moveTo>
                  <a:pt x="89" y="104"/>
                </a:moveTo>
                <a:cubicBezTo>
                  <a:pt x="93" y="55"/>
                  <a:pt x="93" y="55"/>
                  <a:pt x="93" y="55"/>
                </a:cubicBezTo>
                <a:cubicBezTo>
                  <a:pt x="98" y="55"/>
                  <a:pt x="98" y="55"/>
                  <a:pt x="98" y="55"/>
                </a:cubicBezTo>
                <a:cubicBezTo>
                  <a:pt x="102" y="104"/>
                  <a:pt x="102" y="104"/>
                  <a:pt x="102" y="104"/>
                </a:cubicBezTo>
                <a:moveTo>
                  <a:pt x="90" y="1"/>
                </a:moveTo>
                <a:cubicBezTo>
                  <a:pt x="90" y="12"/>
                  <a:pt x="91" y="21"/>
                  <a:pt x="93" y="27"/>
                </a:cubicBezTo>
                <a:cubicBezTo>
                  <a:pt x="88" y="28"/>
                  <a:pt x="85" y="32"/>
                  <a:pt x="85" y="37"/>
                </a:cubicBezTo>
                <a:cubicBezTo>
                  <a:pt x="85" y="38"/>
                  <a:pt x="85" y="40"/>
                  <a:pt x="85" y="41"/>
                </a:cubicBezTo>
                <a:cubicBezTo>
                  <a:pt x="80" y="42"/>
                  <a:pt x="71" y="46"/>
                  <a:pt x="62" y="52"/>
                </a:cubicBezTo>
                <a:cubicBezTo>
                  <a:pt x="47" y="60"/>
                  <a:pt x="36" y="69"/>
                  <a:pt x="37" y="72"/>
                </a:cubicBezTo>
                <a:cubicBezTo>
                  <a:pt x="39" y="75"/>
                  <a:pt x="52" y="70"/>
                  <a:pt x="67" y="61"/>
                </a:cubicBezTo>
                <a:cubicBezTo>
                  <a:pt x="77" y="56"/>
                  <a:pt x="85" y="50"/>
                  <a:pt x="89" y="46"/>
                </a:cubicBezTo>
                <a:cubicBezTo>
                  <a:pt x="91" y="47"/>
                  <a:pt x="93" y="48"/>
                  <a:pt x="96" y="48"/>
                </a:cubicBezTo>
                <a:cubicBezTo>
                  <a:pt x="99" y="48"/>
                  <a:pt x="101" y="47"/>
                  <a:pt x="103" y="46"/>
                </a:cubicBezTo>
                <a:cubicBezTo>
                  <a:pt x="107" y="50"/>
                  <a:pt x="115" y="56"/>
                  <a:pt x="125" y="61"/>
                </a:cubicBezTo>
                <a:cubicBezTo>
                  <a:pt x="140" y="70"/>
                  <a:pt x="153" y="75"/>
                  <a:pt x="154" y="72"/>
                </a:cubicBezTo>
                <a:cubicBezTo>
                  <a:pt x="156" y="69"/>
                  <a:pt x="145" y="60"/>
                  <a:pt x="130" y="52"/>
                </a:cubicBezTo>
                <a:cubicBezTo>
                  <a:pt x="121" y="46"/>
                  <a:pt x="112" y="42"/>
                  <a:pt x="106" y="41"/>
                </a:cubicBezTo>
                <a:cubicBezTo>
                  <a:pt x="107" y="40"/>
                  <a:pt x="107" y="38"/>
                  <a:pt x="107" y="37"/>
                </a:cubicBezTo>
                <a:cubicBezTo>
                  <a:pt x="107" y="32"/>
                  <a:pt x="104" y="28"/>
                  <a:pt x="99" y="27"/>
                </a:cubicBezTo>
                <a:cubicBezTo>
                  <a:pt x="101" y="21"/>
                  <a:pt x="101" y="12"/>
                  <a:pt x="101" y="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8" name="Groupe 527"/>
          <p:cNvGrpSpPr/>
          <p:nvPr/>
        </p:nvGrpSpPr>
        <p:grpSpPr>
          <a:xfrm>
            <a:off x="6795126" y="5218305"/>
            <a:ext cx="797591" cy="504000"/>
            <a:chOff x="5815038" y="5313555"/>
            <a:chExt cx="797591" cy="504000"/>
          </a:xfrm>
        </p:grpSpPr>
        <p:sp>
          <p:nvSpPr>
            <p:cNvPr id="520" name="Freeform 636"/>
            <p:cNvSpPr>
              <a:spLocks noChangeAspect="1"/>
            </p:cNvSpPr>
            <p:nvPr/>
          </p:nvSpPr>
          <p:spPr bwMode="auto">
            <a:xfrm>
              <a:off x="5815038" y="5313555"/>
              <a:ext cx="797591" cy="504000"/>
            </a:xfrm>
            <a:custGeom>
              <a:avLst/>
              <a:gdLst/>
              <a:ahLst/>
              <a:cxnLst>
                <a:cxn ang="0">
                  <a:pos x="193" y="108"/>
                </a:cxn>
                <a:cxn ang="0">
                  <a:pos x="180" y="122"/>
                </a:cxn>
                <a:cxn ang="0">
                  <a:pos x="14" y="122"/>
                </a:cxn>
                <a:cxn ang="0">
                  <a:pos x="0" y="108"/>
                </a:cxn>
                <a:cxn ang="0">
                  <a:pos x="176" y="108"/>
                </a:cxn>
                <a:cxn ang="0">
                  <a:pos x="176" y="0"/>
                </a:cxn>
                <a:cxn ang="0">
                  <a:pos x="18" y="0"/>
                </a:cxn>
                <a:cxn ang="0">
                  <a:pos x="18" y="94"/>
                </a:cxn>
              </a:cxnLst>
              <a:rect l="0" t="0" r="r" b="b"/>
              <a:pathLst>
                <a:path w="193" h="122">
                  <a:moveTo>
                    <a:pt x="193" y="108"/>
                  </a:moveTo>
                  <a:cubicBezTo>
                    <a:pt x="193" y="116"/>
                    <a:pt x="187" y="122"/>
                    <a:pt x="180" y="122"/>
                  </a:cubicBezTo>
                  <a:cubicBezTo>
                    <a:pt x="14" y="122"/>
                    <a:pt x="14" y="122"/>
                    <a:pt x="14" y="122"/>
                  </a:cubicBezTo>
                  <a:cubicBezTo>
                    <a:pt x="6" y="122"/>
                    <a:pt x="0" y="116"/>
                    <a:pt x="0" y="108"/>
                  </a:cubicBezTo>
                  <a:cubicBezTo>
                    <a:pt x="176" y="108"/>
                    <a:pt x="176" y="108"/>
                    <a:pt x="176" y="108"/>
                  </a:cubicBezTo>
                  <a:cubicBezTo>
                    <a:pt x="176" y="0"/>
                    <a:pt x="176" y="0"/>
                    <a:pt x="176" y="0"/>
                  </a:cubicBezTo>
                  <a:cubicBezTo>
                    <a:pt x="18" y="0"/>
                    <a:pt x="18" y="0"/>
                    <a:pt x="18" y="0"/>
                  </a:cubicBezTo>
                  <a:cubicBezTo>
                    <a:pt x="18" y="94"/>
                    <a:pt x="18" y="94"/>
                    <a:pt x="18" y="9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 name="Groupe 526"/>
            <p:cNvGrpSpPr/>
            <p:nvPr/>
          </p:nvGrpSpPr>
          <p:grpSpPr>
            <a:xfrm>
              <a:off x="6033116" y="5347701"/>
              <a:ext cx="361434" cy="363980"/>
              <a:chOff x="6027727" y="5325756"/>
              <a:chExt cx="361434" cy="363980"/>
            </a:xfrm>
          </p:grpSpPr>
          <p:grpSp>
            <p:nvGrpSpPr>
              <p:cNvPr id="10" name="Groupe 520"/>
              <p:cNvGrpSpPr>
                <a:grpSpLocks noChangeAspect="1"/>
              </p:cNvGrpSpPr>
              <p:nvPr/>
            </p:nvGrpSpPr>
            <p:grpSpPr>
              <a:xfrm>
                <a:off x="6141754" y="5435195"/>
                <a:ext cx="133381" cy="144000"/>
                <a:chOff x="976313" y="5129213"/>
                <a:chExt cx="212726" cy="211138"/>
              </a:xfrm>
            </p:grpSpPr>
            <p:sp>
              <p:nvSpPr>
                <p:cNvPr id="522" name="Freeform 766"/>
                <p:cNvSpPr>
                  <a:spLocks/>
                </p:cNvSpPr>
                <p:nvPr/>
              </p:nvSpPr>
              <p:spPr bwMode="auto">
                <a:xfrm>
                  <a:off x="990601" y="5207001"/>
                  <a:ext cx="120650" cy="120650"/>
                </a:xfrm>
                <a:custGeom>
                  <a:avLst/>
                  <a:gdLst/>
                  <a:ahLst/>
                  <a:cxnLst>
                    <a:cxn ang="0">
                      <a:pos x="0" y="0"/>
                    </a:cxn>
                    <a:cxn ang="0">
                      <a:pos x="91" y="90"/>
                    </a:cxn>
                  </a:cxnLst>
                  <a:rect l="0" t="0" r="r" b="b"/>
                  <a:pathLst>
                    <a:path w="91" h="90">
                      <a:moveTo>
                        <a:pt x="0" y="0"/>
                      </a:moveTo>
                      <a:cubicBezTo>
                        <a:pt x="50" y="0"/>
                        <a:pt x="91" y="41"/>
                        <a:pt x="91" y="90"/>
                      </a:cubicBezTo>
                    </a:path>
                  </a:pathLst>
                </a:custGeom>
                <a:noFill/>
                <a:ln w="12700"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3" name="Oval 767"/>
                <p:cNvSpPr>
                  <a:spLocks noChangeArrowheads="1"/>
                </p:cNvSpPr>
                <p:nvPr/>
              </p:nvSpPr>
              <p:spPr bwMode="auto">
                <a:xfrm>
                  <a:off x="976313" y="5281613"/>
                  <a:ext cx="61913" cy="58738"/>
                </a:xfrm>
                <a:prstGeom prst="ellipse">
                  <a:avLst/>
                </a:prstGeom>
                <a:solidFill>
                  <a:srgbClr val="000000"/>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768"/>
                <p:cNvSpPr>
                  <a:spLocks/>
                </p:cNvSpPr>
                <p:nvPr/>
              </p:nvSpPr>
              <p:spPr bwMode="auto">
                <a:xfrm>
                  <a:off x="990601" y="5129213"/>
                  <a:ext cx="198438" cy="198438"/>
                </a:xfrm>
                <a:custGeom>
                  <a:avLst/>
                  <a:gdLst/>
                  <a:ahLst/>
                  <a:cxnLst>
                    <a:cxn ang="0">
                      <a:pos x="0" y="0"/>
                    </a:cxn>
                    <a:cxn ang="0">
                      <a:pos x="149" y="148"/>
                    </a:cxn>
                  </a:cxnLst>
                  <a:rect l="0" t="0" r="r" b="b"/>
                  <a:pathLst>
                    <a:path w="149" h="148">
                      <a:moveTo>
                        <a:pt x="0" y="0"/>
                      </a:moveTo>
                      <a:cubicBezTo>
                        <a:pt x="83" y="0"/>
                        <a:pt x="149" y="66"/>
                        <a:pt x="149" y="148"/>
                      </a:cubicBezTo>
                    </a:path>
                  </a:pathLst>
                </a:custGeom>
                <a:noFill/>
                <a:ln w="12700"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526" name="Freeform 645"/>
              <p:cNvSpPr>
                <a:spLocks noChangeAspect="1"/>
              </p:cNvSpPr>
              <p:nvPr/>
            </p:nvSpPr>
            <p:spPr bwMode="auto">
              <a:xfrm>
                <a:off x="6027727" y="5325756"/>
                <a:ext cx="361434" cy="363980"/>
              </a:xfrm>
              <a:custGeom>
                <a:avLst/>
                <a:gdLst/>
                <a:ahLst/>
                <a:cxnLst>
                  <a:cxn ang="0">
                    <a:pos x="108" y="170"/>
                  </a:cxn>
                  <a:cxn ang="0">
                    <a:pos x="124" y="170"/>
                  </a:cxn>
                  <a:cxn ang="0">
                    <a:pos x="134" y="160"/>
                  </a:cxn>
                  <a:cxn ang="0">
                    <a:pos x="134" y="95"/>
                  </a:cxn>
                  <a:cxn ang="0">
                    <a:pos x="145" y="95"/>
                  </a:cxn>
                  <a:cxn ang="0">
                    <a:pos x="155" y="70"/>
                  </a:cxn>
                  <a:cxn ang="0">
                    <a:pos x="85" y="0"/>
                  </a:cxn>
                  <a:cxn ang="0">
                    <a:pos x="14" y="70"/>
                  </a:cxn>
                  <a:cxn ang="0">
                    <a:pos x="24" y="95"/>
                  </a:cxn>
                  <a:cxn ang="0">
                    <a:pos x="35" y="95"/>
                  </a:cxn>
                  <a:cxn ang="0">
                    <a:pos x="35" y="160"/>
                  </a:cxn>
                  <a:cxn ang="0">
                    <a:pos x="45" y="170"/>
                  </a:cxn>
                  <a:cxn ang="0">
                    <a:pos x="86" y="170"/>
                  </a:cxn>
                  <a:cxn ang="0">
                    <a:pos x="86" y="136"/>
                  </a:cxn>
                  <a:cxn ang="0">
                    <a:pos x="108" y="136"/>
                  </a:cxn>
                </a:cxnLst>
                <a:rect l="0" t="0" r="r" b="b"/>
                <a:pathLst>
                  <a:path w="169" h="170">
                    <a:moveTo>
                      <a:pt x="108" y="170"/>
                    </a:moveTo>
                    <a:cubicBezTo>
                      <a:pt x="124" y="170"/>
                      <a:pt x="124" y="170"/>
                      <a:pt x="124" y="170"/>
                    </a:cubicBezTo>
                    <a:cubicBezTo>
                      <a:pt x="129" y="170"/>
                      <a:pt x="134" y="165"/>
                      <a:pt x="134" y="160"/>
                    </a:cubicBezTo>
                    <a:cubicBezTo>
                      <a:pt x="134" y="95"/>
                      <a:pt x="134" y="95"/>
                      <a:pt x="134" y="95"/>
                    </a:cubicBezTo>
                    <a:cubicBezTo>
                      <a:pt x="145" y="95"/>
                      <a:pt x="145" y="95"/>
                      <a:pt x="145" y="95"/>
                    </a:cubicBezTo>
                    <a:cubicBezTo>
                      <a:pt x="164" y="95"/>
                      <a:pt x="169" y="83"/>
                      <a:pt x="155" y="70"/>
                    </a:cubicBezTo>
                    <a:cubicBezTo>
                      <a:pt x="85" y="0"/>
                      <a:pt x="85" y="0"/>
                      <a:pt x="85" y="0"/>
                    </a:cubicBezTo>
                    <a:cubicBezTo>
                      <a:pt x="14" y="70"/>
                      <a:pt x="14" y="70"/>
                      <a:pt x="14" y="70"/>
                    </a:cubicBezTo>
                    <a:cubicBezTo>
                      <a:pt x="0" y="83"/>
                      <a:pt x="5" y="95"/>
                      <a:pt x="24" y="95"/>
                    </a:cubicBezTo>
                    <a:cubicBezTo>
                      <a:pt x="35" y="95"/>
                      <a:pt x="35" y="95"/>
                      <a:pt x="35" y="95"/>
                    </a:cubicBezTo>
                    <a:cubicBezTo>
                      <a:pt x="35" y="160"/>
                      <a:pt x="35" y="160"/>
                      <a:pt x="35" y="160"/>
                    </a:cubicBezTo>
                    <a:cubicBezTo>
                      <a:pt x="35" y="165"/>
                      <a:pt x="40" y="170"/>
                      <a:pt x="45" y="170"/>
                    </a:cubicBezTo>
                    <a:cubicBezTo>
                      <a:pt x="86" y="170"/>
                      <a:pt x="86" y="170"/>
                      <a:pt x="86" y="170"/>
                    </a:cubicBezTo>
                    <a:cubicBezTo>
                      <a:pt x="86" y="136"/>
                      <a:pt x="86" y="136"/>
                      <a:pt x="86" y="136"/>
                    </a:cubicBezTo>
                    <a:cubicBezTo>
                      <a:pt x="108" y="136"/>
                      <a:pt x="108" y="136"/>
                      <a:pt x="108" y="13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e 149"/>
          <p:cNvGrpSpPr/>
          <p:nvPr/>
        </p:nvGrpSpPr>
        <p:grpSpPr>
          <a:xfrm>
            <a:off x="10010775" y="5222874"/>
            <a:ext cx="342902" cy="457202"/>
            <a:chOff x="8867775" y="5222874"/>
            <a:chExt cx="342902" cy="457202"/>
          </a:xfrm>
        </p:grpSpPr>
        <p:sp>
          <p:nvSpPr>
            <p:cNvPr id="148" name="Freeform 38"/>
            <p:cNvSpPr>
              <a:spLocks/>
            </p:cNvSpPr>
            <p:nvPr/>
          </p:nvSpPr>
          <p:spPr bwMode="auto">
            <a:xfrm>
              <a:off x="8978902" y="5372892"/>
              <a:ext cx="120650" cy="219080"/>
            </a:xfrm>
            <a:custGeom>
              <a:avLst/>
              <a:gdLst/>
              <a:ahLst/>
              <a:cxnLst>
                <a:cxn ang="0">
                  <a:pos x="19" y="47"/>
                </a:cxn>
                <a:cxn ang="0">
                  <a:pos x="28" y="54"/>
                </a:cxn>
                <a:cxn ang="0">
                  <a:pos x="21" y="58"/>
                </a:cxn>
                <a:cxn ang="0">
                  <a:pos x="6" y="55"/>
                </a:cxn>
                <a:cxn ang="0">
                  <a:pos x="5" y="54"/>
                </a:cxn>
                <a:cxn ang="0">
                  <a:pos x="3" y="56"/>
                </a:cxn>
                <a:cxn ang="0">
                  <a:pos x="1" y="66"/>
                </a:cxn>
                <a:cxn ang="0">
                  <a:pos x="2" y="69"/>
                </a:cxn>
                <a:cxn ang="0">
                  <a:pos x="17" y="72"/>
                </a:cxn>
                <a:cxn ang="0">
                  <a:pos x="17" y="79"/>
                </a:cxn>
                <a:cxn ang="0">
                  <a:pos x="20" y="82"/>
                </a:cxn>
                <a:cxn ang="0">
                  <a:pos x="27" y="82"/>
                </a:cxn>
                <a:cxn ang="0">
                  <a:pos x="30" y="79"/>
                </a:cxn>
                <a:cxn ang="0">
                  <a:pos x="30" y="71"/>
                </a:cxn>
                <a:cxn ang="0">
                  <a:pos x="46" y="52"/>
                </a:cxn>
                <a:cxn ang="0">
                  <a:pos x="29" y="33"/>
                </a:cxn>
                <a:cxn ang="0">
                  <a:pos x="18" y="26"/>
                </a:cxn>
                <a:cxn ang="0">
                  <a:pos x="25" y="22"/>
                </a:cxn>
                <a:cxn ang="0">
                  <a:pos x="37" y="25"/>
                </a:cxn>
                <a:cxn ang="0">
                  <a:pos x="38" y="25"/>
                </a:cxn>
                <a:cxn ang="0">
                  <a:pos x="40" y="23"/>
                </a:cxn>
                <a:cxn ang="0">
                  <a:pos x="43" y="14"/>
                </a:cxn>
                <a:cxn ang="0">
                  <a:pos x="41" y="11"/>
                </a:cxn>
                <a:cxn ang="0">
                  <a:pos x="29" y="8"/>
                </a:cxn>
                <a:cxn ang="0">
                  <a:pos x="29" y="2"/>
                </a:cxn>
                <a:cxn ang="0">
                  <a:pos x="26" y="0"/>
                </a:cxn>
                <a:cxn ang="0">
                  <a:pos x="26" y="0"/>
                </a:cxn>
                <a:cxn ang="0">
                  <a:pos x="18" y="0"/>
                </a:cxn>
                <a:cxn ang="0">
                  <a:pos x="16" y="3"/>
                </a:cxn>
                <a:cxn ang="0">
                  <a:pos x="16" y="9"/>
                </a:cxn>
                <a:cxn ang="0">
                  <a:pos x="0" y="28"/>
                </a:cxn>
                <a:cxn ang="0">
                  <a:pos x="19" y="47"/>
                </a:cxn>
              </a:cxnLst>
              <a:rect l="0" t="0" r="r" b="b"/>
              <a:pathLst>
                <a:path w="46" h="82">
                  <a:moveTo>
                    <a:pt x="19" y="47"/>
                  </a:moveTo>
                  <a:cubicBezTo>
                    <a:pt x="27" y="49"/>
                    <a:pt x="28" y="51"/>
                    <a:pt x="28" y="54"/>
                  </a:cubicBezTo>
                  <a:cubicBezTo>
                    <a:pt x="28" y="57"/>
                    <a:pt x="24" y="58"/>
                    <a:pt x="21" y="58"/>
                  </a:cubicBezTo>
                  <a:cubicBezTo>
                    <a:pt x="15" y="58"/>
                    <a:pt x="10" y="56"/>
                    <a:pt x="6" y="55"/>
                  </a:cubicBezTo>
                  <a:cubicBezTo>
                    <a:pt x="6" y="55"/>
                    <a:pt x="6" y="54"/>
                    <a:pt x="5" y="54"/>
                  </a:cubicBezTo>
                  <a:cubicBezTo>
                    <a:pt x="4" y="54"/>
                    <a:pt x="3" y="55"/>
                    <a:pt x="3" y="56"/>
                  </a:cubicBezTo>
                  <a:cubicBezTo>
                    <a:pt x="1" y="66"/>
                    <a:pt x="1" y="66"/>
                    <a:pt x="1" y="66"/>
                  </a:cubicBezTo>
                  <a:cubicBezTo>
                    <a:pt x="0" y="67"/>
                    <a:pt x="1" y="69"/>
                    <a:pt x="2" y="69"/>
                  </a:cubicBezTo>
                  <a:cubicBezTo>
                    <a:pt x="6" y="71"/>
                    <a:pt x="12" y="72"/>
                    <a:pt x="17" y="72"/>
                  </a:cubicBezTo>
                  <a:cubicBezTo>
                    <a:pt x="17" y="79"/>
                    <a:pt x="17" y="79"/>
                    <a:pt x="17" y="79"/>
                  </a:cubicBezTo>
                  <a:cubicBezTo>
                    <a:pt x="17" y="81"/>
                    <a:pt x="18" y="82"/>
                    <a:pt x="20" y="82"/>
                  </a:cubicBezTo>
                  <a:cubicBezTo>
                    <a:pt x="27" y="82"/>
                    <a:pt x="27" y="82"/>
                    <a:pt x="27" y="82"/>
                  </a:cubicBezTo>
                  <a:cubicBezTo>
                    <a:pt x="29" y="82"/>
                    <a:pt x="30" y="80"/>
                    <a:pt x="30" y="79"/>
                  </a:cubicBezTo>
                  <a:cubicBezTo>
                    <a:pt x="30" y="71"/>
                    <a:pt x="30" y="71"/>
                    <a:pt x="30" y="71"/>
                  </a:cubicBezTo>
                  <a:cubicBezTo>
                    <a:pt x="40" y="69"/>
                    <a:pt x="46" y="61"/>
                    <a:pt x="46" y="52"/>
                  </a:cubicBezTo>
                  <a:cubicBezTo>
                    <a:pt x="46" y="42"/>
                    <a:pt x="41" y="37"/>
                    <a:pt x="29" y="33"/>
                  </a:cubicBezTo>
                  <a:cubicBezTo>
                    <a:pt x="21" y="30"/>
                    <a:pt x="18" y="28"/>
                    <a:pt x="18" y="26"/>
                  </a:cubicBezTo>
                  <a:cubicBezTo>
                    <a:pt x="18" y="23"/>
                    <a:pt x="22" y="22"/>
                    <a:pt x="25" y="22"/>
                  </a:cubicBezTo>
                  <a:cubicBezTo>
                    <a:pt x="30" y="22"/>
                    <a:pt x="34" y="24"/>
                    <a:pt x="37" y="25"/>
                  </a:cubicBezTo>
                  <a:cubicBezTo>
                    <a:pt x="37" y="25"/>
                    <a:pt x="38" y="25"/>
                    <a:pt x="38" y="25"/>
                  </a:cubicBezTo>
                  <a:cubicBezTo>
                    <a:pt x="39" y="25"/>
                    <a:pt x="40" y="24"/>
                    <a:pt x="40" y="23"/>
                  </a:cubicBezTo>
                  <a:cubicBezTo>
                    <a:pt x="43" y="14"/>
                    <a:pt x="43" y="14"/>
                    <a:pt x="43" y="14"/>
                  </a:cubicBezTo>
                  <a:cubicBezTo>
                    <a:pt x="43" y="13"/>
                    <a:pt x="42" y="11"/>
                    <a:pt x="41" y="11"/>
                  </a:cubicBezTo>
                  <a:cubicBezTo>
                    <a:pt x="37" y="9"/>
                    <a:pt x="33" y="8"/>
                    <a:pt x="29" y="8"/>
                  </a:cubicBezTo>
                  <a:cubicBezTo>
                    <a:pt x="29" y="2"/>
                    <a:pt x="29" y="2"/>
                    <a:pt x="29" y="2"/>
                  </a:cubicBezTo>
                  <a:cubicBezTo>
                    <a:pt x="29" y="1"/>
                    <a:pt x="27" y="0"/>
                    <a:pt x="26" y="0"/>
                  </a:cubicBezTo>
                  <a:cubicBezTo>
                    <a:pt x="26" y="0"/>
                    <a:pt x="26" y="0"/>
                    <a:pt x="26" y="0"/>
                  </a:cubicBezTo>
                  <a:cubicBezTo>
                    <a:pt x="18" y="0"/>
                    <a:pt x="18" y="0"/>
                    <a:pt x="18" y="0"/>
                  </a:cubicBezTo>
                  <a:cubicBezTo>
                    <a:pt x="17" y="0"/>
                    <a:pt x="16" y="1"/>
                    <a:pt x="16" y="3"/>
                  </a:cubicBezTo>
                  <a:cubicBezTo>
                    <a:pt x="16" y="9"/>
                    <a:pt x="16" y="9"/>
                    <a:pt x="16" y="9"/>
                  </a:cubicBezTo>
                  <a:cubicBezTo>
                    <a:pt x="6" y="12"/>
                    <a:pt x="0" y="19"/>
                    <a:pt x="0" y="28"/>
                  </a:cubicBezTo>
                  <a:cubicBezTo>
                    <a:pt x="1" y="40"/>
                    <a:pt x="10" y="44"/>
                    <a:pt x="19" y="47"/>
                  </a:cubicBezTo>
                  <a:close/>
                </a:path>
              </a:pathLst>
            </a:custGeom>
            <a:noFill/>
            <a:ln w="4763"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39"/>
            <p:cNvSpPr>
              <a:spLocks/>
            </p:cNvSpPr>
            <p:nvPr/>
          </p:nvSpPr>
          <p:spPr bwMode="auto">
            <a:xfrm>
              <a:off x="8867775" y="5222874"/>
              <a:ext cx="342902" cy="457202"/>
            </a:xfrm>
            <a:custGeom>
              <a:avLst/>
              <a:gdLst/>
              <a:ahLst/>
              <a:cxnLst>
                <a:cxn ang="0">
                  <a:pos x="0" y="127"/>
                </a:cxn>
                <a:cxn ang="0">
                  <a:pos x="21" y="158"/>
                </a:cxn>
                <a:cxn ang="0">
                  <a:pos x="63" y="170"/>
                </a:cxn>
                <a:cxn ang="0">
                  <a:pos x="63" y="170"/>
                </a:cxn>
                <a:cxn ang="0">
                  <a:pos x="64" y="170"/>
                </a:cxn>
                <a:cxn ang="0">
                  <a:pos x="123" y="129"/>
                </a:cxn>
                <a:cxn ang="0">
                  <a:pos x="113" y="73"/>
                </a:cxn>
                <a:cxn ang="0">
                  <a:pos x="93" y="45"/>
                </a:cxn>
                <a:cxn ang="0">
                  <a:pos x="104" y="33"/>
                </a:cxn>
                <a:cxn ang="0">
                  <a:pos x="107" y="11"/>
                </a:cxn>
                <a:cxn ang="0">
                  <a:pos x="90" y="0"/>
                </a:cxn>
                <a:cxn ang="0">
                  <a:pos x="88" y="0"/>
                </a:cxn>
                <a:cxn ang="0">
                  <a:pos x="72" y="5"/>
                </a:cxn>
                <a:cxn ang="0">
                  <a:pos x="61" y="4"/>
                </a:cxn>
                <a:cxn ang="0">
                  <a:pos x="51" y="5"/>
                </a:cxn>
                <a:cxn ang="0">
                  <a:pos x="40" y="1"/>
                </a:cxn>
                <a:cxn ang="0">
                  <a:pos x="36" y="0"/>
                </a:cxn>
                <a:cxn ang="0">
                  <a:pos x="36" y="0"/>
                </a:cxn>
                <a:cxn ang="0">
                  <a:pos x="18" y="11"/>
                </a:cxn>
                <a:cxn ang="0">
                  <a:pos x="22" y="33"/>
                </a:cxn>
                <a:cxn ang="0">
                  <a:pos x="32" y="44"/>
                </a:cxn>
                <a:cxn ang="0">
                  <a:pos x="6" y="79"/>
                </a:cxn>
              </a:cxnLst>
              <a:rect l="0" t="0" r="r" b="b"/>
              <a:pathLst>
                <a:path w="128" h="170">
                  <a:moveTo>
                    <a:pt x="0" y="127"/>
                  </a:moveTo>
                  <a:cubicBezTo>
                    <a:pt x="3" y="139"/>
                    <a:pt x="10" y="150"/>
                    <a:pt x="21" y="158"/>
                  </a:cubicBezTo>
                  <a:cubicBezTo>
                    <a:pt x="31" y="165"/>
                    <a:pt x="46" y="170"/>
                    <a:pt x="63" y="170"/>
                  </a:cubicBezTo>
                  <a:cubicBezTo>
                    <a:pt x="63" y="170"/>
                    <a:pt x="63" y="170"/>
                    <a:pt x="63" y="170"/>
                  </a:cubicBezTo>
                  <a:cubicBezTo>
                    <a:pt x="64" y="170"/>
                    <a:pt x="64" y="170"/>
                    <a:pt x="64" y="170"/>
                  </a:cubicBezTo>
                  <a:cubicBezTo>
                    <a:pt x="107" y="168"/>
                    <a:pt x="119" y="144"/>
                    <a:pt x="123" y="129"/>
                  </a:cubicBezTo>
                  <a:cubicBezTo>
                    <a:pt x="128" y="107"/>
                    <a:pt x="119" y="85"/>
                    <a:pt x="113" y="73"/>
                  </a:cubicBezTo>
                  <a:cubicBezTo>
                    <a:pt x="108" y="62"/>
                    <a:pt x="101" y="52"/>
                    <a:pt x="93" y="45"/>
                  </a:cubicBezTo>
                  <a:cubicBezTo>
                    <a:pt x="104" y="33"/>
                    <a:pt x="104" y="33"/>
                    <a:pt x="104" y="33"/>
                  </a:cubicBezTo>
                  <a:cubicBezTo>
                    <a:pt x="109" y="27"/>
                    <a:pt x="110" y="18"/>
                    <a:pt x="107" y="11"/>
                  </a:cubicBezTo>
                  <a:cubicBezTo>
                    <a:pt x="104" y="4"/>
                    <a:pt x="97" y="0"/>
                    <a:pt x="90" y="0"/>
                  </a:cubicBezTo>
                  <a:cubicBezTo>
                    <a:pt x="89" y="0"/>
                    <a:pt x="88" y="0"/>
                    <a:pt x="88" y="0"/>
                  </a:cubicBezTo>
                  <a:cubicBezTo>
                    <a:pt x="82" y="1"/>
                    <a:pt x="77" y="2"/>
                    <a:pt x="72" y="5"/>
                  </a:cubicBezTo>
                  <a:cubicBezTo>
                    <a:pt x="69" y="4"/>
                    <a:pt x="65" y="4"/>
                    <a:pt x="61" y="4"/>
                  </a:cubicBezTo>
                  <a:cubicBezTo>
                    <a:pt x="58" y="4"/>
                    <a:pt x="54" y="4"/>
                    <a:pt x="51" y="5"/>
                  </a:cubicBezTo>
                  <a:cubicBezTo>
                    <a:pt x="47" y="3"/>
                    <a:pt x="44" y="2"/>
                    <a:pt x="40" y="1"/>
                  </a:cubicBezTo>
                  <a:cubicBezTo>
                    <a:pt x="39" y="0"/>
                    <a:pt x="37" y="0"/>
                    <a:pt x="36" y="0"/>
                  </a:cubicBezTo>
                  <a:cubicBezTo>
                    <a:pt x="36" y="0"/>
                    <a:pt x="36" y="0"/>
                    <a:pt x="36" y="0"/>
                  </a:cubicBezTo>
                  <a:cubicBezTo>
                    <a:pt x="28" y="0"/>
                    <a:pt x="21" y="5"/>
                    <a:pt x="18" y="11"/>
                  </a:cubicBezTo>
                  <a:cubicBezTo>
                    <a:pt x="15" y="19"/>
                    <a:pt x="17" y="27"/>
                    <a:pt x="22" y="33"/>
                  </a:cubicBezTo>
                  <a:cubicBezTo>
                    <a:pt x="32" y="44"/>
                    <a:pt x="32" y="44"/>
                    <a:pt x="32" y="44"/>
                  </a:cubicBezTo>
                  <a:cubicBezTo>
                    <a:pt x="23" y="52"/>
                    <a:pt x="6" y="79"/>
                    <a:pt x="6" y="79"/>
                  </a:cubicBezTo>
                </a:path>
              </a:pathLst>
            </a:custGeom>
            <a:noFill/>
            <a:ln w="952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1" name="ZoneTexte 150"/>
          <p:cNvSpPr txBox="1"/>
          <p:nvPr/>
        </p:nvSpPr>
        <p:spPr>
          <a:xfrm>
            <a:off x="9788714" y="5764229"/>
            <a:ext cx="738723" cy="254067"/>
          </a:xfrm>
          <a:prstGeom prst="rect">
            <a:avLst/>
          </a:prstGeom>
          <a:noFill/>
        </p:spPr>
        <p:txBody>
          <a:bodyPr wrap="square" lIns="83969" tIns="41985" rIns="83969" bIns="41985" rtlCol="0">
            <a:spAutoFit/>
          </a:bodyPr>
          <a:lstStyle/>
          <a:p>
            <a:pPr algn="ctr"/>
            <a:r>
              <a:rPr lang="en-US" sz="1100">
                <a:solidFill>
                  <a:srgbClr val="494949"/>
                </a:solidFill>
              </a:rPr>
              <a:t>Financial</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Icons Collection </a:t>
            </a:r>
            <a:r>
              <a:rPr lang="en-US" sz="2000"/>
              <a:t>(non-exhaustive list)</a:t>
            </a:r>
          </a:p>
        </p:txBody>
      </p:sp>
      <p:sp>
        <p:nvSpPr>
          <p:cNvPr id="13" name="Freeform 667"/>
          <p:cNvSpPr>
            <a:spLocks noChangeAspect="1" noEditPoints="1"/>
          </p:cNvSpPr>
          <p:nvPr/>
        </p:nvSpPr>
        <p:spPr bwMode="auto">
          <a:xfrm>
            <a:off x="3152984" y="1576362"/>
            <a:ext cx="540000" cy="466073"/>
          </a:xfrm>
          <a:custGeom>
            <a:avLst/>
            <a:gdLst/>
            <a:ahLst/>
            <a:cxnLst>
              <a:cxn ang="0">
                <a:pos x="113" y="110"/>
              </a:cxn>
              <a:cxn ang="0">
                <a:pos x="129" y="19"/>
              </a:cxn>
              <a:cxn ang="0">
                <a:pos x="147" y="8"/>
              </a:cxn>
              <a:cxn ang="0">
                <a:pos x="144" y="84"/>
              </a:cxn>
              <a:cxn ang="0">
                <a:pos x="111" y="118"/>
              </a:cxn>
              <a:cxn ang="0">
                <a:pos x="4" y="10"/>
              </a:cxn>
              <a:cxn ang="0">
                <a:pos x="10" y="1"/>
              </a:cxn>
              <a:cxn ang="0">
                <a:pos x="100" y="42"/>
              </a:cxn>
              <a:cxn ang="0">
                <a:pos x="189" y="149"/>
              </a:cxn>
              <a:cxn ang="0">
                <a:pos x="188" y="158"/>
              </a:cxn>
              <a:cxn ang="0">
                <a:pos x="159" y="170"/>
              </a:cxn>
              <a:cxn ang="0">
                <a:pos x="152" y="166"/>
              </a:cxn>
              <a:cxn ang="0">
                <a:pos x="154" y="157"/>
              </a:cxn>
              <a:cxn ang="0">
                <a:pos x="182" y="145"/>
              </a:cxn>
              <a:cxn ang="0">
                <a:pos x="189" y="149"/>
              </a:cxn>
              <a:cxn ang="0">
                <a:pos x="198" y="122"/>
              </a:cxn>
              <a:cxn ang="0">
                <a:pos x="191" y="133"/>
              </a:cxn>
              <a:cxn ang="0">
                <a:pos x="190" y="133"/>
              </a:cxn>
              <a:cxn ang="0">
                <a:pos x="130" y="159"/>
              </a:cxn>
              <a:cxn ang="0">
                <a:pos x="117" y="157"/>
              </a:cxn>
              <a:cxn ang="0">
                <a:pos x="124" y="146"/>
              </a:cxn>
              <a:cxn ang="0">
                <a:pos x="184" y="120"/>
              </a:cxn>
              <a:cxn ang="0">
                <a:pos x="186" y="119"/>
              </a:cxn>
              <a:cxn ang="0">
                <a:pos x="191" y="109"/>
              </a:cxn>
              <a:cxn ang="0">
                <a:pos x="178" y="106"/>
              </a:cxn>
              <a:cxn ang="0">
                <a:pos x="119" y="132"/>
              </a:cxn>
              <a:cxn ang="0">
                <a:pos x="117" y="133"/>
              </a:cxn>
              <a:cxn ang="0">
                <a:pos x="105" y="130"/>
              </a:cxn>
              <a:cxn ang="0">
                <a:pos x="112" y="119"/>
              </a:cxn>
            </a:cxnLst>
            <a:rect l="0" t="0" r="r" b="b"/>
            <a:pathLst>
              <a:path w="200" h="172">
                <a:moveTo>
                  <a:pt x="113" y="110"/>
                </a:moveTo>
                <a:cubicBezTo>
                  <a:pt x="113" y="110"/>
                  <a:pt x="81" y="64"/>
                  <a:pt x="129" y="19"/>
                </a:cubicBezTo>
                <a:cubicBezTo>
                  <a:pt x="129" y="19"/>
                  <a:pt x="145" y="1"/>
                  <a:pt x="147" y="8"/>
                </a:cubicBezTo>
                <a:cubicBezTo>
                  <a:pt x="150" y="14"/>
                  <a:pt x="162" y="65"/>
                  <a:pt x="144" y="84"/>
                </a:cubicBezTo>
                <a:moveTo>
                  <a:pt x="111" y="118"/>
                </a:moveTo>
                <a:cubicBezTo>
                  <a:pt x="111" y="118"/>
                  <a:pt x="23" y="124"/>
                  <a:pt x="4" y="10"/>
                </a:cubicBezTo>
                <a:cubicBezTo>
                  <a:pt x="4" y="10"/>
                  <a:pt x="0" y="0"/>
                  <a:pt x="10" y="1"/>
                </a:cubicBezTo>
                <a:cubicBezTo>
                  <a:pt x="20" y="2"/>
                  <a:pt x="77" y="14"/>
                  <a:pt x="100" y="42"/>
                </a:cubicBezTo>
                <a:moveTo>
                  <a:pt x="189" y="149"/>
                </a:moveTo>
                <a:cubicBezTo>
                  <a:pt x="191" y="153"/>
                  <a:pt x="190" y="157"/>
                  <a:pt x="188" y="158"/>
                </a:cubicBezTo>
                <a:cubicBezTo>
                  <a:pt x="159" y="170"/>
                  <a:pt x="159" y="170"/>
                  <a:pt x="159" y="170"/>
                </a:cubicBezTo>
                <a:cubicBezTo>
                  <a:pt x="157" y="172"/>
                  <a:pt x="154" y="169"/>
                  <a:pt x="152" y="166"/>
                </a:cubicBezTo>
                <a:cubicBezTo>
                  <a:pt x="150" y="162"/>
                  <a:pt x="151" y="158"/>
                  <a:pt x="154" y="157"/>
                </a:cubicBezTo>
                <a:cubicBezTo>
                  <a:pt x="182" y="145"/>
                  <a:pt x="182" y="145"/>
                  <a:pt x="182" y="145"/>
                </a:cubicBezTo>
                <a:cubicBezTo>
                  <a:pt x="184" y="144"/>
                  <a:pt x="188" y="146"/>
                  <a:pt x="189" y="149"/>
                </a:cubicBezTo>
                <a:close/>
                <a:moveTo>
                  <a:pt x="198" y="122"/>
                </a:moveTo>
                <a:cubicBezTo>
                  <a:pt x="200" y="125"/>
                  <a:pt x="197" y="130"/>
                  <a:pt x="191" y="133"/>
                </a:cubicBezTo>
                <a:cubicBezTo>
                  <a:pt x="190" y="133"/>
                  <a:pt x="190" y="133"/>
                  <a:pt x="190" y="133"/>
                </a:cubicBezTo>
                <a:cubicBezTo>
                  <a:pt x="130" y="159"/>
                  <a:pt x="130" y="159"/>
                  <a:pt x="130" y="159"/>
                </a:cubicBezTo>
                <a:cubicBezTo>
                  <a:pt x="124" y="162"/>
                  <a:pt x="119" y="161"/>
                  <a:pt x="117" y="157"/>
                </a:cubicBezTo>
                <a:cubicBezTo>
                  <a:pt x="116" y="153"/>
                  <a:pt x="119" y="148"/>
                  <a:pt x="124" y="146"/>
                </a:cubicBezTo>
                <a:cubicBezTo>
                  <a:pt x="184" y="120"/>
                  <a:pt x="184" y="120"/>
                  <a:pt x="184" y="120"/>
                </a:cubicBezTo>
                <a:cubicBezTo>
                  <a:pt x="186" y="119"/>
                  <a:pt x="186" y="119"/>
                  <a:pt x="186" y="119"/>
                </a:cubicBezTo>
                <a:cubicBezTo>
                  <a:pt x="190" y="116"/>
                  <a:pt x="193" y="112"/>
                  <a:pt x="191" y="109"/>
                </a:cubicBezTo>
                <a:cubicBezTo>
                  <a:pt x="190" y="105"/>
                  <a:pt x="184" y="104"/>
                  <a:pt x="178" y="106"/>
                </a:cubicBezTo>
                <a:cubicBezTo>
                  <a:pt x="119" y="132"/>
                  <a:pt x="119" y="132"/>
                  <a:pt x="119" y="132"/>
                </a:cubicBezTo>
                <a:cubicBezTo>
                  <a:pt x="117" y="133"/>
                  <a:pt x="117" y="133"/>
                  <a:pt x="117" y="133"/>
                </a:cubicBezTo>
                <a:cubicBezTo>
                  <a:pt x="112" y="135"/>
                  <a:pt x="106" y="134"/>
                  <a:pt x="105" y="130"/>
                </a:cubicBezTo>
                <a:cubicBezTo>
                  <a:pt x="103" y="127"/>
                  <a:pt x="106" y="122"/>
                  <a:pt x="112" y="119"/>
                </a:cubicBezTo>
              </a:path>
            </a:pathLst>
          </a:custGeom>
          <a:noFill/>
          <a:ln w="12700"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4" name="Rectangle 771"/>
          <p:cNvSpPr>
            <a:spLocks noChangeArrowheads="1"/>
          </p:cNvSpPr>
          <p:nvPr/>
        </p:nvSpPr>
        <p:spPr bwMode="auto">
          <a:xfrm>
            <a:off x="2987826" y="2159444"/>
            <a:ext cx="88165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a:solidFill>
                  <a:srgbClr val="000000"/>
                </a:solidFill>
                <a:latin typeface="+mj-lt"/>
                <a:cs typeface="Arial" pitchFamily="34" charset="0"/>
              </a:rPr>
              <a:t>Smart </a:t>
            </a:r>
            <a:r>
              <a:rPr lang="fr-FR" sz="1100" err="1">
                <a:solidFill>
                  <a:srgbClr val="000000"/>
                </a:solidFill>
                <a:latin typeface="+mj-lt"/>
                <a:cs typeface="Arial" pitchFamily="34" charset="0"/>
              </a:rPr>
              <a:t>Energy</a:t>
            </a:r>
            <a:endParaRPr lang="fr-FR" sz="1100">
              <a:latin typeface="+mj-lt"/>
              <a:cs typeface="Arial" pitchFamily="34" charset="0"/>
            </a:endParaRPr>
          </a:p>
        </p:txBody>
      </p:sp>
      <p:grpSp>
        <p:nvGrpSpPr>
          <p:cNvPr id="3" name="Groupe 160"/>
          <p:cNvGrpSpPr>
            <a:grpSpLocks noChangeAspect="1"/>
          </p:cNvGrpSpPr>
          <p:nvPr/>
        </p:nvGrpSpPr>
        <p:grpSpPr>
          <a:xfrm>
            <a:off x="3476835" y="2686339"/>
            <a:ext cx="528689" cy="540000"/>
            <a:chOff x="1527485" y="2299360"/>
            <a:chExt cx="296863" cy="303214"/>
          </a:xfrm>
        </p:grpSpPr>
        <p:sp>
          <p:nvSpPr>
            <p:cNvPr id="32" name="Freeform 792"/>
            <p:cNvSpPr>
              <a:spLocks/>
            </p:cNvSpPr>
            <p:nvPr/>
          </p:nvSpPr>
          <p:spPr bwMode="auto">
            <a:xfrm>
              <a:off x="1552885" y="2464461"/>
              <a:ext cx="271463" cy="138113"/>
            </a:xfrm>
            <a:custGeom>
              <a:avLst/>
              <a:gdLst/>
              <a:ahLst/>
              <a:cxnLst>
                <a:cxn ang="0">
                  <a:pos x="0" y="104"/>
                </a:cxn>
                <a:cxn ang="0">
                  <a:pos x="169" y="104"/>
                </a:cxn>
                <a:cxn ang="0">
                  <a:pos x="198" y="21"/>
                </a:cxn>
                <a:cxn ang="0">
                  <a:pos x="183" y="2"/>
                </a:cxn>
                <a:cxn ang="0">
                  <a:pos x="53" y="2"/>
                </a:cxn>
                <a:cxn ang="0">
                  <a:pos x="27" y="23"/>
                </a:cxn>
                <a:cxn ang="0">
                  <a:pos x="0" y="104"/>
                </a:cxn>
              </a:cxnLst>
              <a:rect l="0" t="0" r="r" b="b"/>
              <a:pathLst>
                <a:path w="204" h="104">
                  <a:moveTo>
                    <a:pt x="0" y="104"/>
                  </a:moveTo>
                  <a:cubicBezTo>
                    <a:pt x="169" y="104"/>
                    <a:pt x="169" y="104"/>
                    <a:pt x="169" y="104"/>
                  </a:cubicBezTo>
                  <a:cubicBezTo>
                    <a:pt x="198" y="21"/>
                    <a:pt x="198" y="21"/>
                    <a:pt x="198" y="21"/>
                  </a:cubicBezTo>
                  <a:cubicBezTo>
                    <a:pt x="198" y="21"/>
                    <a:pt x="204" y="4"/>
                    <a:pt x="183" y="2"/>
                  </a:cubicBezTo>
                  <a:cubicBezTo>
                    <a:pt x="53" y="2"/>
                    <a:pt x="53" y="2"/>
                    <a:pt x="53" y="2"/>
                  </a:cubicBezTo>
                  <a:cubicBezTo>
                    <a:pt x="53" y="2"/>
                    <a:pt x="36" y="0"/>
                    <a:pt x="27" y="23"/>
                  </a:cubicBezTo>
                  <a:cubicBezTo>
                    <a:pt x="18" y="47"/>
                    <a:pt x="0" y="104"/>
                    <a:pt x="0" y="104"/>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33" name="Freeform 794"/>
            <p:cNvSpPr>
              <a:spLocks/>
            </p:cNvSpPr>
            <p:nvPr/>
          </p:nvSpPr>
          <p:spPr bwMode="auto">
            <a:xfrm>
              <a:off x="1527485" y="2405723"/>
              <a:ext cx="69850" cy="182563"/>
            </a:xfrm>
            <a:custGeom>
              <a:avLst/>
              <a:gdLst/>
              <a:ahLst/>
              <a:cxnLst>
                <a:cxn ang="0">
                  <a:pos x="53" y="2"/>
                </a:cxn>
                <a:cxn ang="0">
                  <a:pos x="8" y="137"/>
                </a:cxn>
                <a:cxn ang="0">
                  <a:pos x="1" y="119"/>
                </a:cxn>
                <a:cxn ang="0">
                  <a:pos x="1" y="14"/>
                </a:cxn>
                <a:cxn ang="0">
                  <a:pos x="10" y="0"/>
                </a:cxn>
                <a:cxn ang="0">
                  <a:pos x="53" y="2"/>
                </a:cxn>
              </a:cxnLst>
              <a:rect l="0" t="0" r="r" b="b"/>
              <a:pathLst>
                <a:path w="53" h="137">
                  <a:moveTo>
                    <a:pt x="53" y="2"/>
                  </a:moveTo>
                  <a:cubicBezTo>
                    <a:pt x="8" y="137"/>
                    <a:pt x="8" y="137"/>
                    <a:pt x="8" y="137"/>
                  </a:cubicBezTo>
                  <a:cubicBezTo>
                    <a:pt x="8" y="137"/>
                    <a:pt x="1" y="131"/>
                    <a:pt x="1" y="119"/>
                  </a:cubicBezTo>
                  <a:cubicBezTo>
                    <a:pt x="1" y="107"/>
                    <a:pt x="1" y="14"/>
                    <a:pt x="1" y="14"/>
                  </a:cubicBezTo>
                  <a:cubicBezTo>
                    <a:pt x="1" y="14"/>
                    <a:pt x="0" y="0"/>
                    <a:pt x="10" y="0"/>
                  </a:cubicBezTo>
                  <a:cubicBezTo>
                    <a:pt x="21" y="0"/>
                    <a:pt x="53" y="2"/>
                    <a:pt x="53" y="2"/>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34" name="Freeform 795"/>
            <p:cNvSpPr>
              <a:spLocks/>
            </p:cNvSpPr>
            <p:nvPr/>
          </p:nvSpPr>
          <p:spPr bwMode="auto">
            <a:xfrm>
              <a:off x="1606860" y="2299360"/>
              <a:ext cx="163513" cy="152400"/>
            </a:xfrm>
            <a:custGeom>
              <a:avLst/>
              <a:gdLst/>
              <a:ahLst/>
              <a:cxnLst>
                <a:cxn ang="0">
                  <a:pos x="0" y="96"/>
                </a:cxn>
                <a:cxn ang="0">
                  <a:pos x="28" y="0"/>
                </a:cxn>
                <a:cxn ang="0">
                  <a:pos x="100" y="20"/>
                </a:cxn>
                <a:cxn ang="0">
                  <a:pos x="103" y="81"/>
                </a:cxn>
                <a:cxn ang="0">
                  <a:pos x="97" y="94"/>
                </a:cxn>
              </a:cxnLst>
              <a:rect l="0" t="0" r="r" b="b"/>
              <a:pathLst>
                <a:path w="103" h="96">
                  <a:moveTo>
                    <a:pt x="0" y="96"/>
                  </a:moveTo>
                  <a:lnTo>
                    <a:pt x="28" y="0"/>
                  </a:lnTo>
                  <a:lnTo>
                    <a:pt x="100" y="20"/>
                  </a:lnTo>
                  <a:lnTo>
                    <a:pt x="103" y="81"/>
                  </a:lnTo>
                  <a:lnTo>
                    <a:pt x="97" y="94"/>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35" name="Freeform 796"/>
            <p:cNvSpPr>
              <a:spLocks/>
            </p:cNvSpPr>
            <p:nvPr/>
          </p:nvSpPr>
          <p:spPr bwMode="auto">
            <a:xfrm>
              <a:off x="1735447" y="2331110"/>
              <a:ext cx="34925" cy="96838"/>
            </a:xfrm>
            <a:custGeom>
              <a:avLst/>
              <a:gdLst/>
              <a:ahLst/>
              <a:cxnLst>
                <a:cxn ang="0">
                  <a:pos x="19" y="0"/>
                </a:cxn>
                <a:cxn ang="0">
                  <a:pos x="0" y="15"/>
                </a:cxn>
                <a:cxn ang="0">
                  <a:pos x="22" y="61"/>
                </a:cxn>
              </a:cxnLst>
              <a:rect l="0" t="0" r="r" b="b"/>
              <a:pathLst>
                <a:path w="22" h="61">
                  <a:moveTo>
                    <a:pt x="19" y="0"/>
                  </a:moveTo>
                  <a:lnTo>
                    <a:pt x="0" y="15"/>
                  </a:lnTo>
                  <a:lnTo>
                    <a:pt x="22" y="61"/>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36" name="Line 797"/>
            <p:cNvSpPr>
              <a:spLocks noChangeShapeType="1"/>
            </p:cNvSpPr>
            <p:nvPr/>
          </p:nvSpPr>
          <p:spPr bwMode="auto">
            <a:xfrm>
              <a:off x="1657660" y="2339048"/>
              <a:ext cx="60325" cy="1587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37" name="Line 798"/>
            <p:cNvSpPr>
              <a:spLocks noChangeShapeType="1"/>
            </p:cNvSpPr>
            <p:nvPr/>
          </p:nvSpPr>
          <p:spPr bwMode="auto">
            <a:xfrm>
              <a:off x="1654485" y="2359685"/>
              <a:ext cx="58738" cy="1587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38" name="Line 799"/>
            <p:cNvSpPr>
              <a:spLocks noChangeShapeType="1"/>
            </p:cNvSpPr>
            <p:nvPr/>
          </p:nvSpPr>
          <p:spPr bwMode="auto">
            <a:xfrm>
              <a:off x="1648135" y="2381910"/>
              <a:ext cx="58738" cy="1587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39" name="Line 800"/>
            <p:cNvSpPr>
              <a:spLocks noChangeShapeType="1"/>
            </p:cNvSpPr>
            <p:nvPr/>
          </p:nvSpPr>
          <p:spPr bwMode="auto">
            <a:xfrm>
              <a:off x="1640197" y="2402548"/>
              <a:ext cx="60325" cy="1587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40" name="Line 801"/>
            <p:cNvSpPr>
              <a:spLocks noChangeShapeType="1"/>
            </p:cNvSpPr>
            <p:nvPr/>
          </p:nvSpPr>
          <p:spPr bwMode="auto">
            <a:xfrm>
              <a:off x="1637022" y="2423185"/>
              <a:ext cx="60325"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41" name="Rectangle 802"/>
          <p:cNvSpPr>
            <a:spLocks noChangeArrowheads="1"/>
          </p:cNvSpPr>
          <p:nvPr/>
        </p:nvSpPr>
        <p:spPr bwMode="auto">
          <a:xfrm>
            <a:off x="3415514" y="3316723"/>
            <a:ext cx="594715"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a:solidFill>
                  <a:srgbClr val="000000"/>
                </a:solidFill>
                <a:latin typeface="+mj-lt"/>
                <a:cs typeface="Arial" pitchFamily="34" charset="0"/>
              </a:rPr>
              <a:t>Portfolio</a:t>
            </a:r>
            <a:endParaRPr lang="fr-FR" sz="1100">
              <a:latin typeface="+mj-lt"/>
              <a:cs typeface="Arial" pitchFamily="34" charset="0"/>
            </a:endParaRPr>
          </a:p>
        </p:txBody>
      </p:sp>
      <p:grpSp>
        <p:nvGrpSpPr>
          <p:cNvPr id="4" name="Groupe 161"/>
          <p:cNvGrpSpPr>
            <a:grpSpLocks noChangeAspect="1"/>
          </p:cNvGrpSpPr>
          <p:nvPr/>
        </p:nvGrpSpPr>
        <p:grpSpPr>
          <a:xfrm>
            <a:off x="4374124" y="2686339"/>
            <a:ext cx="540000" cy="540000"/>
            <a:chOff x="1989447" y="2289835"/>
            <a:chExt cx="303213" cy="303213"/>
          </a:xfrm>
        </p:grpSpPr>
        <p:sp>
          <p:nvSpPr>
            <p:cNvPr id="42" name="Freeform 803"/>
            <p:cNvSpPr>
              <a:spLocks/>
            </p:cNvSpPr>
            <p:nvPr/>
          </p:nvSpPr>
          <p:spPr bwMode="auto">
            <a:xfrm>
              <a:off x="1991035" y="2431123"/>
              <a:ext cx="87313" cy="161925"/>
            </a:xfrm>
            <a:custGeom>
              <a:avLst/>
              <a:gdLst/>
              <a:ahLst/>
              <a:cxnLst>
                <a:cxn ang="0">
                  <a:pos x="0" y="102"/>
                </a:cxn>
                <a:cxn ang="0">
                  <a:pos x="0" y="79"/>
                </a:cxn>
                <a:cxn ang="0">
                  <a:pos x="13" y="79"/>
                </a:cxn>
                <a:cxn ang="0">
                  <a:pos x="13" y="53"/>
                </a:cxn>
                <a:cxn ang="0">
                  <a:pos x="28" y="53"/>
                </a:cxn>
                <a:cxn ang="0">
                  <a:pos x="28" y="26"/>
                </a:cxn>
                <a:cxn ang="0">
                  <a:pos x="43" y="26"/>
                </a:cxn>
                <a:cxn ang="0">
                  <a:pos x="43" y="0"/>
                </a:cxn>
                <a:cxn ang="0">
                  <a:pos x="55" y="0"/>
                </a:cxn>
              </a:cxnLst>
              <a:rect l="0" t="0" r="r" b="b"/>
              <a:pathLst>
                <a:path w="55" h="102">
                  <a:moveTo>
                    <a:pt x="0" y="102"/>
                  </a:moveTo>
                  <a:lnTo>
                    <a:pt x="0" y="79"/>
                  </a:lnTo>
                  <a:lnTo>
                    <a:pt x="13" y="79"/>
                  </a:lnTo>
                  <a:lnTo>
                    <a:pt x="13" y="53"/>
                  </a:lnTo>
                  <a:lnTo>
                    <a:pt x="28" y="53"/>
                  </a:lnTo>
                  <a:lnTo>
                    <a:pt x="28" y="26"/>
                  </a:lnTo>
                  <a:lnTo>
                    <a:pt x="43" y="26"/>
                  </a:lnTo>
                  <a:lnTo>
                    <a:pt x="43" y="0"/>
                  </a:lnTo>
                  <a:lnTo>
                    <a:pt x="55" y="0"/>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43" name="Freeform 804"/>
            <p:cNvSpPr>
              <a:spLocks/>
            </p:cNvSpPr>
            <p:nvPr/>
          </p:nvSpPr>
          <p:spPr bwMode="auto">
            <a:xfrm>
              <a:off x="1989447" y="2289835"/>
              <a:ext cx="303213" cy="303213"/>
            </a:xfrm>
            <a:custGeom>
              <a:avLst/>
              <a:gdLst/>
              <a:ahLst/>
              <a:cxnLst>
                <a:cxn ang="0">
                  <a:pos x="65" y="57"/>
                </a:cxn>
                <a:cxn ang="0">
                  <a:pos x="94" y="0"/>
                </a:cxn>
                <a:cxn ang="0">
                  <a:pos x="191" y="191"/>
                </a:cxn>
                <a:cxn ang="0">
                  <a:pos x="119" y="191"/>
                </a:cxn>
                <a:cxn ang="0">
                  <a:pos x="119" y="155"/>
                </a:cxn>
                <a:cxn ang="0">
                  <a:pos x="146" y="155"/>
                </a:cxn>
                <a:cxn ang="0">
                  <a:pos x="97" y="106"/>
                </a:cxn>
                <a:cxn ang="0">
                  <a:pos x="49" y="153"/>
                </a:cxn>
                <a:cxn ang="0">
                  <a:pos x="77" y="153"/>
                </a:cxn>
                <a:cxn ang="0">
                  <a:pos x="77" y="191"/>
                </a:cxn>
                <a:cxn ang="0">
                  <a:pos x="70" y="191"/>
                </a:cxn>
                <a:cxn ang="0">
                  <a:pos x="0" y="191"/>
                </a:cxn>
              </a:cxnLst>
              <a:rect l="0" t="0" r="r" b="b"/>
              <a:pathLst>
                <a:path w="191" h="191">
                  <a:moveTo>
                    <a:pt x="65" y="57"/>
                  </a:moveTo>
                  <a:lnTo>
                    <a:pt x="94" y="0"/>
                  </a:lnTo>
                  <a:lnTo>
                    <a:pt x="191" y="191"/>
                  </a:lnTo>
                  <a:lnTo>
                    <a:pt x="119" y="191"/>
                  </a:lnTo>
                  <a:lnTo>
                    <a:pt x="119" y="155"/>
                  </a:lnTo>
                  <a:lnTo>
                    <a:pt x="146" y="155"/>
                  </a:lnTo>
                  <a:lnTo>
                    <a:pt x="97" y="106"/>
                  </a:lnTo>
                  <a:lnTo>
                    <a:pt x="49" y="153"/>
                  </a:lnTo>
                  <a:lnTo>
                    <a:pt x="77" y="153"/>
                  </a:lnTo>
                  <a:lnTo>
                    <a:pt x="77" y="191"/>
                  </a:lnTo>
                  <a:lnTo>
                    <a:pt x="70" y="191"/>
                  </a:lnTo>
                  <a:lnTo>
                    <a:pt x="0" y="191"/>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44" name="Rectangle 805"/>
          <p:cNvSpPr>
            <a:spLocks noChangeArrowheads="1"/>
          </p:cNvSpPr>
          <p:nvPr/>
        </p:nvSpPr>
        <p:spPr bwMode="auto">
          <a:xfrm>
            <a:off x="4221882" y="3316722"/>
            <a:ext cx="856004" cy="33855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Reshaping</a:t>
            </a:r>
            <a:endParaRPr lang="fr-FR" sz="1100">
              <a:solidFill>
                <a:srgbClr val="000000"/>
              </a:solidFill>
              <a:latin typeface="+mj-lt"/>
              <a:cs typeface="Arial" pitchFamily="34" charset="0"/>
            </a:endParaRPr>
          </a:p>
          <a:p>
            <a:pPr algn="ctr" fontAlgn="base">
              <a:spcBef>
                <a:spcPct val="0"/>
              </a:spcBef>
              <a:spcAft>
                <a:spcPct val="0"/>
              </a:spcAft>
            </a:pPr>
            <a:r>
              <a:rPr lang="fr-FR" sz="1100">
                <a:solidFill>
                  <a:srgbClr val="000000"/>
                </a:solidFill>
                <a:latin typeface="+mj-lt"/>
                <a:cs typeface="Arial" pitchFamily="34" charset="0"/>
              </a:rPr>
              <a:t>the </a:t>
            </a:r>
            <a:r>
              <a:rPr lang="fr-FR" sz="1100" err="1">
                <a:solidFill>
                  <a:srgbClr val="000000"/>
                </a:solidFill>
                <a:latin typeface="+mj-lt"/>
                <a:cs typeface="Arial" pitchFamily="34" charset="0"/>
              </a:rPr>
              <a:t>Pyramids</a:t>
            </a:r>
            <a:endParaRPr lang="fr-FR" sz="1100">
              <a:latin typeface="+mj-lt"/>
              <a:cs typeface="Arial" pitchFamily="34" charset="0"/>
            </a:endParaRPr>
          </a:p>
        </p:txBody>
      </p:sp>
      <p:grpSp>
        <p:nvGrpSpPr>
          <p:cNvPr id="5" name="Groupe 162"/>
          <p:cNvGrpSpPr>
            <a:grpSpLocks noChangeAspect="1"/>
          </p:cNvGrpSpPr>
          <p:nvPr/>
        </p:nvGrpSpPr>
        <p:grpSpPr>
          <a:xfrm>
            <a:off x="5232284" y="2707515"/>
            <a:ext cx="540000" cy="518824"/>
            <a:chOff x="2446647" y="2296185"/>
            <a:chExt cx="323850" cy="311150"/>
          </a:xfrm>
        </p:grpSpPr>
        <p:sp>
          <p:nvSpPr>
            <p:cNvPr id="46" name="Freeform 807"/>
            <p:cNvSpPr>
              <a:spLocks/>
            </p:cNvSpPr>
            <p:nvPr/>
          </p:nvSpPr>
          <p:spPr bwMode="auto">
            <a:xfrm>
              <a:off x="2446647" y="2296185"/>
              <a:ext cx="282575" cy="311150"/>
            </a:xfrm>
            <a:custGeom>
              <a:avLst/>
              <a:gdLst/>
              <a:ahLst/>
              <a:cxnLst>
                <a:cxn ang="0">
                  <a:pos x="212" y="163"/>
                </a:cxn>
                <a:cxn ang="0">
                  <a:pos x="192" y="191"/>
                </a:cxn>
                <a:cxn ang="0">
                  <a:pos x="42" y="191"/>
                </a:cxn>
                <a:cxn ang="0">
                  <a:pos x="42" y="42"/>
                </a:cxn>
                <a:cxn ang="0">
                  <a:pos x="192" y="42"/>
                </a:cxn>
              </a:cxnLst>
              <a:rect l="0" t="0" r="r" b="b"/>
              <a:pathLst>
                <a:path w="212" h="233">
                  <a:moveTo>
                    <a:pt x="212" y="163"/>
                  </a:moveTo>
                  <a:cubicBezTo>
                    <a:pt x="207" y="173"/>
                    <a:pt x="200" y="183"/>
                    <a:pt x="192" y="191"/>
                  </a:cubicBezTo>
                  <a:cubicBezTo>
                    <a:pt x="150" y="233"/>
                    <a:pt x="83" y="233"/>
                    <a:pt x="42" y="191"/>
                  </a:cubicBezTo>
                  <a:cubicBezTo>
                    <a:pt x="0" y="150"/>
                    <a:pt x="0" y="83"/>
                    <a:pt x="42" y="42"/>
                  </a:cubicBezTo>
                  <a:cubicBezTo>
                    <a:pt x="83" y="0"/>
                    <a:pt x="150" y="0"/>
                    <a:pt x="192" y="4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47" name="Freeform 808"/>
            <p:cNvSpPr>
              <a:spLocks/>
            </p:cNvSpPr>
            <p:nvPr/>
          </p:nvSpPr>
          <p:spPr bwMode="auto">
            <a:xfrm>
              <a:off x="2589522" y="2362860"/>
              <a:ext cx="180975" cy="136525"/>
            </a:xfrm>
            <a:custGeom>
              <a:avLst/>
              <a:gdLst/>
              <a:ahLst/>
              <a:cxnLst>
                <a:cxn ang="0">
                  <a:pos x="109" y="0"/>
                </a:cxn>
                <a:cxn ang="0">
                  <a:pos x="124" y="102"/>
                </a:cxn>
                <a:cxn ang="0">
                  <a:pos x="0" y="65"/>
                </a:cxn>
                <a:cxn ang="0">
                  <a:pos x="109" y="0"/>
                </a:cxn>
              </a:cxnLst>
              <a:rect l="0" t="0" r="r" b="b"/>
              <a:pathLst>
                <a:path w="136" h="102">
                  <a:moveTo>
                    <a:pt x="109" y="0"/>
                  </a:moveTo>
                  <a:cubicBezTo>
                    <a:pt x="131" y="30"/>
                    <a:pt x="136" y="68"/>
                    <a:pt x="124" y="102"/>
                  </a:cubicBezTo>
                  <a:cubicBezTo>
                    <a:pt x="0" y="65"/>
                    <a:pt x="0" y="65"/>
                    <a:pt x="0" y="65"/>
                  </a:cubicBezTo>
                  <a:lnTo>
                    <a:pt x="109"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48" name="Line 809"/>
            <p:cNvSpPr>
              <a:spLocks noChangeShapeType="1"/>
            </p:cNvSpPr>
            <p:nvPr/>
          </p:nvSpPr>
          <p:spPr bwMode="auto">
            <a:xfrm flipH="1">
              <a:off x="2689535" y="2408898"/>
              <a:ext cx="28575" cy="4921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49" name="Oval 810"/>
            <p:cNvSpPr>
              <a:spLocks noChangeArrowheads="1"/>
            </p:cNvSpPr>
            <p:nvPr/>
          </p:nvSpPr>
          <p:spPr bwMode="auto">
            <a:xfrm>
              <a:off x="2681597" y="2413660"/>
              <a:ext cx="17463" cy="17463"/>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50" name="Oval 811"/>
            <p:cNvSpPr>
              <a:spLocks noChangeArrowheads="1"/>
            </p:cNvSpPr>
            <p:nvPr/>
          </p:nvSpPr>
          <p:spPr bwMode="auto">
            <a:xfrm>
              <a:off x="2711760" y="2437473"/>
              <a:ext cx="15875" cy="17463"/>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51" name="Rectangle 812"/>
          <p:cNvSpPr>
            <a:spLocks noChangeArrowheads="1"/>
          </p:cNvSpPr>
          <p:nvPr/>
        </p:nvSpPr>
        <p:spPr bwMode="auto">
          <a:xfrm>
            <a:off x="5270626" y="3316723"/>
            <a:ext cx="480901"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Results</a:t>
            </a:r>
            <a:endParaRPr lang="fr-FR" sz="1100">
              <a:latin typeface="+mj-lt"/>
              <a:cs typeface="Arial" pitchFamily="34" charset="0"/>
            </a:endParaRPr>
          </a:p>
        </p:txBody>
      </p:sp>
      <p:sp>
        <p:nvSpPr>
          <p:cNvPr id="64" name="Rectangle 825"/>
          <p:cNvSpPr>
            <a:spLocks noChangeArrowheads="1"/>
          </p:cNvSpPr>
          <p:nvPr/>
        </p:nvSpPr>
        <p:spPr bwMode="auto">
          <a:xfrm>
            <a:off x="7688553" y="3316722"/>
            <a:ext cx="889667" cy="33855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a:solidFill>
                  <a:srgbClr val="000000"/>
                </a:solidFill>
                <a:latin typeface="+mj-lt"/>
                <a:cs typeface="Arial" pitchFamily="34" charset="0"/>
              </a:rPr>
              <a:t>Professional</a:t>
            </a:r>
          </a:p>
          <a:p>
            <a:pPr algn="ctr" fontAlgn="base">
              <a:spcBef>
                <a:spcPct val="0"/>
              </a:spcBef>
              <a:spcAft>
                <a:spcPct val="0"/>
              </a:spcAft>
            </a:pPr>
            <a:r>
              <a:rPr lang="fr-FR" sz="1100" err="1">
                <a:solidFill>
                  <a:srgbClr val="000000"/>
                </a:solidFill>
                <a:latin typeface="+mj-lt"/>
                <a:cs typeface="Arial" pitchFamily="34" charset="0"/>
              </a:rPr>
              <a:t>Development</a:t>
            </a:r>
            <a:endParaRPr lang="fr-FR" sz="1100">
              <a:latin typeface="+mj-lt"/>
              <a:cs typeface="Arial" pitchFamily="34" charset="0"/>
            </a:endParaRPr>
          </a:p>
        </p:txBody>
      </p:sp>
      <p:grpSp>
        <p:nvGrpSpPr>
          <p:cNvPr id="6" name="Groupe 141"/>
          <p:cNvGrpSpPr>
            <a:grpSpLocks noChangeAspect="1"/>
          </p:cNvGrpSpPr>
          <p:nvPr/>
        </p:nvGrpSpPr>
        <p:grpSpPr>
          <a:xfrm>
            <a:off x="4182225" y="1603540"/>
            <a:ext cx="540000" cy="438894"/>
            <a:chOff x="1914835" y="1751673"/>
            <a:chExt cx="373063" cy="303213"/>
          </a:xfrm>
        </p:grpSpPr>
        <p:sp>
          <p:nvSpPr>
            <p:cNvPr id="66" name="Freeform 827"/>
            <p:cNvSpPr>
              <a:spLocks/>
            </p:cNvSpPr>
            <p:nvPr/>
          </p:nvSpPr>
          <p:spPr bwMode="auto">
            <a:xfrm>
              <a:off x="2086285" y="1804060"/>
              <a:ext cx="201613" cy="250825"/>
            </a:xfrm>
            <a:custGeom>
              <a:avLst/>
              <a:gdLst/>
              <a:ahLst/>
              <a:cxnLst>
                <a:cxn ang="0">
                  <a:pos x="99" y="0"/>
                </a:cxn>
                <a:cxn ang="0">
                  <a:pos x="99" y="45"/>
                </a:cxn>
                <a:cxn ang="0">
                  <a:pos x="127" y="48"/>
                </a:cxn>
                <a:cxn ang="0">
                  <a:pos x="99" y="0"/>
                </a:cxn>
                <a:cxn ang="0">
                  <a:pos x="0" y="0"/>
                </a:cxn>
                <a:cxn ang="0">
                  <a:pos x="0" y="158"/>
                </a:cxn>
                <a:cxn ang="0">
                  <a:pos x="127" y="158"/>
                </a:cxn>
                <a:cxn ang="0">
                  <a:pos x="127" y="48"/>
                </a:cxn>
              </a:cxnLst>
              <a:rect l="0" t="0" r="r" b="b"/>
              <a:pathLst>
                <a:path w="127" h="158">
                  <a:moveTo>
                    <a:pt x="99" y="0"/>
                  </a:moveTo>
                  <a:lnTo>
                    <a:pt x="99" y="45"/>
                  </a:lnTo>
                  <a:lnTo>
                    <a:pt x="127" y="48"/>
                  </a:lnTo>
                  <a:lnTo>
                    <a:pt x="99" y="0"/>
                  </a:lnTo>
                  <a:lnTo>
                    <a:pt x="0" y="0"/>
                  </a:lnTo>
                  <a:lnTo>
                    <a:pt x="0" y="158"/>
                  </a:lnTo>
                  <a:lnTo>
                    <a:pt x="127" y="158"/>
                  </a:lnTo>
                  <a:lnTo>
                    <a:pt x="127" y="48"/>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67" name="Freeform 828"/>
            <p:cNvSpPr>
              <a:spLocks/>
            </p:cNvSpPr>
            <p:nvPr/>
          </p:nvSpPr>
          <p:spPr bwMode="auto">
            <a:xfrm>
              <a:off x="2086285" y="1883435"/>
              <a:ext cx="200025" cy="36513"/>
            </a:xfrm>
            <a:custGeom>
              <a:avLst/>
              <a:gdLst/>
              <a:ahLst/>
              <a:cxnLst>
                <a:cxn ang="0">
                  <a:pos x="0" y="12"/>
                </a:cxn>
                <a:cxn ang="0">
                  <a:pos x="26" y="12"/>
                </a:cxn>
                <a:cxn ang="0">
                  <a:pos x="40" y="28"/>
                </a:cxn>
                <a:cxn ang="0">
                  <a:pos x="54" y="12"/>
                </a:cxn>
                <a:cxn ang="0">
                  <a:pos x="138" y="12"/>
                </a:cxn>
                <a:cxn ang="0">
                  <a:pos x="150" y="0"/>
                </a:cxn>
              </a:cxnLst>
              <a:rect l="0" t="0" r="r" b="b"/>
              <a:pathLst>
                <a:path w="150" h="28">
                  <a:moveTo>
                    <a:pt x="0" y="12"/>
                  </a:moveTo>
                  <a:cubicBezTo>
                    <a:pt x="26" y="12"/>
                    <a:pt x="26" y="12"/>
                    <a:pt x="26" y="12"/>
                  </a:cubicBezTo>
                  <a:cubicBezTo>
                    <a:pt x="26" y="12"/>
                    <a:pt x="39" y="12"/>
                    <a:pt x="40" y="28"/>
                  </a:cubicBezTo>
                  <a:cubicBezTo>
                    <a:pt x="40" y="28"/>
                    <a:pt x="44" y="12"/>
                    <a:pt x="54" y="12"/>
                  </a:cubicBezTo>
                  <a:cubicBezTo>
                    <a:pt x="64" y="12"/>
                    <a:pt x="138" y="12"/>
                    <a:pt x="138" y="12"/>
                  </a:cubicBezTo>
                  <a:cubicBezTo>
                    <a:pt x="138" y="12"/>
                    <a:pt x="150" y="11"/>
                    <a:pt x="15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68" name="Line 829"/>
            <p:cNvSpPr>
              <a:spLocks noChangeShapeType="1"/>
            </p:cNvSpPr>
            <p:nvPr/>
          </p:nvSpPr>
          <p:spPr bwMode="auto">
            <a:xfrm flipV="1">
              <a:off x="2146610" y="1937005"/>
              <a:ext cx="116442" cy="40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69" name="Line 830"/>
            <p:cNvSpPr>
              <a:spLocks noChangeShapeType="1"/>
            </p:cNvSpPr>
            <p:nvPr/>
          </p:nvSpPr>
          <p:spPr bwMode="auto">
            <a:xfrm>
              <a:off x="2146610" y="1967573"/>
              <a:ext cx="121120" cy="306"/>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70" name="Line 831"/>
            <p:cNvSpPr>
              <a:spLocks noChangeShapeType="1"/>
            </p:cNvSpPr>
            <p:nvPr/>
          </p:nvSpPr>
          <p:spPr bwMode="auto">
            <a:xfrm>
              <a:off x="2146610" y="1994560"/>
              <a:ext cx="119249" cy="4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71" name="Line 832"/>
            <p:cNvSpPr>
              <a:spLocks noChangeShapeType="1"/>
            </p:cNvSpPr>
            <p:nvPr/>
          </p:nvSpPr>
          <p:spPr bwMode="auto">
            <a:xfrm>
              <a:off x="2146610" y="2024723"/>
              <a:ext cx="118313" cy="22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72" name="Freeform 833"/>
            <p:cNvSpPr>
              <a:spLocks/>
            </p:cNvSpPr>
            <p:nvPr/>
          </p:nvSpPr>
          <p:spPr bwMode="auto">
            <a:xfrm>
              <a:off x="1914835" y="1751673"/>
              <a:ext cx="171450" cy="303213"/>
            </a:xfrm>
            <a:custGeom>
              <a:avLst/>
              <a:gdLst/>
              <a:ahLst/>
              <a:cxnLst>
                <a:cxn ang="0">
                  <a:pos x="128" y="39"/>
                </a:cxn>
                <a:cxn ang="0">
                  <a:pos x="99" y="22"/>
                </a:cxn>
                <a:cxn ang="0">
                  <a:pos x="8" y="18"/>
                </a:cxn>
                <a:cxn ang="0">
                  <a:pos x="0" y="0"/>
                </a:cxn>
                <a:cxn ang="0">
                  <a:pos x="0" y="211"/>
                </a:cxn>
                <a:cxn ang="0">
                  <a:pos x="33" y="215"/>
                </a:cxn>
                <a:cxn ang="0">
                  <a:pos x="128" y="227"/>
                </a:cxn>
                <a:cxn ang="0">
                  <a:pos x="11" y="227"/>
                </a:cxn>
                <a:cxn ang="0">
                  <a:pos x="11" y="218"/>
                </a:cxn>
              </a:cxnLst>
              <a:rect l="0" t="0" r="r" b="b"/>
              <a:pathLst>
                <a:path w="128" h="227">
                  <a:moveTo>
                    <a:pt x="128" y="39"/>
                  </a:moveTo>
                  <a:cubicBezTo>
                    <a:pt x="128" y="39"/>
                    <a:pt x="114" y="22"/>
                    <a:pt x="99" y="22"/>
                  </a:cubicBezTo>
                  <a:cubicBezTo>
                    <a:pt x="83" y="22"/>
                    <a:pt x="14" y="24"/>
                    <a:pt x="8" y="18"/>
                  </a:cubicBezTo>
                  <a:cubicBezTo>
                    <a:pt x="2" y="13"/>
                    <a:pt x="0" y="0"/>
                    <a:pt x="0" y="0"/>
                  </a:cubicBezTo>
                  <a:cubicBezTo>
                    <a:pt x="0" y="211"/>
                    <a:pt x="0" y="211"/>
                    <a:pt x="0" y="211"/>
                  </a:cubicBezTo>
                  <a:cubicBezTo>
                    <a:pt x="0" y="211"/>
                    <a:pt x="14" y="219"/>
                    <a:pt x="33" y="215"/>
                  </a:cubicBezTo>
                  <a:cubicBezTo>
                    <a:pt x="73" y="207"/>
                    <a:pt x="124" y="212"/>
                    <a:pt x="128" y="227"/>
                  </a:cubicBezTo>
                  <a:cubicBezTo>
                    <a:pt x="11" y="227"/>
                    <a:pt x="11" y="227"/>
                    <a:pt x="11" y="227"/>
                  </a:cubicBezTo>
                  <a:cubicBezTo>
                    <a:pt x="11" y="218"/>
                    <a:pt x="11" y="218"/>
                    <a:pt x="11" y="21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73" name="Rectangle 834"/>
          <p:cNvSpPr>
            <a:spLocks noChangeArrowheads="1"/>
          </p:cNvSpPr>
          <p:nvPr/>
        </p:nvSpPr>
        <p:spPr bwMode="auto">
          <a:xfrm>
            <a:off x="4050628" y="2159443"/>
            <a:ext cx="745397" cy="33855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a:solidFill>
                  <a:srgbClr val="000000"/>
                </a:solidFill>
                <a:latin typeface="+mj-lt"/>
                <a:cs typeface="Arial" pitchFamily="34" charset="0"/>
              </a:rPr>
              <a:t>Guidelines/</a:t>
            </a:r>
          </a:p>
          <a:p>
            <a:pPr algn="ctr" fontAlgn="base">
              <a:spcBef>
                <a:spcPct val="0"/>
              </a:spcBef>
              <a:spcAft>
                <a:spcPct val="0"/>
              </a:spcAft>
            </a:pPr>
            <a:r>
              <a:rPr lang="fr-FR" sz="1100" err="1">
                <a:solidFill>
                  <a:srgbClr val="000000"/>
                </a:solidFill>
                <a:latin typeface="+mj-lt"/>
                <a:cs typeface="Arial" pitchFamily="34" charset="0"/>
              </a:rPr>
              <a:t>Identity</a:t>
            </a:r>
            <a:endParaRPr lang="fr-FR" sz="1100">
              <a:latin typeface="+mj-lt"/>
              <a:cs typeface="Arial" pitchFamily="34" charset="0"/>
            </a:endParaRPr>
          </a:p>
        </p:txBody>
      </p:sp>
      <p:grpSp>
        <p:nvGrpSpPr>
          <p:cNvPr id="7" name="Groupe 142"/>
          <p:cNvGrpSpPr>
            <a:grpSpLocks noChangeAspect="1"/>
          </p:cNvGrpSpPr>
          <p:nvPr/>
        </p:nvGrpSpPr>
        <p:grpSpPr>
          <a:xfrm>
            <a:off x="5728395" y="4002704"/>
            <a:ext cx="540000" cy="420980"/>
            <a:chOff x="2440297" y="1804060"/>
            <a:chExt cx="388938" cy="303213"/>
          </a:xfrm>
        </p:grpSpPr>
        <p:sp>
          <p:nvSpPr>
            <p:cNvPr id="75" name="Oval 836"/>
            <p:cNvSpPr>
              <a:spLocks noChangeAspect="1" noChangeArrowheads="1"/>
            </p:cNvSpPr>
            <p:nvPr/>
          </p:nvSpPr>
          <p:spPr bwMode="auto">
            <a:xfrm>
              <a:off x="2683185" y="1804060"/>
              <a:ext cx="114300" cy="114300"/>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76" name="Oval 837"/>
            <p:cNvSpPr>
              <a:spLocks noChangeArrowheads="1"/>
            </p:cNvSpPr>
            <p:nvPr/>
          </p:nvSpPr>
          <p:spPr bwMode="auto">
            <a:xfrm>
              <a:off x="2722872" y="1821523"/>
              <a:ext cx="33338" cy="38100"/>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77" name="Freeform 838"/>
            <p:cNvSpPr>
              <a:spLocks/>
            </p:cNvSpPr>
            <p:nvPr/>
          </p:nvSpPr>
          <p:spPr bwMode="auto">
            <a:xfrm>
              <a:off x="2702235" y="1859623"/>
              <a:ext cx="74613" cy="30163"/>
            </a:xfrm>
            <a:custGeom>
              <a:avLst/>
              <a:gdLst/>
              <a:ahLst/>
              <a:cxnLst>
                <a:cxn ang="0">
                  <a:pos x="0" y="22"/>
                </a:cxn>
                <a:cxn ang="0">
                  <a:pos x="28" y="0"/>
                </a:cxn>
                <a:cxn ang="0">
                  <a:pos x="55" y="20"/>
                </a:cxn>
              </a:cxnLst>
              <a:rect l="0" t="0" r="r" b="b"/>
              <a:pathLst>
                <a:path w="55" h="22">
                  <a:moveTo>
                    <a:pt x="0" y="22"/>
                  </a:moveTo>
                  <a:cubicBezTo>
                    <a:pt x="4" y="9"/>
                    <a:pt x="12" y="0"/>
                    <a:pt x="28" y="0"/>
                  </a:cubicBezTo>
                  <a:cubicBezTo>
                    <a:pt x="43" y="0"/>
                    <a:pt x="51" y="9"/>
                    <a:pt x="55" y="2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78" name="Oval 839"/>
            <p:cNvSpPr>
              <a:spLocks noChangeArrowheads="1"/>
            </p:cNvSpPr>
            <p:nvPr/>
          </p:nvSpPr>
          <p:spPr bwMode="auto">
            <a:xfrm>
              <a:off x="2684772" y="1962810"/>
              <a:ext cx="144463" cy="144463"/>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79" name="Oval 840"/>
            <p:cNvSpPr>
              <a:spLocks noChangeArrowheads="1"/>
            </p:cNvSpPr>
            <p:nvPr/>
          </p:nvSpPr>
          <p:spPr bwMode="auto">
            <a:xfrm>
              <a:off x="2733985" y="1985035"/>
              <a:ext cx="42863" cy="49213"/>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80" name="Freeform 841"/>
            <p:cNvSpPr>
              <a:spLocks/>
            </p:cNvSpPr>
            <p:nvPr/>
          </p:nvSpPr>
          <p:spPr bwMode="auto">
            <a:xfrm>
              <a:off x="2708585" y="2034248"/>
              <a:ext cx="93663" cy="34925"/>
            </a:xfrm>
            <a:custGeom>
              <a:avLst/>
              <a:gdLst/>
              <a:ahLst/>
              <a:cxnLst>
                <a:cxn ang="0">
                  <a:pos x="0" y="27"/>
                </a:cxn>
                <a:cxn ang="0">
                  <a:pos x="35" y="0"/>
                </a:cxn>
                <a:cxn ang="0">
                  <a:pos x="70" y="25"/>
                </a:cxn>
              </a:cxnLst>
              <a:rect l="0" t="0" r="r" b="b"/>
              <a:pathLst>
                <a:path w="70" h="27">
                  <a:moveTo>
                    <a:pt x="0" y="27"/>
                  </a:moveTo>
                  <a:cubicBezTo>
                    <a:pt x="5" y="11"/>
                    <a:pt x="15" y="0"/>
                    <a:pt x="35" y="0"/>
                  </a:cubicBezTo>
                  <a:cubicBezTo>
                    <a:pt x="55" y="0"/>
                    <a:pt x="65" y="10"/>
                    <a:pt x="70" y="2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81" name="Oval 842"/>
            <p:cNvSpPr>
              <a:spLocks noChangeArrowheads="1"/>
            </p:cNvSpPr>
            <p:nvPr/>
          </p:nvSpPr>
          <p:spPr bwMode="auto">
            <a:xfrm>
              <a:off x="2440297" y="1867560"/>
              <a:ext cx="163513" cy="161925"/>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82" name="Oval 843"/>
            <p:cNvSpPr>
              <a:spLocks noChangeArrowheads="1"/>
            </p:cNvSpPr>
            <p:nvPr/>
          </p:nvSpPr>
          <p:spPr bwMode="auto">
            <a:xfrm>
              <a:off x="2499035" y="1889785"/>
              <a:ext cx="49213" cy="58738"/>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83" name="Freeform 844"/>
            <p:cNvSpPr>
              <a:spLocks/>
            </p:cNvSpPr>
            <p:nvPr/>
          </p:nvSpPr>
          <p:spPr bwMode="auto">
            <a:xfrm>
              <a:off x="2467285" y="1948523"/>
              <a:ext cx="109538" cy="42863"/>
            </a:xfrm>
            <a:custGeom>
              <a:avLst/>
              <a:gdLst/>
              <a:ahLst/>
              <a:cxnLst>
                <a:cxn ang="0">
                  <a:pos x="0" y="32"/>
                </a:cxn>
                <a:cxn ang="0">
                  <a:pos x="41" y="0"/>
                </a:cxn>
                <a:cxn ang="0">
                  <a:pos x="82" y="30"/>
                </a:cxn>
              </a:cxnLst>
              <a:rect l="0" t="0" r="r" b="b"/>
              <a:pathLst>
                <a:path w="82" h="32">
                  <a:moveTo>
                    <a:pt x="0" y="32"/>
                  </a:moveTo>
                  <a:cubicBezTo>
                    <a:pt x="5" y="14"/>
                    <a:pt x="17" y="0"/>
                    <a:pt x="41" y="0"/>
                  </a:cubicBezTo>
                  <a:cubicBezTo>
                    <a:pt x="64" y="0"/>
                    <a:pt x="76" y="13"/>
                    <a:pt x="82" y="3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84" name="Line 845"/>
            <p:cNvSpPr>
              <a:spLocks noChangeShapeType="1"/>
            </p:cNvSpPr>
            <p:nvPr/>
          </p:nvSpPr>
          <p:spPr bwMode="auto">
            <a:xfrm flipH="1" flipV="1">
              <a:off x="2600635" y="1981860"/>
              <a:ext cx="80963" cy="3333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85" name="Line 846"/>
            <p:cNvSpPr>
              <a:spLocks noChangeShapeType="1"/>
            </p:cNvSpPr>
            <p:nvPr/>
          </p:nvSpPr>
          <p:spPr bwMode="auto">
            <a:xfrm flipH="1">
              <a:off x="2602222" y="1877085"/>
              <a:ext cx="82550" cy="381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86" name="Rectangle 847"/>
          <p:cNvSpPr>
            <a:spLocks noChangeArrowheads="1"/>
          </p:cNvSpPr>
          <p:nvPr/>
        </p:nvSpPr>
        <p:spPr bwMode="auto">
          <a:xfrm>
            <a:off x="5561712" y="4540694"/>
            <a:ext cx="828753"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Connectivity</a:t>
            </a:r>
            <a:endParaRPr lang="fr-FR" sz="1100">
              <a:latin typeface="+mj-lt"/>
              <a:cs typeface="Arial" pitchFamily="34" charset="0"/>
            </a:endParaRPr>
          </a:p>
        </p:txBody>
      </p:sp>
      <p:sp>
        <p:nvSpPr>
          <p:cNvPr id="87" name="Rectangle 848"/>
          <p:cNvSpPr>
            <a:spLocks noChangeArrowheads="1"/>
          </p:cNvSpPr>
          <p:nvPr/>
        </p:nvSpPr>
        <p:spPr bwMode="auto">
          <a:xfrm>
            <a:off x="6569656" y="4540694"/>
            <a:ext cx="724557"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Citizenship</a:t>
            </a:r>
            <a:endParaRPr lang="fr-FR" sz="1100">
              <a:latin typeface="+mj-lt"/>
              <a:cs typeface="Arial" pitchFamily="34" charset="0"/>
            </a:endParaRPr>
          </a:p>
        </p:txBody>
      </p:sp>
      <p:grpSp>
        <p:nvGrpSpPr>
          <p:cNvPr id="8" name="Groupe 155"/>
          <p:cNvGrpSpPr>
            <a:grpSpLocks noChangeAspect="1"/>
          </p:cNvGrpSpPr>
          <p:nvPr/>
        </p:nvGrpSpPr>
        <p:grpSpPr>
          <a:xfrm>
            <a:off x="6766193" y="3883684"/>
            <a:ext cx="506073" cy="540000"/>
            <a:chOff x="2987985" y="1783423"/>
            <a:chExt cx="284162" cy="303212"/>
          </a:xfrm>
        </p:grpSpPr>
        <p:sp>
          <p:nvSpPr>
            <p:cNvPr id="88" name="Freeform 849"/>
            <p:cNvSpPr>
              <a:spLocks/>
            </p:cNvSpPr>
            <p:nvPr/>
          </p:nvSpPr>
          <p:spPr bwMode="auto">
            <a:xfrm>
              <a:off x="3091172" y="1783423"/>
              <a:ext cx="141288" cy="117475"/>
            </a:xfrm>
            <a:custGeom>
              <a:avLst/>
              <a:gdLst/>
              <a:ahLst/>
              <a:cxnLst>
                <a:cxn ang="0">
                  <a:pos x="75" y="64"/>
                </a:cxn>
                <a:cxn ang="0">
                  <a:pos x="38" y="64"/>
                </a:cxn>
                <a:cxn ang="0">
                  <a:pos x="25" y="78"/>
                </a:cxn>
                <a:cxn ang="0">
                  <a:pos x="0" y="77"/>
                </a:cxn>
                <a:cxn ang="0">
                  <a:pos x="38" y="35"/>
                </a:cxn>
                <a:cxn ang="0">
                  <a:pos x="81" y="22"/>
                </a:cxn>
                <a:cxn ang="0">
                  <a:pos x="105" y="0"/>
                </a:cxn>
              </a:cxnLst>
              <a:rect l="0" t="0" r="r" b="b"/>
              <a:pathLst>
                <a:path w="105" h="87">
                  <a:moveTo>
                    <a:pt x="75" y="64"/>
                  </a:moveTo>
                  <a:cubicBezTo>
                    <a:pt x="63" y="76"/>
                    <a:pt x="38" y="64"/>
                    <a:pt x="38" y="64"/>
                  </a:cubicBezTo>
                  <a:cubicBezTo>
                    <a:pt x="31" y="72"/>
                    <a:pt x="33" y="69"/>
                    <a:pt x="25" y="78"/>
                  </a:cubicBezTo>
                  <a:cubicBezTo>
                    <a:pt x="16" y="87"/>
                    <a:pt x="0" y="77"/>
                    <a:pt x="0" y="77"/>
                  </a:cubicBezTo>
                  <a:cubicBezTo>
                    <a:pt x="38" y="35"/>
                    <a:pt x="38" y="35"/>
                    <a:pt x="38" y="35"/>
                  </a:cubicBezTo>
                  <a:cubicBezTo>
                    <a:pt x="81" y="22"/>
                    <a:pt x="81" y="22"/>
                    <a:pt x="81" y="22"/>
                  </a:cubicBezTo>
                  <a:cubicBezTo>
                    <a:pt x="105" y="0"/>
                    <a:pt x="105" y="0"/>
                    <a:pt x="105"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89" name="Freeform 850"/>
            <p:cNvSpPr>
              <a:spLocks/>
            </p:cNvSpPr>
            <p:nvPr/>
          </p:nvSpPr>
          <p:spPr bwMode="auto">
            <a:xfrm>
              <a:off x="3068947" y="1877085"/>
              <a:ext cx="71438" cy="85725"/>
            </a:xfrm>
            <a:custGeom>
              <a:avLst/>
              <a:gdLst/>
              <a:ahLst/>
              <a:cxnLst>
                <a:cxn ang="0">
                  <a:pos x="49" y="0"/>
                </a:cxn>
                <a:cxn ang="0">
                  <a:pos x="8" y="45"/>
                </a:cxn>
                <a:cxn ang="0">
                  <a:pos x="19" y="58"/>
                </a:cxn>
                <a:cxn ang="0">
                  <a:pos x="54" y="19"/>
                </a:cxn>
              </a:cxnLst>
              <a:rect l="0" t="0" r="r" b="b"/>
              <a:pathLst>
                <a:path w="54" h="64">
                  <a:moveTo>
                    <a:pt x="49" y="0"/>
                  </a:moveTo>
                  <a:cubicBezTo>
                    <a:pt x="49" y="0"/>
                    <a:pt x="16" y="36"/>
                    <a:pt x="8" y="45"/>
                  </a:cubicBezTo>
                  <a:cubicBezTo>
                    <a:pt x="0" y="54"/>
                    <a:pt x="12" y="64"/>
                    <a:pt x="19" y="58"/>
                  </a:cubicBezTo>
                  <a:cubicBezTo>
                    <a:pt x="25" y="51"/>
                    <a:pt x="54" y="19"/>
                    <a:pt x="54" y="19"/>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0" name="Freeform 851"/>
            <p:cNvSpPr>
              <a:spLocks/>
            </p:cNvSpPr>
            <p:nvPr/>
          </p:nvSpPr>
          <p:spPr bwMode="auto">
            <a:xfrm>
              <a:off x="3067360" y="1902485"/>
              <a:ext cx="90488" cy="93663"/>
            </a:xfrm>
            <a:custGeom>
              <a:avLst/>
              <a:gdLst/>
              <a:ahLst/>
              <a:cxnLst>
                <a:cxn ang="0">
                  <a:pos x="55" y="0"/>
                </a:cxn>
                <a:cxn ang="0">
                  <a:pos x="8" y="51"/>
                </a:cxn>
                <a:cxn ang="0">
                  <a:pos x="19" y="63"/>
                </a:cxn>
                <a:cxn ang="0">
                  <a:pos x="67" y="11"/>
                </a:cxn>
              </a:cxnLst>
              <a:rect l="0" t="0" r="r" b="b"/>
              <a:pathLst>
                <a:path w="67" h="70">
                  <a:moveTo>
                    <a:pt x="55" y="0"/>
                  </a:moveTo>
                  <a:cubicBezTo>
                    <a:pt x="55" y="0"/>
                    <a:pt x="16" y="42"/>
                    <a:pt x="8" y="51"/>
                  </a:cubicBezTo>
                  <a:cubicBezTo>
                    <a:pt x="0" y="59"/>
                    <a:pt x="13" y="70"/>
                    <a:pt x="19" y="63"/>
                  </a:cubicBezTo>
                  <a:cubicBezTo>
                    <a:pt x="25" y="56"/>
                    <a:pt x="67" y="11"/>
                    <a:pt x="67" y="1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1" name="Freeform 852"/>
            <p:cNvSpPr>
              <a:spLocks/>
            </p:cNvSpPr>
            <p:nvPr/>
          </p:nvSpPr>
          <p:spPr bwMode="auto">
            <a:xfrm>
              <a:off x="3089585" y="1918360"/>
              <a:ext cx="84138" cy="85725"/>
            </a:xfrm>
            <a:custGeom>
              <a:avLst/>
              <a:gdLst/>
              <a:ahLst/>
              <a:cxnLst>
                <a:cxn ang="0">
                  <a:pos x="50" y="0"/>
                </a:cxn>
                <a:cxn ang="0">
                  <a:pos x="8" y="45"/>
                </a:cxn>
                <a:cxn ang="0">
                  <a:pos x="19" y="58"/>
                </a:cxn>
                <a:cxn ang="0">
                  <a:pos x="62" y="11"/>
                </a:cxn>
              </a:cxnLst>
              <a:rect l="0" t="0" r="r" b="b"/>
              <a:pathLst>
                <a:path w="62" h="65">
                  <a:moveTo>
                    <a:pt x="50" y="0"/>
                  </a:moveTo>
                  <a:cubicBezTo>
                    <a:pt x="50" y="0"/>
                    <a:pt x="17" y="37"/>
                    <a:pt x="8" y="45"/>
                  </a:cubicBezTo>
                  <a:cubicBezTo>
                    <a:pt x="0" y="54"/>
                    <a:pt x="13" y="65"/>
                    <a:pt x="19" y="58"/>
                  </a:cubicBezTo>
                  <a:cubicBezTo>
                    <a:pt x="26" y="51"/>
                    <a:pt x="62" y="11"/>
                    <a:pt x="62" y="1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2" name="Freeform 853"/>
            <p:cNvSpPr>
              <a:spLocks/>
            </p:cNvSpPr>
            <p:nvPr/>
          </p:nvSpPr>
          <p:spPr bwMode="auto">
            <a:xfrm>
              <a:off x="3126097" y="1854860"/>
              <a:ext cx="146050" cy="142875"/>
            </a:xfrm>
            <a:custGeom>
              <a:avLst/>
              <a:gdLst/>
              <a:ahLst/>
              <a:cxnLst>
                <a:cxn ang="0">
                  <a:pos x="35" y="58"/>
                </a:cxn>
                <a:cxn ang="0">
                  <a:pos x="8" y="88"/>
                </a:cxn>
                <a:cxn ang="0">
                  <a:pos x="19" y="101"/>
                </a:cxn>
                <a:cxn ang="0">
                  <a:pos x="98" y="14"/>
                </a:cxn>
                <a:cxn ang="0">
                  <a:pos x="109" y="0"/>
                </a:cxn>
              </a:cxnLst>
              <a:rect l="0" t="0" r="r" b="b"/>
              <a:pathLst>
                <a:path w="109" h="107">
                  <a:moveTo>
                    <a:pt x="35" y="58"/>
                  </a:moveTo>
                  <a:cubicBezTo>
                    <a:pt x="35" y="58"/>
                    <a:pt x="16" y="79"/>
                    <a:pt x="8" y="88"/>
                  </a:cubicBezTo>
                  <a:cubicBezTo>
                    <a:pt x="0" y="97"/>
                    <a:pt x="13" y="107"/>
                    <a:pt x="19" y="101"/>
                  </a:cubicBezTo>
                  <a:cubicBezTo>
                    <a:pt x="25" y="94"/>
                    <a:pt x="98" y="14"/>
                    <a:pt x="98" y="14"/>
                  </a:cubicBezTo>
                  <a:cubicBezTo>
                    <a:pt x="109" y="0"/>
                    <a:pt x="109" y="0"/>
                    <a:pt x="109"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3" name="Freeform 854"/>
            <p:cNvSpPr>
              <a:spLocks/>
            </p:cNvSpPr>
            <p:nvPr/>
          </p:nvSpPr>
          <p:spPr bwMode="auto">
            <a:xfrm>
              <a:off x="3003860" y="1994560"/>
              <a:ext cx="55563" cy="68263"/>
            </a:xfrm>
            <a:custGeom>
              <a:avLst/>
              <a:gdLst/>
              <a:ahLst/>
              <a:cxnLst>
                <a:cxn ang="0">
                  <a:pos x="27" y="39"/>
                </a:cxn>
                <a:cxn ang="0">
                  <a:pos x="26" y="21"/>
                </a:cxn>
                <a:cxn ang="0">
                  <a:pos x="33" y="15"/>
                </a:cxn>
                <a:cxn ang="0">
                  <a:pos x="32" y="2"/>
                </a:cxn>
                <a:cxn ang="0">
                  <a:pos x="12" y="21"/>
                </a:cxn>
                <a:cxn ang="0">
                  <a:pos x="6" y="43"/>
                </a:cxn>
                <a:cxn ang="0">
                  <a:pos x="0" y="51"/>
                </a:cxn>
              </a:cxnLst>
              <a:rect l="0" t="0" r="r" b="b"/>
              <a:pathLst>
                <a:path w="42" h="51">
                  <a:moveTo>
                    <a:pt x="27" y="39"/>
                  </a:moveTo>
                  <a:cubicBezTo>
                    <a:pt x="33" y="33"/>
                    <a:pt x="26" y="21"/>
                    <a:pt x="26" y="21"/>
                  </a:cubicBezTo>
                  <a:cubicBezTo>
                    <a:pt x="30" y="17"/>
                    <a:pt x="29" y="19"/>
                    <a:pt x="33" y="15"/>
                  </a:cubicBezTo>
                  <a:cubicBezTo>
                    <a:pt x="42" y="5"/>
                    <a:pt x="34" y="0"/>
                    <a:pt x="32" y="2"/>
                  </a:cubicBezTo>
                  <a:cubicBezTo>
                    <a:pt x="28" y="6"/>
                    <a:pt x="16" y="16"/>
                    <a:pt x="12" y="21"/>
                  </a:cubicBezTo>
                  <a:cubicBezTo>
                    <a:pt x="9" y="26"/>
                    <a:pt x="6" y="43"/>
                    <a:pt x="6" y="43"/>
                  </a:cubicBezTo>
                  <a:cubicBezTo>
                    <a:pt x="0" y="51"/>
                    <a:pt x="0" y="51"/>
                    <a:pt x="0" y="5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4" name="Freeform 855"/>
            <p:cNvSpPr>
              <a:spLocks/>
            </p:cNvSpPr>
            <p:nvPr/>
          </p:nvSpPr>
          <p:spPr bwMode="auto">
            <a:xfrm>
              <a:off x="3041960" y="1991385"/>
              <a:ext cx="34925" cy="26988"/>
            </a:xfrm>
            <a:custGeom>
              <a:avLst/>
              <a:gdLst/>
              <a:ahLst/>
              <a:cxnLst>
                <a:cxn ang="0">
                  <a:pos x="0" y="21"/>
                </a:cxn>
                <a:cxn ang="0">
                  <a:pos x="16" y="4"/>
                </a:cxn>
                <a:cxn ang="0">
                  <a:pos x="22" y="9"/>
                </a:cxn>
                <a:cxn ang="0">
                  <a:pos x="13" y="19"/>
                </a:cxn>
              </a:cxnLst>
              <a:rect l="0" t="0" r="r" b="b"/>
              <a:pathLst>
                <a:path w="26" h="21">
                  <a:moveTo>
                    <a:pt x="0" y="21"/>
                  </a:moveTo>
                  <a:cubicBezTo>
                    <a:pt x="0" y="21"/>
                    <a:pt x="12" y="8"/>
                    <a:pt x="16" y="4"/>
                  </a:cubicBezTo>
                  <a:cubicBezTo>
                    <a:pt x="20" y="0"/>
                    <a:pt x="26" y="6"/>
                    <a:pt x="22" y="9"/>
                  </a:cubicBezTo>
                  <a:cubicBezTo>
                    <a:pt x="19" y="12"/>
                    <a:pt x="13" y="19"/>
                    <a:pt x="13" y="19"/>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5" name="Freeform 856"/>
            <p:cNvSpPr>
              <a:spLocks/>
            </p:cNvSpPr>
            <p:nvPr/>
          </p:nvSpPr>
          <p:spPr bwMode="auto">
            <a:xfrm>
              <a:off x="3059422" y="1992973"/>
              <a:ext cx="30163" cy="31750"/>
            </a:xfrm>
            <a:custGeom>
              <a:avLst/>
              <a:gdLst/>
              <a:ahLst/>
              <a:cxnLst>
                <a:cxn ang="0">
                  <a:pos x="0" y="17"/>
                </a:cxn>
                <a:cxn ang="0">
                  <a:pos x="13" y="4"/>
                </a:cxn>
                <a:cxn ang="0">
                  <a:pos x="19" y="9"/>
                </a:cxn>
                <a:cxn ang="0">
                  <a:pos x="6" y="23"/>
                </a:cxn>
              </a:cxnLst>
              <a:rect l="0" t="0" r="r" b="b"/>
              <a:pathLst>
                <a:path w="22" h="23">
                  <a:moveTo>
                    <a:pt x="0" y="17"/>
                  </a:moveTo>
                  <a:cubicBezTo>
                    <a:pt x="0" y="17"/>
                    <a:pt x="9" y="8"/>
                    <a:pt x="13" y="4"/>
                  </a:cubicBezTo>
                  <a:cubicBezTo>
                    <a:pt x="17" y="0"/>
                    <a:pt x="22" y="6"/>
                    <a:pt x="19" y="9"/>
                  </a:cubicBezTo>
                  <a:cubicBezTo>
                    <a:pt x="16" y="12"/>
                    <a:pt x="6" y="23"/>
                    <a:pt x="6" y="2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6" name="Freeform 857"/>
            <p:cNvSpPr>
              <a:spLocks/>
            </p:cNvSpPr>
            <p:nvPr/>
          </p:nvSpPr>
          <p:spPr bwMode="auto">
            <a:xfrm>
              <a:off x="3067360" y="2004085"/>
              <a:ext cx="25400" cy="28575"/>
            </a:xfrm>
            <a:custGeom>
              <a:avLst/>
              <a:gdLst/>
              <a:ahLst/>
              <a:cxnLst>
                <a:cxn ang="0">
                  <a:pos x="0" y="15"/>
                </a:cxn>
                <a:cxn ang="0">
                  <a:pos x="10" y="4"/>
                </a:cxn>
                <a:cxn ang="0">
                  <a:pos x="16" y="9"/>
                </a:cxn>
                <a:cxn ang="0">
                  <a:pos x="5" y="21"/>
                </a:cxn>
              </a:cxnLst>
              <a:rect l="0" t="0" r="r" b="b"/>
              <a:pathLst>
                <a:path w="19" h="21">
                  <a:moveTo>
                    <a:pt x="0" y="15"/>
                  </a:moveTo>
                  <a:cubicBezTo>
                    <a:pt x="0" y="15"/>
                    <a:pt x="6" y="8"/>
                    <a:pt x="10" y="4"/>
                  </a:cubicBezTo>
                  <a:cubicBezTo>
                    <a:pt x="14" y="0"/>
                    <a:pt x="19" y="6"/>
                    <a:pt x="16" y="9"/>
                  </a:cubicBezTo>
                  <a:cubicBezTo>
                    <a:pt x="13" y="12"/>
                    <a:pt x="5" y="21"/>
                    <a:pt x="5" y="2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7" name="Freeform 858"/>
            <p:cNvSpPr>
              <a:spLocks/>
            </p:cNvSpPr>
            <p:nvPr/>
          </p:nvSpPr>
          <p:spPr bwMode="auto">
            <a:xfrm>
              <a:off x="3030847" y="2019960"/>
              <a:ext cx="60325" cy="66675"/>
            </a:xfrm>
            <a:custGeom>
              <a:avLst/>
              <a:gdLst/>
              <a:ahLst/>
              <a:cxnLst>
                <a:cxn ang="0">
                  <a:pos x="33" y="9"/>
                </a:cxn>
                <a:cxn ang="0">
                  <a:pos x="37" y="5"/>
                </a:cxn>
                <a:cxn ang="0">
                  <a:pos x="42" y="10"/>
                </a:cxn>
                <a:cxn ang="0">
                  <a:pos x="7" y="40"/>
                </a:cxn>
                <a:cxn ang="0">
                  <a:pos x="0" y="49"/>
                </a:cxn>
              </a:cxnLst>
              <a:rect l="0" t="0" r="r" b="b"/>
              <a:pathLst>
                <a:path w="46" h="49">
                  <a:moveTo>
                    <a:pt x="33" y="9"/>
                  </a:moveTo>
                  <a:cubicBezTo>
                    <a:pt x="33" y="9"/>
                    <a:pt x="37" y="5"/>
                    <a:pt x="37" y="5"/>
                  </a:cubicBezTo>
                  <a:cubicBezTo>
                    <a:pt x="42" y="0"/>
                    <a:pt x="46" y="7"/>
                    <a:pt x="42" y="10"/>
                  </a:cubicBezTo>
                  <a:cubicBezTo>
                    <a:pt x="39" y="13"/>
                    <a:pt x="34" y="31"/>
                    <a:pt x="7" y="40"/>
                  </a:cubicBezTo>
                  <a:cubicBezTo>
                    <a:pt x="0" y="49"/>
                    <a:pt x="0" y="49"/>
                    <a:pt x="0" y="49"/>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8" name="Freeform 859"/>
            <p:cNvSpPr>
              <a:spLocks/>
            </p:cNvSpPr>
            <p:nvPr/>
          </p:nvSpPr>
          <p:spPr bwMode="auto">
            <a:xfrm>
              <a:off x="3057835" y="1926298"/>
              <a:ext cx="161925" cy="150813"/>
            </a:xfrm>
            <a:custGeom>
              <a:avLst/>
              <a:gdLst/>
              <a:ahLst/>
              <a:cxnLst>
                <a:cxn ang="0">
                  <a:pos x="117" y="0"/>
                </a:cxn>
                <a:cxn ang="0">
                  <a:pos x="121" y="25"/>
                </a:cxn>
                <a:cxn ang="0">
                  <a:pos x="34" y="112"/>
                </a:cxn>
                <a:cxn ang="0">
                  <a:pos x="0" y="105"/>
                </a:cxn>
              </a:cxnLst>
              <a:rect l="0" t="0" r="r" b="b"/>
              <a:pathLst>
                <a:path w="121" h="112">
                  <a:moveTo>
                    <a:pt x="117" y="0"/>
                  </a:moveTo>
                  <a:cubicBezTo>
                    <a:pt x="120" y="8"/>
                    <a:pt x="121" y="17"/>
                    <a:pt x="121" y="25"/>
                  </a:cubicBezTo>
                  <a:cubicBezTo>
                    <a:pt x="121" y="73"/>
                    <a:pt x="82" y="112"/>
                    <a:pt x="34" y="112"/>
                  </a:cubicBezTo>
                  <a:cubicBezTo>
                    <a:pt x="22" y="112"/>
                    <a:pt x="10" y="110"/>
                    <a:pt x="0" y="10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9" name="Freeform 860"/>
            <p:cNvSpPr>
              <a:spLocks/>
            </p:cNvSpPr>
            <p:nvPr/>
          </p:nvSpPr>
          <p:spPr bwMode="auto">
            <a:xfrm>
              <a:off x="2987985" y="1845335"/>
              <a:ext cx="136525" cy="187325"/>
            </a:xfrm>
            <a:custGeom>
              <a:avLst/>
              <a:gdLst/>
              <a:ahLst/>
              <a:cxnLst>
                <a:cxn ang="0">
                  <a:pos x="19" y="140"/>
                </a:cxn>
                <a:cxn ang="0">
                  <a:pos x="0" y="86"/>
                </a:cxn>
                <a:cxn ang="0">
                  <a:pos x="87" y="0"/>
                </a:cxn>
                <a:cxn ang="0">
                  <a:pos x="102" y="1"/>
                </a:cxn>
              </a:cxnLst>
              <a:rect l="0" t="0" r="r" b="b"/>
              <a:pathLst>
                <a:path w="102" h="140">
                  <a:moveTo>
                    <a:pt x="19" y="140"/>
                  </a:moveTo>
                  <a:cubicBezTo>
                    <a:pt x="7" y="126"/>
                    <a:pt x="0" y="107"/>
                    <a:pt x="0" y="86"/>
                  </a:cubicBezTo>
                  <a:cubicBezTo>
                    <a:pt x="0" y="38"/>
                    <a:pt x="39" y="0"/>
                    <a:pt x="87" y="0"/>
                  </a:cubicBezTo>
                  <a:cubicBezTo>
                    <a:pt x="92" y="0"/>
                    <a:pt x="97" y="0"/>
                    <a:pt x="102" y="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grpSp>
        <p:nvGrpSpPr>
          <p:cNvPr id="9" name="Groupe 156"/>
          <p:cNvGrpSpPr>
            <a:grpSpLocks noChangeAspect="1"/>
          </p:cNvGrpSpPr>
          <p:nvPr/>
        </p:nvGrpSpPr>
        <p:grpSpPr>
          <a:xfrm>
            <a:off x="6927504" y="1502434"/>
            <a:ext cx="630471" cy="540000"/>
            <a:chOff x="3407085" y="1788185"/>
            <a:chExt cx="354013" cy="303213"/>
          </a:xfrm>
        </p:grpSpPr>
        <p:sp>
          <p:nvSpPr>
            <p:cNvPr id="100" name="Freeform 861"/>
            <p:cNvSpPr>
              <a:spLocks/>
            </p:cNvSpPr>
            <p:nvPr/>
          </p:nvSpPr>
          <p:spPr bwMode="auto">
            <a:xfrm>
              <a:off x="3407085" y="1788185"/>
              <a:ext cx="322263" cy="276225"/>
            </a:xfrm>
            <a:custGeom>
              <a:avLst/>
              <a:gdLst/>
              <a:ahLst/>
              <a:cxnLst>
                <a:cxn ang="0">
                  <a:pos x="206" y="16"/>
                </a:cxn>
                <a:cxn ang="0">
                  <a:pos x="241" y="16"/>
                </a:cxn>
                <a:cxn ang="0">
                  <a:pos x="241" y="176"/>
                </a:cxn>
                <a:cxn ang="0">
                  <a:pos x="205" y="202"/>
                </a:cxn>
                <a:cxn ang="0">
                  <a:pos x="38" y="202"/>
                </a:cxn>
                <a:cxn ang="0">
                  <a:pos x="3" y="175"/>
                </a:cxn>
                <a:cxn ang="0">
                  <a:pos x="3" y="0"/>
                </a:cxn>
                <a:cxn ang="0">
                  <a:pos x="206" y="0"/>
                </a:cxn>
                <a:cxn ang="0">
                  <a:pos x="206" y="179"/>
                </a:cxn>
                <a:cxn ang="0">
                  <a:pos x="226" y="200"/>
                </a:cxn>
              </a:cxnLst>
              <a:rect l="0" t="0" r="r" b="b"/>
              <a:pathLst>
                <a:path w="241" h="207">
                  <a:moveTo>
                    <a:pt x="206" y="16"/>
                  </a:moveTo>
                  <a:cubicBezTo>
                    <a:pt x="241" y="16"/>
                    <a:pt x="241" y="16"/>
                    <a:pt x="241" y="16"/>
                  </a:cubicBezTo>
                  <a:cubicBezTo>
                    <a:pt x="241" y="16"/>
                    <a:pt x="241" y="146"/>
                    <a:pt x="241" y="176"/>
                  </a:cubicBezTo>
                  <a:cubicBezTo>
                    <a:pt x="241" y="207"/>
                    <a:pt x="205" y="202"/>
                    <a:pt x="205" y="202"/>
                  </a:cubicBezTo>
                  <a:cubicBezTo>
                    <a:pt x="38" y="202"/>
                    <a:pt x="38" y="202"/>
                    <a:pt x="38" y="202"/>
                  </a:cubicBezTo>
                  <a:cubicBezTo>
                    <a:pt x="0" y="198"/>
                    <a:pt x="3" y="175"/>
                    <a:pt x="3" y="175"/>
                  </a:cubicBezTo>
                  <a:cubicBezTo>
                    <a:pt x="3" y="0"/>
                    <a:pt x="3" y="0"/>
                    <a:pt x="3" y="0"/>
                  </a:cubicBezTo>
                  <a:cubicBezTo>
                    <a:pt x="206" y="0"/>
                    <a:pt x="206" y="0"/>
                    <a:pt x="206" y="0"/>
                  </a:cubicBezTo>
                  <a:cubicBezTo>
                    <a:pt x="206" y="179"/>
                    <a:pt x="206" y="179"/>
                    <a:pt x="206" y="179"/>
                  </a:cubicBezTo>
                  <a:cubicBezTo>
                    <a:pt x="206" y="179"/>
                    <a:pt x="207" y="199"/>
                    <a:pt x="226" y="20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1" name="Freeform 862"/>
            <p:cNvSpPr>
              <a:spLocks/>
            </p:cNvSpPr>
            <p:nvPr/>
          </p:nvSpPr>
          <p:spPr bwMode="auto">
            <a:xfrm>
              <a:off x="3473760" y="1831048"/>
              <a:ext cx="287338" cy="260350"/>
            </a:xfrm>
            <a:custGeom>
              <a:avLst/>
              <a:gdLst/>
              <a:ahLst/>
              <a:cxnLst>
                <a:cxn ang="0">
                  <a:pos x="0" y="171"/>
                </a:cxn>
                <a:cxn ang="0">
                  <a:pos x="0" y="195"/>
                </a:cxn>
                <a:cxn ang="0">
                  <a:pos x="213" y="195"/>
                </a:cxn>
                <a:cxn ang="0">
                  <a:pos x="213" y="22"/>
                </a:cxn>
                <a:cxn ang="0">
                  <a:pos x="191" y="0"/>
                </a:cxn>
              </a:cxnLst>
              <a:rect l="0" t="0" r="r" b="b"/>
              <a:pathLst>
                <a:path w="215" h="195">
                  <a:moveTo>
                    <a:pt x="0" y="171"/>
                  </a:moveTo>
                  <a:cubicBezTo>
                    <a:pt x="0" y="195"/>
                    <a:pt x="0" y="195"/>
                    <a:pt x="0" y="195"/>
                  </a:cubicBezTo>
                  <a:cubicBezTo>
                    <a:pt x="213" y="195"/>
                    <a:pt x="213" y="195"/>
                    <a:pt x="213" y="195"/>
                  </a:cubicBezTo>
                  <a:cubicBezTo>
                    <a:pt x="213" y="22"/>
                    <a:pt x="213" y="22"/>
                    <a:pt x="213" y="22"/>
                  </a:cubicBezTo>
                  <a:cubicBezTo>
                    <a:pt x="213" y="22"/>
                    <a:pt x="215" y="4"/>
                    <a:pt x="191"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2" name="Line 863"/>
            <p:cNvSpPr>
              <a:spLocks noChangeShapeType="1"/>
            </p:cNvSpPr>
            <p:nvPr/>
          </p:nvSpPr>
          <p:spPr bwMode="auto">
            <a:xfrm>
              <a:off x="3451535" y="1935823"/>
              <a:ext cx="19367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3" name="Line 864"/>
            <p:cNvSpPr>
              <a:spLocks noChangeShapeType="1"/>
            </p:cNvSpPr>
            <p:nvPr/>
          </p:nvSpPr>
          <p:spPr bwMode="auto">
            <a:xfrm>
              <a:off x="3446772" y="1962810"/>
              <a:ext cx="1952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4" name="Line 865"/>
            <p:cNvSpPr>
              <a:spLocks noChangeShapeType="1"/>
            </p:cNvSpPr>
            <p:nvPr/>
          </p:nvSpPr>
          <p:spPr bwMode="auto">
            <a:xfrm>
              <a:off x="3446772" y="1989798"/>
              <a:ext cx="1952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5" name="Line 866"/>
            <p:cNvSpPr>
              <a:spLocks noChangeShapeType="1"/>
            </p:cNvSpPr>
            <p:nvPr/>
          </p:nvSpPr>
          <p:spPr bwMode="auto">
            <a:xfrm>
              <a:off x="3446772" y="2012023"/>
              <a:ext cx="1952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6" name="Freeform 867"/>
            <p:cNvSpPr>
              <a:spLocks/>
            </p:cNvSpPr>
            <p:nvPr/>
          </p:nvSpPr>
          <p:spPr bwMode="auto">
            <a:xfrm>
              <a:off x="3440422" y="1832635"/>
              <a:ext cx="38100" cy="53975"/>
            </a:xfrm>
            <a:custGeom>
              <a:avLst/>
              <a:gdLst/>
              <a:ahLst/>
              <a:cxnLst>
                <a:cxn ang="0">
                  <a:pos x="0" y="34"/>
                </a:cxn>
                <a:cxn ang="0">
                  <a:pos x="0" y="1"/>
                </a:cxn>
                <a:cxn ang="0">
                  <a:pos x="24" y="34"/>
                </a:cxn>
                <a:cxn ang="0">
                  <a:pos x="24" y="0"/>
                </a:cxn>
              </a:cxnLst>
              <a:rect l="0" t="0" r="r" b="b"/>
              <a:pathLst>
                <a:path w="24" h="34">
                  <a:moveTo>
                    <a:pt x="0" y="34"/>
                  </a:moveTo>
                  <a:lnTo>
                    <a:pt x="0" y="1"/>
                  </a:lnTo>
                  <a:lnTo>
                    <a:pt x="24" y="34"/>
                  </a:lnTo>
                  <a:lnTo>
                    <a:pt x="24" y="0"/>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7" name="Freeform 868"/>
            <p:cNvSpPr>
              <a:spLocks/>
            </p:cNvSpPr>
            <p:nvPr/>
          </p:nvSpPr>
          <p:spPr bwMode="auto">
            <a:xfrm>
              <a:off x="3495985" y="1832635"/>
              <a:ext cx="34925" cy="50800"/>
            </a:xfrm>
            <a:custGeom>
              <a:avLst/>
              <a:gdLst/>
              <a:ahLst/>
              <a:cxnLst>
                <a:cxn ang="0">
                  <a:pos x="22" y="0"/>
                </a:cxn>
                <a:cxn ang="0">
                  <a:pos x="0" y="0"/>
                </a:cxn>
                <a:cxn ang="0">
                  <a:pos x="0" y="32"/>
                </a:cxn>
                <a:cxn ang="0">
                  <a:pos x="21" y="32"/>
                </a:cxn>
              </a:cxnLst>
              <a:rect l="0" t="0" r="r" b="b"/>
              <a:pathLst>
                <a:path w="22" h="32">
                  <a:moveTo>
                    <a:pt x="22" y="0"/>
                  </a:moveTo>
                  <a:lnTo>
                    <a:pt x="0" y="0"/>
                  </a:lnTo>
                  <a:lnTo>
                    <a:pt x="0" y="32"/>
                  </a:lnTo>
                  <a:lnTo>
                    <a:pt x="21" y="32"/>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8" name="Line 869"/>
            <p:cNvSpPr>
              <a:spLocks noChangeShapeType="1"/>
            </p:cNvSpPr>
            <p:nvPr/>
          </p:nvSpPr>
          <p:spPr bwMode="auto">
            <a:xfrm flipH="1">
              <a:off x="3502335" y="1858035"/>
              <a:ext cx="254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9" name="Freeform 870"/>
            <p:cNvSpPr>
              <a:spLocks/>
            </p:cNvSpPr>
            <p:nvPr/>
          </p:nvSpPr>
          <p:spPr bwMode="auto">
            <a:xfrm>
              <a:off x="3543610" y="1832635"/>
              <a:ext cx="65088" cy="53975"/>
            </a:xfrm>
            <a:custGeom>
              <a:avLst/>
              <a:gdLst/>
              <a:ahLst/>
              <a:cxnLst>
                <a:cxn ang="0">
                  <a:pos x="0" y="0"/>
                </a:cxn>
                <a:cxn ang="0">
                  <a:pos x="11" y="34"/>
                </a:cxn>
                <a:cxn ang="0">
                  <a:pos x="21" y="0"/>
                </a:cxn>
                <a:cxn ang="0">
                  <a:pos x="32" y="34"/>
                </a:cxn>
                <a:cxn ang="0">
                  <a:pos x="41" y="0"/>
                </a:cxn>
              </a:cxnLst>
              <a:rect l="0" t="0" r="r" b="b"/>
              <a:pathLst>
                <a:path w="41" h="34">
                  <a:moveTo>
                    <a:pt x="0" y="0"/>
                  </a:moveTo>
                  <a:lnTo>
                    <a:pt x="11" y="34"/>
                  </a:lnTo>
                  <a:lnTo>
                    <a:pt x="21" y="0"/>
                  </a:lnTo>
                  <a:lnTo>
                    <a:pt x="32" y="34"/>
                  </a:lnTo>
                  <a:lnTo>
                    <a:pt x="41" y="0"/>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10" name="Freeform 871"/>
            <p:cNvSpPr>
              <a:spLocks/>
            </p:cNvSpPr>
            <p:nvPr/>
          </p:nvSpPr>
          <p:spPr bwMode="auto">
            <a:xfrm>
              <a:off x="3615047" y="1832635"/>
              <a:ext cx="49213" cy="63500"/>
            </a:xfrm>
            <a:custGeom>
              <a:avLst/>
              <a:gdLst/>
              <a:ahLst/>
              <a:cxnLst>
                <a:cxn ang="0">
                  <a:pos x="32" y="11"/>
                </a:cxn>
                <a:cxn ang="0">
                  <a:pos x="19" y="1"/>
                </a:cxn>
                <a:cxn ang="0">
                  <a:pos x="5" y="13"/>
                </a:cxn>
                <a:cxn ang="0">
                  <a:pos x="23" y="22"/>
                </a:cxn>
                <a:cxn ang="0">
                  <a:pos x="27" y="39"/>
                </a:cxn>
                <a:cxn ang="0">
                  <a:pos x="4" y="28"/>
                </a:cxn>
              </a:cxnLst>
              <a:rect l="0" t="0" r="r" b="b"/>
              <a:pathLst>
                <a:path w="37" h="47">
                  <a:moveTo>
                    <a:pt x="32" y="11"/>
                  </a:moveTo>
                  <a:cubicBezTo>
                    <a:pt x="32" y="11"/>
                    <a:pt x="30" y="1"/>
                    <a:pt x="19" y="1"/>
                  </a:cubicBezTo>
                  <a:cubicBezTo>
                    <a:pt x="8" y="0"/>
                    <a:pt x="4" y="6"/>
                    <a:pt x="5" y="13"/>
                  </a:cubicBezTo>
                  <a:cubicBezTo>
                    <a:pt x="6" y="19"/>
                    <a:pt x="16" y="21"/>
                    <a:pt x="23" y="22"/>
                  </a:cubicBezTo>
                  <a:cubicBezTo>
                    <a:pt x="30" y="24"/>
                    <a:pt x="37" y="32"/>
                    <a:pt x="27" y="39"/>
                  </a:cubicBezTo>
                  <a:cubicBezTo>
                    <a:pt x="16" y="47"/>
                    <a:pt x="0" y="34"/>
                    <a:pt x="4" y="2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111" name="Rectangle 872"/>
          <p:cNvSpPr>
            <a:spLocks noChangeArrowheads="1"/>
          </p:cNvSpPr>
          <p:nvPr/>
        </p:nvSpPr>
        <p:spPr bwMode="auto">
          <a:xfrm>
            <a:off x="6949892" y="2159444"/>
            <a:ext cx="360676"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Press</a:t>
            </a:r>
            <a:endParaRPr lang="fr-FR" sz="1100">
              <a:latin typeface="+mj-lt"/>
              <a:cs typeface="Arial" pitchFamily="34" charset="0"/>
            </a:endParaRPr>
          </a:p>
        </p:txBody>
      </p:sp>
      <p:grpSp>
        <p:nvGrpSpPr>
          <p:cNvPr id="10" name="Groupe 164"/>
          <p:cNvGrpSpPr>
            <a:grpSpLocks noChangeAspect="1"/>
          </p:cNvGrpSpPr>
          <p:nvPr/>
        </p:nvGrpSpPr>
        <p:grpSpPr>
          <a:xfrm>
            <a:off x="8933829" y="2686339"/>
            <a:ext cx="361884" cy="540000"/>
            <a:chOff x="3453122" y="2307298"/>
            <a:chExt cx="203200" cy="303213"/>
          </a:xfrm>
        </p:grpSpPr>
        <p:sp>
          <p:nvSpPr>
            <p:cNvPr id="114" name="Freeform 875"/>
            <p:cNvSpPr>
              <a:spLocks/>
            </p:cNvSpPr>
            <p:nvPr/>
          </p:nvSpPr>
          <p:spPr bwMode="auto">
            <a:xfrm>
              <a:off x="3453122" y="2307298"/>
              <a:ext cx="134938" cy="150813"/>
            </a:xfrm>
            <a:custGeom>
              <a:avLst/>
              <a:gdLst/>
              <a:ahLst/>
              <a:cxnLst>
                <a:cxn ang="0">
                  <a:pos x="48" y="0"/>
                </a:cxn>
                <a:cxn ang="0">
                  <a:pos x="85" y="95"/>
                </a:cxn>
                <a:cxn ang="0">
                  <a:pos x="37" y="94"/>
                </a:cxn>
                <a:cxn ang="0">
                  <a:pos x="0" y="0"/>
                </a:cxn>
              </a:cxnLst>
              <a:rect l="0" t="0" r="r" b="b"/>
              <a:pathLst>
                <a:path w="85" h="95">
                  <a:moveTo>
                    <a:pt x="48" y="0"/>
                  </a:moveTo>
                  <a:lnTo>
                    <a:pt x="85" y="95"/>
                  </a:lnTo>
                  <a:lnTo>
                    <a:pt x="37" y="94"/>
                  </a:lnTo>
                  <a:lnTo>
                    <a:pt x="0" y="0"/>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15" name="Freeform 876"/>
            <p:cNvSpPr>
              <a:spLocks/>
            </p:cNvSpPr>
            <p:nvPr/>
          </p:nvSpPr>
          <p:spPr bwMode="auto">
            <a:xfrm>
              <a:off x="3567422" y="2307298"/>
              <a:ext cx="88900" cy="133350"/>
            </a:xfrm>
            <a:custGeom>
              <a:avLst/>
              <a:gdLst/>
              <a:ahLst/>
              <a:cxnLst>
                <a:cxn ang="0">
                  <a:pos x="12" y="0"/>
                </a:cxn>
                <a:cxn ang="0">
                  <a:pos x="0" y="28"/>
                </a:cxn>
                <a:cxn ang="0">
                  <a:pos x="23" y="84"/>
                </a:cxn>
                <a:cxn ang="0">
                  <a:pos x="56" y="1"/>
                </a:cxn>
              </a:cxnLst>
              <a:rect l="0" t="0" r="r" b="b"/>
              <a:pathLst>
                <a:path w="56" h="84">
                  <a:moveTo>
                    <a:pt x="12" y="0"/>
                  </a:moveTo>
                  <a:lnTo>
                    <a:pt x="0" y="28"/>
                  </a:lnTo>
                  <a:lnTo>
                    <a:pt x="23" y="84"/>
                  </a:lnTo>
                  <a:lnTo>
                    <a:pt x="56" y="1"/>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16" name="Freeform 877"/>
            <p:cNvSpPr>
              <a:spLocks/>
            </p:cNvSpPr>
            <p:nvPr/>
          </p:nvSpPr>
          <p:spPr bwMode="auto">
            <a:xfrm>
              <a:off x="3489635" y="2475573"/>
              <a:ext cx="130175" cy="134938"/>
            </a:xfrm>
            <a:custGeom>
              <a:avLst/>
              <a:gdLst/>
              <a:ahLst/>
              <a:cxnLst>
                <a:cxn ang="0">
                  <a:pos x="58" y="5"/>
                </a:cxn>
                <a:cxn ang="0">
                  <a:pos x="48" y="0"/>
                </a:cxn>
                <a:cxn ang="0">
                  <a:pos x="39" y="5"/>
                </a:cxn>
                <a:cxn ang="0">
                  <a:pos x="0" y="52"/>
                </a:cxn>
                <a:cxn ang="0">
                  <a:pos x="48" y="101"/>
                </a:cxn>
                <a:cxn ang="0">
                  <a:pos x="97" y="52"/>
                </a:cxn>
                <a:cxn ang="0">
                  <a:pos x="58" y="5"/>
                </a:cxn>
              </a:cxnLst>
              <a:rect l="0" t="0" r="r" b="b"/>
              <a:pathLst>
                <a:path w="97" h="101">
                  <a:moveTo>
                    <a:pt x="58" y="5"/>
                  </a:moveTo>
                  <a:cubicBezTo>
                    <a:pt x="56" y="2"/>
                    <a:pt x="52" y="0"/>
                    <a:pt x="48" y="0"/>
                  </a:cubicBezTo>
                  <a:cubicBezTo>
                    <a:pt x="45" y="0"/>
                    <a:pt x="41" y="2"/>
                    <a:pt x="39" y="5"/>
                  </a:cubicBezTo>
                  <a:cubicBezTo>
                    <a:pt x="17" y="9"/>
                    <a:pt x="0" y="29"/>
                    <a:pt x="0" y="52"/>
                  </a:cubicBezTo>
                  <a:cubicBezTo>
                    <a:pt x="0" y="79"/>
                    <a:pt x="22" y="101"/>
                    <a:pt x="48" y="101"/>
                  </a:cubicBezTo>
                  <a:cubicBezTo>
                    <a:pt x="75" y="101"/>
                    <a:pt x="97" y="79"/>
                    <a:pt x="97" y="52"/>
                  </a:cubicBezTo>
                  <a:cubicBezTo>
                    <a:pt x="97" y="29"/>
                    <a:pt x="80" y="9"/>
                    <a:pt x="58" y="5"/>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17" name="Freeform 878"/>
            <p:cNvSpPr>
              <a:spLocks/>
            </p:cNvSpPr>
            <p:nvPr/>
          </p:nvSpPr>
          <p:spPr bwMode="auto">
            <a:xfrm>
              <a:off x="3511860" y="2500973"/>
              <a:ext cx="87313" cy="82550"/>
            </a:xfrm>
            <a:custGeom>
              <a:avLst/>
              <a:gdLst/>
              <a:ahLst/>
              <a:cxnLst>
                <a:cxn ang="0">
                  <a:pos x="37" y="17"/>
                </a:cxn>
                <a:cxn ang="0">
                  <a:pos x="55" y="20"/>
                </a:cxn>
                <a:cxn ang="0">
                  <a:pos x="42" y="33"/>
                </a:cxn>
                <a:cxn ang="0">
                  <a:pos x="45" y="52"/>
                </a:cxn>
                <a:cxn ang="0">
                  <a:pos x="28" y="43"/>
                </a:cxn>
                <a:cxn ang="0">
                  <a:pos x="11" y="52"/>
                </a:cxn>
                <a:cxn ang="0">
                  <a:pos x="14" y="33"/>
                </a:cxn>
                <a:cxn ang="0">
                  <a:pos x="0" y="20"/>
                </a:cxn>
                <a:cxn ang="0">
                  <a:pos x="20" y="17"/>
                </a:cxn>
                <a:cxn ang="0">
                  <a:pos x="28" y="0"/>
                </a:cxn>
                <a:cxn ang="0">
                  <a:pos x="37" y="17"/>
                </a:cxn>
              </a:cxnLst>
              <a:rect l="0" t="0" r="r" b="b"/>
              <a:pathLst>
                <a:path w="55" h="52">
                  <a:moveTo>
                    <a:pt x="37" y="17"/>
                  </a:moveTo>
                  <a:lnTo>
                    <a:pt x="55" y="20"/>
                  </a:lnTo>
                  <a:lnTo>
                    <a:pt x="42" y="33"/>
                  </a:lnTo>
                  <a:lnTo>
                    <a:pt x="45" y="52"/>
                  </a:lnTo>
                  <a:lnTo>
                    <a:pt x="28" y="43"/>
                  </a:lnTo>
                  <a:lnTo>
                    <a:pt x="11" y="52"/>
                  </a:lnTo>
                  <a:lnTo>
                    <a:pt x="14" y="33"/>
                  </a:lnTo>
                  <a:lnTo>
                    <a:pt x="0" y="20"/>
                  </a:lnTo>
                  <a:lnTo>
                    <a:pt x="20" y="17"/>
                  </a:lnTo>
                  <a:lnTo>
                    <a:pt x="28" y="0"/>
                  </a:lnTo>
                  <a:lnTo>
                    <a:pt x="37" y="17"/>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118" name="Rectangle 879"/>
          <p:cNvSpPr>
            <a:spLocks noChangeArrowheads="1"/>
          </p:cNvSpPr>
          <p:nvPr/>
        </p:nvSpPr>
        <p:spPr bwMode="auto">
          <a:xfrm>
            <a:off x="8847071" y="3316723"/>
            <a:ext cx="535403"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Award</a:t>
            </a:r>
            <a:r>
              <a:rPr lang="fr-FR" sz="1100">
                <a:solidFill>
                  <a:srgbClr val="000000"/>
                </a:solidFill>
                <a:latin typeface="+mj-lt"/>
                <a:cs typeface="Arial" pitchFamily="34" charset="0"/>
              </a:rPr>
              <a:t> 1</a:t>
            </a:r>
            <a:endParaRPr lang="fr-FR" sz="1100">
              <a:latin typeface="+mj-lt"/>
              <a:cs typeface="Arial" pitchFamily="34" charset="0"/>
            </a:endParaRPr>
          </a:p>
        </p:txBody>
      </p:sp>
      <p:grpSp>
        <p:nvGrpSpPr>
          <p:cNvPr id="11" name="Groupe 157"/>
          <p:cNvGrpSpPr>
            <a:grpSpLocks noChangeAspect="1"/>
          </p:cNvGrpSpPr>
          <p:nvPr/>
        </p:nvGrpSpPr>
        <p:grpSpPr>
          <a:xfrm>
            <a:off x="7822240" y="1502434"/>
            <a:ext cx="455182" cy="540000"/>
            <a:chOff x="3921435" y="1788185"/>
            <a:chExt cx="255587" cy="303213"/>
          </a:xfrm>
        </p:grpSpPr>
        <p:sp>
          <p:nvSpPr>
            <p:cNvPr id="122" name="Freeform 883"/>
            <p:cNvSpPr>
              <a:spLocks/>
            </p:cNvSpPr>
            <p:nvPr/>
          </p:nvSpPr>
          <p:spPr bwMode="auto">
            <a:xfrm>
              <a:off x="4007160" y="2002498"/>
              <a:ext cx="84138" cy="88900"/>
            </a:xfrm>
            <a:custGeom>
              <a:avLst/>
              <a:gdLst/>
              <a:ahLst/>
              <a:cxnLst>
                <a:cxn ang="0">
                  <a:pos x="63" y="66"/>
                </a:cxn>
                <a:cxn ang="0">
                  <a:pos x="63" y="5"/>
                </a:cxn>
                <a:cxn ang="0">
                  <a:pos x="58" y="0"/>
                </a:cxn>
                <a:cxn ang="0">
                  <a:pos x="5" y="0"/>
                </a:cxn>
                <a:cxn ang="0">
                  <a:pos x="0" y="5"/>
                </a:cxn>
                <a:cxn ang="0">
                  <a:pos x="0" y="66"/>
                </a:cxn>
              </a:cxnLst>
              <a:rect l="0" t="0" r="r" b="b"/>
              <a:pathLst>
                <a:path w="63" h="66">
                  <a:moveTo>
                    <a:pt x="63" y="66"/>
                  </a:moveTo>
                  <a:cubicBezTo>
                    <a:pt x="63" y="5"/>
                    <a:pt x="63" y="5"/>
                    <a:pt x="63" y="5"/>
                  </a:cubicBezTo>
                  <a:cubicBezTo>
                    <a:pt x="63" y="2"/>
                    <a:pt x="61" y="0"/>
                    <a:pt x="58" y="0"/>
                  </a:cubicBezTo>
                  <a:cubicBezTo>
                    <a:pt x="5" y="0"/>
                    <a:pt x="5" y="0"/>
                    <a:pt x="5" y="0"/>
                  </a:cubicBezTo>
                  <a:cubicBezTo>
                    <a:pt x="2" y="0"/>
                    <a:pt x="0" y="2"/>
                    <a:pt x="0" y="5"/>
                  </a:cubicBezTo>
                  <a:cubicBezTo>
                    <a:pt x="0" y="66"/>
                    <a:pt x="0" y="66"/>
                    <a:pt x="0" y="6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23" name="Freeform 884"/>
            <p:cNvSpPr>
              <a:spLocks/>
            </p:cNvSpPr>
            <p:nvPr/>
          </p:nvSpPr>
          <p:spPr bwMode="auto">
            <a:xfrm>
              <a:off x="3921435" y="2027898"/>
              <a:ext cx="85725" cy="63500"/>
            </a:xfrm>
            <a:custGeom>
              <a:avLst/>
              <a:gdLst/>
              <a:ahLst/>
              <a:cxnLst>
                <a:cxn ang="0">
                  <a:pos x="64" y="48"/>
                </a:cxn>
                <a:cxn ang="0">
                  <a:pos x="64" y="6"/>
                </a:cxn>
                <a:cxn ang="0">
                  <a:pos x="58" y="0"/>
                </a:cxn>
                <a:cxn ang="0">
                  <a:pos x="5" y="0"/>
                </a:cxn>
                <a:cxn ang="0">
                  <a:pos x="0" y="6"/>
                </a:cxn>
                <a:cxn ang="0">
                  <a:pos x="0" y="48"/>
                </a:cxn>
              </a:cxnLst>
              <a:rect l="0" t="0" r="r" b="b"/>
              <a:pathLst>
                <a:path w="64" h="48">
                  <a:moveTo>
                    <a:pt x="64" y="48"/>
                  </a:moveTo>
                  <a:cubicBezTo>
                    <a:pt x="64" y="6"/>
                    <a:pt x="64" y="6"/>
                    <a:pt x="64" y="6"/>
                  </a:cubicBezTo>
                  <a:cubicBezTo>
                    <a:pt x="64" y="3"/>
                    <a:pt x="61" y="0"/>
                    <a:pt x="58" y="0"/>
                  </a:cubicBezTo>
                  <a:cubicBezTo>
                    <a:pt x="5" y="0"/>
                    <a:pt x="5" y="0"/>
                    <a:pt x="5" y="0"/>
                  </a:cubicBezTo>
                  <a:cubicBezTo>
                    <a:pt x="2" y="0"/>
                    <a:pt x="0" y="3"/>
                    <a:pt x="0" y="6"/>
                  </a:cubicBezTo>
                  <a:cubicBezTo>
                    <a:pt x="0" y="48"/>
                    <a:pt x="0" y="48"/>
                    <a:pt x="0" y="4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24" name="Freeform 885"/>
            <p:cNvSpPr>
              <a:spLocks/>
            </p:cNvSpPr>
            <p:nvPr/>
          </p:nvSpPr>
          <p:spPr bwMode="auto">
            <a:xfrm>
              <a:off x="4091297" y="2056473"/>
              <a:ext cx="85725" cy="34925"/>
            </a:xfrm>
            <a:custGeom>
              <a:avLst/>
              <a:gdLst/>
              <a:ahLst/>
              <a:cxnLst>
                <a:cxn ang="0">
                  <a:pos x="64" y="26"/>
                </a:cxn>
                <a:cxn ang="0">
                  <a:pos x="64" y="5"/>
                </a:cxn>
                <a:cxn ang="0">
                  <a:pos x="59" y="0"/>
                </a:cxn>
                <a:cxn ang="0">
                  <a:pos x="6" y="0"/>
                </a:cxn>
                <a:cxn ang="0">
                  <a:pos x="0" y="5"/>
                </a:cxn>
                <a:cxn ang="0">
                  <a:pos x="0" y="26"/>
                </a:cxn>
              </a:cxnLst>
              <a:rect l="0" t="0" r="r" b="b"/>
              <a:pathLst>
                <a:path w="64" h="26">
                  <a:moveTo>
                    <a:pt x="64" y="26"/>
                  </a:moveTo>
                  <a:cubicBezTo>
                    <a:pt x="64" y="5"/>
                    <a:pt x="64" y="5"/>
                    <a:pt x="64" y="5"/>
                  </a:cubicBezTo>
                  <a:cubicBezTo>
                    <a:pt x="64" y="3"/>
                    <a:pt x="61" y="0"/>
                    <a:pt x="59" y="0"/>
                  </a:cubicBezTo>
                  <a:cubicBezTo>
                    <a:pt x="6" y="0"/>
                    <a:pt x="6" y="0"/>
                    <a:pt x="6" y="0"/>
                  </a:cubicBezTo>
                  <a:cubicBezTo>
                    <a:pt x="3" y="0"/>
                    <a:pt x="0" y="3"/>
                    <a:pt x="0" y="5"/>
                  </a:cubicBezTo>
                  <a:cubicBezTo>
                    <a:pt x="0" y="26"/>
                    <a:pt x="0" y="26"/>
                    <a:pt x="0" y="2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25" name="Freeform 886"/>
            <p:cNvSpPr>
              <a:spLocks/>
            </p:cNvSpPr>
            <p:nvPr/>
          </p:nvSpPr>
          <p:spPr bwMode="auto">
            <a:xfrm>
              <a:off x="4016685" y="1788185"/>
              <a:ext cx="68263" cy="123825"/>
            </a:xfrm>
            <a:custGeom>
              <a:avLst/>
              <a:gdLst/>
              <a:ahLst/>
              <a:cxnLst>
                <a:cxn ang="0">
                  <a:pos x="43" y="93"/>
                </a:cxn>
                <a:cxn ang="0">
                  <a:pos x="51" y="64"/>
                </a:cxn>
                <a:cxn ang="0">
                  <a:pos x="31" y="29"/>
                </a:cxn>
                <a:cxn ang="0">
                  <a:pos x="37" y="15"/>
                </a:cxn>
                <a:cxn ang="0">
                  <a:pos x="25" y="0"/>
                </a:cxn>
                <a:cxn ang="0">
                  <a:pos x="14" y="15"/>
                </a:cxn>
                <a:cxn ang="0">
                  <a:pos x="20" y="29"/>
                </a:cxn>
                <a:cxn ang="0">
                  <a:pos x="0" y="64"/>
                </a:cxn>
                <a:cxn ang="0">
                  <a:pos x="8" y="93"/>
                </a:cxn>
              </a:cxnLst>
              <a:rect l="0" t="0" r="r" b="b"/>
              <a:pathLst>
                <a:path w="51" h="93">
                  <a:moveTo>
                    <a:pt x="43" y="93"/>
                  </a:moveTo>
                  <a:cubicBezTo>
                    <a:pt x="43" y="89"/>
                    <a:pt x="51" y="79"/>
                    <a:pt x="51" y="64"/>
                  </a:cubicBezTo>
                  <a:cubicBezTo>
                    <a:pt x="51" y="44"/>
                    <a:pt x="46" y="30"/>
                    <a:pt x="31" y="29"/>
                  </a:cubicBezTo>
                  <a:cubicBezTo>
                    <a:pt x="33" y="26"/>
                    <a:pt x="37" y="20"/>
                    <a:pt x="37" y="15"/>
                  </a:cubicBezTo>
                  <a:cubicBezTo>
                    <a:pt x="37" y="7"/>
                    <a:pt x="32" y="0"/>
                    <a:pt x="25" y="0"/>
                  </a:cubicBezTo>
                  <a:cubicBezTo>
                    <a:pt x="19" y="0"/>
                    <a:pt x="14" y="7"/>
                    <a:pt x="14" y="15"/>
                  </a:cubicBezTo>
                  <a:cubicBezTo>
                    <a:pt x="14" y="20"/>
                    <a:pt x="18" y="26"/>
                    <a:pt x="20" y="29"/>
                  </a:cubicBezTo>
                  <a:cubicBezTo>
                    <a:pt x="0" y="31"/>
                    <a:pt x="0" y="44"/>
                    <a:pt x="0" y="64"/>
                  </a:cubicBezTo>
                  <a:cubicBezTo>
                    <a:pt x="0" y="64"/>
                    <a:pt x="1" y="80"/>
                    <a:pt x="8" y="9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26" name="Freeform 887"/>
            <p:cNvSpPr>
              <a:spLocks/>
            </p:cNvSpPr>
            <p:nvPr/>
          </p:nvSpPr>
          <p:spPr bwMode="auto">
            <a:xfrm>
              <a:off x="4026210" y="1900898"/>
              <a:ext cx="46038" cy="101600"/>
            </a:xfrm>
            <a:custGeom>
              <a:avLst/>
              <a:gdLst/>
              <a:ahLst/>
              <a:cxnLst>
                <a:cxn ang="0">
                  <a:pos x="0" y="0"/>
                </a:cxn>
                <a:cxn ang="0">
                  <a:pos x="3" y="76"/>
                </a:cxn>
                <a:cxn ang="0">
                  <a:pos x="13" y="76"/>
                </a:cxn>
                <a:cxn ang="0">
                  <a:pos x="17" y="7"/>
                </a:cxn>
                <a:cxn ang="0">
                  <a:pos x="21" y="76"/>
                </a:cxn>
                <a:cxn ang="0">
                  <a:pos x="31" y="76"/>
                </a:cxn>
                <a:cxn ang="0">
                  <a:pos x="34" y="0"/>
                </a:cxn>
              </a:cxnLst>
              <a:rect l="0" t="0" r="r" b="b"/>
              <a:pathLst>
                <a:path w="34" h="76">
                  <a:moveTo>
                    <a:pt x="0" y="0"/>
                  </a:moveTo>
                  <a:cubicBezTo>
                    <a:pt x="0" y="2"/>
                    <a:pt x="3" y="76"/>
                    <a:pt x="3" y="76"/>
                  </a:cubicBezTo>
                  <a:cubicBezTo>
                    <a:pt x="13" y="76"/>
                    <a:pt x="13" y="76"/>
                    <a:pt x="13" y="76"/>
                  </a:cubicBezTo>
                  <a:cubicBezTo>
                    <a:pt x="17" y="7"/>
                    <a:pt x="17" y="7"/>
                    <a:pt x="17" y="7"/>
                  </a:cubicBezTo>
                  <a:cubicBezTo>
                    <a:pt x="21" y="76"/>
                    <a:pt x="21" y="76"/>
                    <a:pt x="21" y="76"/>
                  </a:cubicBezTo>
                  <a:cubicBezTo>
                    <a:pt x="31" y="76"/>
                    <a:pt x="31" y="76"/>
                    <a:pt x="31" y="76"/>
                  </a:cubicBezTo>
                  <a:cubicBezTo>
                    <a:pt x="34" y="0"/>
                    <a:pt x="34" y="0"/>
                    <a:pt x="34"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127" name="Rectangle 888"/>
          <p:cNvSpPr>
            <a:spLocks noChangeArrowheads="1"/>
          </p:cNvSpPr>
          <p:nvPr/>
        </p:nvSpPr>
        <p:spPr bwMode="auto">
          <a:xfrm>
            <a:off x="7629744" y="2159444"/>
            <a:ext cx="636393"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Ranking</a:t>
            </a:r>
            <a:r>
              <a:rPr lang="fr-FR" sz="1100">
                <a:solidFill>
                  <a:srgbClr val="000000"/>
                </a:solidFill>
                <a:latin typeface="+mj-lt"/>
                <a:cs typeface="Arial" pitchFamily="34" charset="0"/>
              </a:rPr>
              <a:t> 1</a:t>
            </a:r>
            <a:endParaRPr lang="fr-FR" sz="1100">
              <a:latin typeface="+mj-lt"/>
              <a:cs typeface="Arial" pitchFamily="34" charset="0"/>
            </a:endParaRPr>
          </a:p>
        </p:txBody>
      </p:sp>
      <p:sp>
        <p:nvSpPr>
          <p:cNvPr id="175" name="Freeform 586"/>
          <p:cNvSpPr>
            <a:spLocks noChangeAspect="1"/>
          </p:cNvSpPr>
          <p:nvPr/>
        </p:nvSpPr>
        <p:spPr bwMode="auto">
          <a:xfrm>
            <a:off x="2372459" y="1502434"/>
            <a:ext cx="402190" cy="540000"/>
          </a:xfrm>
          <a:custGeom>
            <a:avLst/>
            <a:gdLst/>
            <a:ahLst/>
            <a:cxnLst>
              <a:cxn ang="0">
                <a:pos x="120" y="228"/>
              </a:cxn>
              <a:cxn ang="0">
                <a:pos x="122" y="228"/>
              </a:cxn>
              <a:cxn ang="0">
                <a:pos x="103" y="205"/>
              </a:cxn>
              <a:cxn ang="0">
                <a:pos x="101" y="162"/>
              </a:cxn>
              <a:cxn ang="0">
                <a:pos x="113" y="154"/>
              </a:cxn>
              <a:cxn ang="0">
                <a:pos x="118" y="140"/>
              </a:cxn>
              <a:cxn ang="0">
                <a:pos x="108" y="146"/>
              </a:cxn>
              <a:cxn ang="0">
                <a:pos x="101" y="140"/>
              </a:cxn>
              <a:cxn ang="0">
                <a:pos x="101" y="127"/>
              </a:cxn>
              <a:cxn ang="0">
                <a:pos x="101" y="127"/>
              </a:cxn>
              <a:cxn ang="0">
                <a:pos x="103" y="124"/>
              </a:cxn>
              <a:cxn ang="0">
                <a:pos x="114" y="128"/>
              </a:cxn>
              <a:cxn ang="0">
                <a:pos x="147" y="124"/>
              </a:cxn>
              <a:cxn ang="0">
                <a:pos x="151" y="107"/>
              </a:cxn>
              <a:cxn ang="0">
                <a:pos x="164" y="101"/>
              </a:cxn>
              <a:cxn ang="0">
                <a:pos x="162" y="74"/>
              </a:cxn>
              <a:cxn ang="0">
                <a:pos x="162" y="74"/>
              </a:cxn>
              <a:cxn ang="0">
                <a:pos x="168" y="53"/>
              </a:cxn>
              <a:cxn ang="0">
                <a:pos x="128" y="12"/>
              </a:cxn>
              <a:cxn ang="0">
                <a:pos x="108" y="18"/>
              </a:cxn>
              <a:cxn ang="0">
                <a:pos x="103" y="17"/>
              </a:cxn>
              <a:cxn ang="0">
                <a:pos x="100" y="17"/>
              </a:cxn>
              <a:cxn ang="0">
                <a:pos x="100" y="17"/>
              </a:cxn>
              <a:cxn ang="0">
                <a:pos x="87" y="1"/>
              </a:cxn>
              <a:cxn ang="0">
                <a:pos x="70" y="13"/>
              </a:cxn>
              <a:cxn ang="0">
                <a:pos x="70" y="15"/>
              </a:cxn>
              <a:cxn ang="0">
                <a:pos x="47" y="30"/>
              </a:cxn>
              <a:cxn ang="0">
                <a:pos x="47" y="32"/>
              </a:cxn>
              <a:cxn ang="0">
                <a:pos x="38" y="35"/>
              </a:cxn>
              <a:cxn ang="0">
                <a:pos x="36" y="37"/>
              </a:cxn>
              <a:cxn ang="0">
                <a:pos x="36" y="37"/>
              </a:cxn>
              <a:cxn ang="0">
                <a:pos x="14" y="33"/>
              </a:cxn>
              <a:cxn ang="0">
                <a:pos x="10" y="52"/>
              </a:cxn>
              <a:cxn ang="0">
                <a:pos x="11" y="53"/>
              </a:cxn>
              <a:cxn ang="0">
                <a:pos x="6" y="78"/>
              </a:cxn>
              <a:cxn ang="0">
                <a:pos x="14" y="84"/>
              </a:cxn>
              <a:cxn ang="0">
                <a:pos x="14" y="86"/>
              </a:cxn>
              <a:cxn ang="0">
                <a:pos x="64" y="136"/>
              </a:cxn>
              <a:cxn ang="0">
                <a:pos x="70" y="135"/>
              </a:cxn>
              <a:cxn ang="0">
                <a:pos x="84" y="136"/>
              </a:cxn>
              <a:cxn ang="0">
                <a:pos x="86" y="210"/>
              </a:cxn>
              <a:cxn ang="0">
                <a:pos x="66" y="228"/>
              </a:cxn>
              <a:cxn ang="0">
                <a:pos x="96" y="228"/>
              </a:cxn>
            </a:cxnLst>
            <a:rect l="0" t="0" r="r" b="b"/>
            <a:pathLst>
              <a:path w="171" h="228">
                <a:moveTo>
                  <a:pt x="120" y="228"/>
                </a:moveTo>
                <a:cubicBezTo>
                  <a:pt x="122" y="228"/>
                  <a:pt x="122" y="228"/>
                  <a:pt x="122" y="228"/>
                </a:cubicBezTo>
                <a:cubicBezTo>
                  <a:pt x="122" y="228"/>
                  <a:pt x="106" y="221"/>
                  <a:pt x="103" y="205"/>
                </a:cubicBezTo>
                <a:cubicBezTo>
                  <a:pt x="100" y="189"/>
                  <a:pt x="101" y="162"/>
                  <a:pt x="101" y="162"/>
                </a:cubicBezTo>
                <a:cubicBezTo>
                  <a:pt x="101" y="162"/>
                  <a:pt x="110" y="157"/>
                  <a:pt x="113" y="154"/>
                </a:cubicBezTo>
                <a:cubicBezTo>
                  <a:pt x="117" y="152"/>
                  <a:pt x="118" y="143"/>
                  <a:pt x="118" y="140"/>
                </a:cubicBezTo>
                <a:cubicBezTo>
                  <a:pt x="118" y="137"/>
                  <a:pt x="116" y="145"/>
                  <a:pt x="108" y="146"/>
                </a:cubicBezTo>
                <a:cubicBezTo>
                  <a:pt x="101" y="147"/>
                  <a:pt x="101" y="140"/>
                  <a:pt x="101" y="140"/>
                </a:cubicBezTo>
                <a:cubicBezTo>
                  <a:pt x="101" y="127"/>
                  <a:pt x="101" y="127"/>
                  <a:pt x="101" y="127"/>
                </a:cubicBezTo>
                <a:cubicBezTo>
                  <a:pt x="101" y="127"/>
                  <a:pt x="101" y="127"/>
                  <a:pt x="101" y="127"/>
                </a:cubicBezTo>
                <a:cubicBezTo>
                  <a:pt x="102" y="126"/>
                  <a:pt x="103" y="125"/>
                  <a:pt x="103" y="124"/>
                </a:cubicBezTo>
                <a:cubicBezTo>
                  <a:pt x="114" y="128"/>
                  <a:pt x="114" y="128"/>
                  <a:pt x="114" y="128"/>
                </a:cubicBezTo>
                <a:cubicBezTo>
                  <a:pt x="124" y="135"/>
                  <a:pt x="139" y="133"/>
                  <a:pt x="147" y="124"/>
                </a:cubicBezTo>
                <a:cubicBezTo>
                  <a:pt x="151" y="119"/>
                  <a:pt x="152" y="113"/>
                  <a:pt x="151" y="107"/>
                </a:cubicBezTo>
                <a:cubicBezTo>
                  <a:pt x="156" y="107"/>
                  <a:pt x="160" y="105"/>
                  <a:pt x="164" y="101"/>
                </a:cubicBezTo>
                <a:cubicBezTo>
                  <a:pt x="171" y="93"/>
                  <a:pt x="170" y="81"/>
                  <a:pt x="162" y="74"/>
                </a:cubicBezTo>
                <a:cubicBezTo>
                  <a:pt x="162" y="74"/>
                  <a:pt x="162" y="74"/>
                  <a:pt x="162" y="74"/>
                </a:cubicBezTo>
                <a:cubicBezTo>
                  <a:pt x="165" y="68"/>
                  <a:pt x="168" y="61"/>
                  <a:pt x="168" y="53"/>
                </a:cubicBezTo>
                <a:cubicBezTo>
                  <a:pt x="168" y="30"/>
                  <a:pt x="150" y="12"/>
                  <a:pt x="128" y="12"/>
                </a:cubicBezTo>
                <a:cubicBezTo>
                  <a:pt x="121" y="12"/>
                  <a:pt x="114" y="14"/>
                  <a:pt x="108" y="18"/>
                </a:cubicBezTo>
                <a:cubicBezTo>
                  <a:pt x="106" y="18"/>
                  <a:pt x="105" y="17"/>
                  <a:pt x="103" y="17"/>
                </a:cubicBezTo>
                <a:cubicBezTo>
                  <a:pt x="102" y="17"/>
                  <a:pt x="101" y="17"/>
                  <a:pt x="100" y="17"/>
                </a:cubicBezTo>
                <a:cubicBezTo>
                  <a:pt x="100" y="17"/>
                  <a:pt x="100" y="17"/>
                  <a:pt x="100" y="17"/>
                </a:cubicBezTo>
                <a:cubicBezTo>
                  <a:pt x="101" y="9"/>
                  <a:pt x="95" y="2"/>
                  <a:pt x="87" y="1"/>
                </a:cubicBezTo>
                <a:cubicBezTo>
                  <a:pt x="78" y="0"/>
                  <a:pt x="71" y="6"/>
                  <a:pt x="70" y="13"/>
                </a:cubicBezTo>
                <a:cubicBezTo>
                  <a:pt x="70" y="14"/>
                  <a:pt x="70" y="14"/>
                  <a:pt x="70" y="15"/>
                </a:cubicBezTo>
                <a:cubicBezTo>
                  <a:pt x="59" y="14"/>
                  <a:pt x="49" y="21"/>
                  <a:pt x="47" y="30"/>
                </a:cubicBezTo>
                <a:cubicBezTo>
                  <a:pt x="47" y="31"/>
                  <a:pt x="47" y="32"/>
                  <a:pt x="47" y="32"/>
                </a:cubicBezTo>
                <a:cubicBezTo>
                  <a:pt x="44" y="33"/>
                  <a:pt x="41" y="34"/>
                  <a:pt x="38" y="35"/>
                </a:cubicBezTo>
                <a:cubicBezTo>
                  <a:pt x="37" y="36"/>
                  <a:pt x="36" y="37"/>
                  <a:pt x="36" y="37"/>
                </a:cubicBezTo>
                <a:cubicBezTo>
                  <a:pt x="36" y="37"/>
                  <a:pt x="36" y="37"/>
                  <a:pt x="36" y="37"/>
                </a:cubicBezTo>
                <a:cubicBezTo>
                  <a:pt x="31" y="31"/>
                  <a:pt x="21" y="29"/>
                  <a:pt x="14" y="33"/>
                </a:cubicBezTo>
                <a:cubicBezTo>
                  <a:pt x="7" y="37"/>
                  <a:pt x="5" y="46"/>
                  <a:pt x="10" y="52"/>
                </a:cubicBezTo>
                <a:cubicBezTo>
                  <a:pt x="10" y="53"/>
                  <a:pt x="11" y="53"/>
                  <a:pt x="11" y="53"/>
                </a:cubicBezTo>
                <a:cubicBezTo>
                  <a:pt x="2" y="59"/>
                  <a:pt x="0" y="70"/>
                  <a:pt x="6" y="78"/>
                </a:cubicBezTo>
                <a:cubicBezTo>
                  <a:pt x="8" y="81"/>
                  <a:pt x="11" y="83"/>
                  <a:pt x="14" y="84"/>
                </a:cubicBezTo>
                <a:cubicBezTo>
                  <a:pt x="14" y="85"/>
                  <a:pt x="14" y="86"/>
                  <a:pt x="14" y="86"/>
                </a:cubicBezTo>
                <a:cubicBezTo>
                  <a:pt x="14" y="113"/>
                  <a:pt x="36" y="136"/>
                  <a:pt x="64" y="136"/>
                </a:cubicBezTo>
                <a:cubicBezTo>
                  <a:pt x="66" y="136"/>
                  <a:pt x="68" y="135"/>
                  <a:pt x="70" y="135"/>
                </a:cubicBezTo>
                <a:cubicBezTo>
                  <a:pt x="75" y="136"/>
                  <a:pt x="79" y="137"/>
                  <a:pt x="84" y="136"/>
                </a:cubicBezTo>
                <a:cubicBezTo>
                  <a:pt x="84" y="157"/>
                  <a:pt x="86" y="210"/>
                  <a:pt x="86" y="210"/>
                </a:cubicBezTo>
                <a:cubicBezTo>
                  <a:pt x="86" y="217"/>
                  <a:pt x="78" y="227"/>
                  <a:pt x="66" y="228"/>
                </a:cubicBezTo>
                <a:cubicBezTo>
                  <a:pt x="96" y="228"/>
                  <a:pt x="96" y="228"/>
                  <a:pt x="96" y="22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76" name="Freeform 587"/>
          <p:cNvSpPr>
            <a:spLocks noChangeAspect="1"/>
          </p:cNvSpPr>
          <p:nvPr/>
        </p:nvSpPr>
        <p:spPr bwMode="auto">
          <a:xfrm>
            <a:off x="1665017" y="1502434"/>
            <a:ext cx="236939" cy="540000"/>
          </a:xfrm>
          <a:custGeom>
            <a:avLst/>
            <a:gdLst/>
            <a:ahLst/>
            <a:cxnLst>
              <a:cxn ang="0">
                <a:pos x="22" y="196"/>
              </a:cxn>
              <a:cxn ang="0">
                <a:pos x="20" y="54"/>
              </a:cxn>
              <a:cxn ang="0">
                <a:pos x="0" y="53"/>
              </a:cxn>
              <a:cxn ang="0">
                <a:pos x="26" y="0"/>
              </a:cxn>
              <a:cxn ang="0">
                <a:pos x="54" y="53"/>
              </a:cxn>
              <a:cxn ang="0">
                <a:pos x="34" y="53"/>
              </a:cxn>
              <a:cxn ang="0">
                <a:pos x="35" y="121"/>
              </a:cxn>
              <a:cxn ang="0">
                <a:pos x="59" y="102"/>
              </a:cxn>
              <a:cxn ang="0">
                <a:pos x="53" y="95"/>
              </a:cxn>
              <a:cxn ang="0">
                <a:pos x="86" y="84"/>
              </a:cxn>
              <a:cxn ang="0">
                <a:pos x="75" y="117"/>
              </a:cxn>
              <a:cxn ang="0">
                <a:pos x="69" y="111"/>
              </a:cxn>
              <a:cxn ang="0">
                <a:pos x="36" y="139"/>
              </a:cxn>
              <a:cxn ang="0">
                <a:pos x="36" y="194"/>
              </a:cxn>
            </a:cxnLst>
            <a:rect l="0" t="0" r="r" b="b"/>
            <a:pathLst>
              <a:path w="86" h="196">
                <a:moveTo>
                  <a:pt x="22" y="196"/>
                </a:moveTo>
                <a:lnTo>
                  <a:pt x="20" y="54"/>
                </a:lnTo>
                <a:lnTo>
                  <a:pt x="0" y="53"/>
                </a:lnTo>
                <a:lnTo>
                  <a:pt x="26" y="0"/>
                </a:lnTo>
                <a:lnTo>
                  <a:pt x="54" y="53"/>
                </a:lnTo>
                <a:lnTo>
                  <a:pt x="34" y="53"/>
                </a:lnTo>
                <a:lnTo>
                  <a:pt x="35" y="121"/>
                </a:lnTo>
                <a:lnTo>
                  <a:pt x="59" y="102"/>
                </a:lnTo>
                <a:lnTo>
                  <a:pt x="53" y="95"/>
                </a:lnTo>
                <a:lnTo>
                  <a:pt x="86" y="84"/>
                </a:lnTo>
                <a:lnTo>
                  <a:pt x="75" y="117"/>
                </a:lnTo>
                <a:lnTo>
                  <a:pt x="69" y="111"/>
                </a:lnTo>
                <a:lnTo>
                  <a:pt x="36" y="139"/>
                </a:lnTo>
                <a:lnTo>
                  <a:pt x="36" y="194"/>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77" name="Rectangle 591"/>
          <p:cNvSpPr>
            <a:spLocks noChangeArrowheads="1"/>
          </p:cNvSpPr>
          <p:nvPr/>
        </p:nvSpPr>
        <p:spPr bwMode="auto">
          <a:xfrm>
            <a:off x="1478916" y="2159444"/>
            <a:ext cx="609141"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a:solidFill>
                  <a:srgbClr val="000000"/>
                </a:solidFill>
                <a:latin typeface="+mj-lt"/>
                <a:cs typeface="Arial" pitchFamily="34" charset="0"/>
              </a:rPr>
              <a:t>Direction</a:t>
            </a:r>
            <a:endParaRPr lang="fr-FR" sz="1100">
              <a:latin typeface="+mj-lt"/>
              <a:cs typeface="Arial" pitchFamily="34" charset="0"/>
            </a:endParaRPr>
          </a:p>
        </p:txBody>
      </p:sp>
      <p:sp>
        <p:nvSpPr>
          <p:cNvPr id="178" name="Rectangle 595"/>
          <p:cNvSpPr>
            <a:spLocks noChangeArrowheads="1"/>
          </p:cNvSpPr>
          <p:nvPr/>
        </p:nvSpPr>
        <p:spPr bwMode="auto">
          <a:xfrm>
            <a:off x="2424476" y="2159444"/>
            <a:ext cx="298159"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Tree</a:t>
            </a:r>
            <a:endParaRPr lang="fr-FR" sz="1100">
              <a:latin typeface="+mj-lt"/>
              <a:cs typeface="Arial" pitchFamily="34" charset="0"/>
            </a:endParaRPr>
          </a:p>
        </p:txBody>
      </p:sp>
      <p:grpSp>
        <p:nvGrpSpPr>
          <p:cNvPr id="12" name="Groupe 178"/>
          <p:cNvGrpSpPr>
            <a:grpSpLocks noChangeAspect="1"/>
          </p:cNvGrpSpPr>
          <p:nvPr/>
        </p:nvGrpSpPr>
        <p:grpSpPr>
          <a:xfrm>
            <a:off x="1604418" y="2693747"/>
            <a:ext cx="358134" cy="540000"/>
            <a:chOff x="617848" y="2310473"/>
            <a:chExt cx="203200" cy="306388"/>
          </a:xfrm>
        </p:grpSpPr>
        <p:sp>
          <p:nvSpPr>
            <p:cNvPr id="180" name="Freeform 647"/>
            <p:cNvSpPr>
              <a:spLocks noEditPoints="1"/>
            </p:cNvSpPr>
            <p:nvPr/>
          </p:nvSpPr>
          <p:spPr bwMode="auto">
            <a:xfrm>
              <a:off x="617848" y="2310473"/>
              <a:ext cx="203200" cy="306388"/>
            </a:xfrm>
            <a:custGeom>
              <a:avLst/>
              <a:gdLst/>
              <a:ahLst/>
              <a:cxnLst>
                <a:cxn ang="0">
                  <a:pos x="27" y="82"/>
                </a:cxn>
                <a:cxn ang="0">
                  <a:pos x="27" y="48"/>
                </a:cxn>
                <a:cxn ang="0">
                  <a:pos x="77" y="0"/>
                </a:cxn>
                <a:cxn ang="0">
                  <a:pos x="126" y="48"/>
                </a:cxn>
                <a:cxn ang="0">
                  <a:pos x="126" y="82"/>
                </a:cxn>
                <a:cxn ang="0">
                  <a:pos x="40" y="185"/>
                </a:cxn>
                <a:cxn ang="0">
                  <a:pos x="153" y="185"/>
                </a:cxn>
                <a:cxn ang="0">
                  <a:pos x="153" y="82"/>
                </a:cxn>
                <a:cxn ang="0">
                  <a:pos x="0" y="82"/>
                </a:cxn>
                <a:cxn ang="0">
                  <a:pos x="0" y="228"/>
                </a:cxn>
                <a:cxn ang="0">
                  <a:pos x="142" y="228"/>
                </a:cxn>
              </a:cxnLst>
              <a:rect l="0" t="0" r="r" b="b"/>
              <a:pathLst>
                <a:path w="153" h="229">
                  <a:moveTo>
                    <a:pt x="27" y="82"/>
                  </a:moveTo>
                  <a:cubicBezTo>
                    <a:pt x="27" y="48"/>
                    <a:pt x="27" y="48"/>
                    <a:pt x="27" y="48"/>
                  </a:cubicBezTo>
                  <a:cubicBezTo>
                    <a:pt x="27" y="22"/>
                    <a:pt x="49" y="0"/>
                    <a:pt x="77" y="0"/>
                  </a:cubicBezTo>
                  <a:cubicBezTo>
                    <a:pt x="104" y="0"/>
                    <a:pt x="126" y="22"/>
                    <a:pt x="126" y="48"/>
                  </a:cubicBezTo>
                  <a:cubicBezTo>
                    <a:pt x="126" y="82"/>
                    <a:pt x="126" y="82"/>
                    <a:pt x="126" y="82"/>
                  </a:cubicBezTo>
                  <a:moveTo>
                    <a:pt x="40" y="185"/>
                  </a:moveTo>
                  <a:cubicBezTo>
                    <a:pt x="153" y="185"/>
                    <a:pt x="153" y="185"/>
                    <a:pt x="153" y="185"/>
                  </a:cubicBezTo>
                  <a:cubicBezTo>
                    <a:pt x="153" y="82"/>
                    <a:pt x="153" y="82"/>
                    <a:pt x="153" y="82"/>
                  </a:cubicBezTo>
                  <a:cubicBezTo>
                    <a:pt x="0" y="82"/>
                    <a:pt x="0" y="82"/>
                    <a:pt x="0" y="82"/>
                  </a:cubicBezTo>
                  <a:cubicBezTo>
                    <a:pt x="0" y="82"/>
                    <a:pt x="0" y="229"/>
                    <a:pt x="0" y="228"/>
                  </a:cubicBezTo>
                  <a:cubicBezTo>
                    <a:pt x="1" y="227"/>
                    <a:pt x="142" y="228"/>
                    <a:pt x="142" y="22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81" name="Freeform 648"/>
            <p:cNvSpPr>
              <a:spLocks/>
            </p:cNvSpPr>
            <p:nvPr/>
          </p:nvSpPr>
          <p:spPr bwMode="auto">
            <a:xfrm>
              <a:off x="698810" y="2446998"/>
              <a:ext cx="34925" cy="65088"/>
            </a:xfrm>
            <a:custGeom>
              <a:avLst/>
              <a:gdLst/>
              <a:ahLst/>
              <a:cxnLst>
                <a:cxn ang="0">
                  <a:pos x="26" y="13"/>
                </a:cxn>
                <a:cxn ang="0">
                  <a:pos x="13" y="0"/>
                </a:cxn>
                <a:cxn ang="0">
                  <a:pos x="0" y="13"/>
                </a:cxn>
                <a:cxn ang="0">
                  <a:pos x="9" y="26"/>
                </a:cxn>
                <a:cxn ang="0">
                  <a:pos x="5" y="49"/>
                </a:cxn>
                <a:cxn ang="0">
                  <a:pos x="21" y="49"/>
                </a:cxn>
                <a:cxn ang="0">
                  <a:pos x="17" y="26"/>
                </a:cxn>
                <a:cxn ang="0">
                  <a:pos x="26" y="13"/>
                </a:cxn>
              </a:cxnLst>
              <a:rect l="0" t="0" r="r" b="b"/>
              <a:pathLst>
                <a:path w="26" h="49">
                  <a:moveTo>
                    <a:pt x="26" y="13"/>
                  </a:moveTo>
                  <a:cubicBezTo>
                    <a:pt x="26" y="6"/>
                    <a:pt x="20" y="0"/>
                    <a:pt x="13" y="0"/>
                  </a:cubicBezTo>
                  <a:cubicBezTo>
                    <a:pt x="6" y="0"/>
                    <a:pt x="0" y="6"/>
                    <a:pt x="0" y="13"/>
                  </a:cubicBezTo>
                  <a:cubicBezTo>
                    <a:pt x="0" y="19"/>
                    <a:pt x="4" y="24"/>
                    <a:pt x="9" y="26"/>
                  </a:cubicBezTo>
                  <a:cubicBezTo>
                    <a:pt x="5" y="49"/>
                    <a:pt x="5" y="49"/>
                    <a:pt x="5" y="49"/>
                  </a:cubicBezTo>
                  <a:cubicBezTo>
                    <a:pt x="21" y="49"/>
                    <a:pt x="21" y="49"/>
                    <a:pt x="21" y="49"/>
                  </a:cubicBezTo>
                  <a:cubicBezTo>
                    <a:pt x="17" y="26"/>
                    <a:pt x="17" y="26"/>
                    <a:pt x="17" y="26"/>
                  </a:cubicBezTo>
                  <a:cubicBezTo>
                    <a:pt x="22" y="24"/>
                    <a:pt x="26" y="19"/>
                    <a:pt x="26" y="13"/>
                  </a:cubicBezTo>
                  <a:close/>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182" name="Rectangle 772"/>
          <p:cNvSpPr>
            <a:spLocks noChangeArrowheads="1"/>
          </p:cNvSpPr>
          <p:nvPr/>
        </p:nvSpPr>
        <p:spPr bwMode="auto">
          <a:xfrm>
            <a:off x="1516588" y="3316722"/>
            <a:ext cx="533800" cy="33855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a:solidFill>
                  <a:srgbClr val="000000"/>
                </a:solidFill>
                <a:latin typeface="+mj-lt"/>
                <a:cs typeface="Arial" pitchFamily="34" charset="0"/>
              </a:rPr>
              <a:t>Security</a:t>
            </a:r>
          </a:p>
          <a:p>
            <a:pPr algn="ctr" fontAlgn="base">
              <a:spcBef>
                <a:spcPct val="0"/>
              </a:spcBef>
              <a:spcAft>
                <a:spcPct val="0"/>
              </a:spcAft>
            </a:pPr>
            <a:r>
              <a:rPr lang="fr-FR" sz="1100">
                <a:solidFill>
                  <a:srgbClr val="000000"/>
                </a:solidFill>
                <a:latin typeface="+mj-lt"/>
                <a:cs typeface="Arial" pitchFamily="34" charset="0"/>
              </a:rPr>
              <a:t>/ </a:t>
            </a:r>
            <a:r>
              <a:rPr lang="fr-FR" sz="1100" err="1">
                <a:solidFill>
                  <a:srgbClr val="000000"/>
                </a:solidFill>
                <a:latin typeface="+mj-lt"/>
                <a:cs typeface="Arial" pitchFamily="34" charset="0"/>
              </a:rPr>
              <a:t>Lock</a:t>
            </a:r>
            <a:endParaRPr lang="fr-FR" sz="1100">
              <a:latin typeface="+mj-lt"/>
              <a:cs typeface="Arial" pitchFamily="34" charset="0"/>
            </a:endParaRPr>
          </a:p>
        </p:txBody>
      </p:sp>
      <p:grpSp>
        <p:nvGrpSpPr>
          <p:cNvPr id="15" name="Groupe 182"/>
          <p:cNvGrpSpPr>
            <a:grpSpLocks noChangeAspect="1"/>
          </p:cNvGrpSpPr>
          <p:nvPr/>
        </p:nvGrpSpPr>
        <p:grpSpPr>
          <a:xfrm>
            <a:off x="2366965" y="2687397"/>
            <a:ext cx="641778" cy="540000"/>
            <a:chOff x="990909" y="2313645"/>
            <a:chExt cx="360363" cy="303214"/>
          </a:xfrm>
        </p:grpSpPr>
        <p:sp>
          <p:nvSpPr>
            <p:cNvPr id="184" name="Freeform 776"/>
            <p:cNvSpPr>
              <a:spLocks noChangeAspect="1"/>
            </p:cNvSpPr>
            <p:nvPr/>
          </p:nvSpPr>
          <p:spPr bwMode="auto">
            <a:xfrm>
              <a:off x="1235384" y="2362858"/>
              <a:ext cx="33338" cy="125413"/>
            </a:xfrm>
            <a:custGeom>
              <a:avLst/>
              <a:gdLst/>
              <a:ahLst/>
              <a:cxnLst>
                <a:cxn ang="0">
                  <a:pos x="22" y="94"/>
                </a:cxn>
                <a:cxn ang="0">
                  <a:pos x="25" y="67"/>
                </a:cxn>
                <a:cxn ang="0">
                  <a:pos x="0" y="0"/>
                </a:cxn>
              </a:cxnLst>
              <a:rect l="0" t="0" r="r" b="b"/>
              <a:pathLst>
                <a:path w="25" h="94">
                  <a:moveTo>
                    <a:pt x="22" y="94"/>
                  </a:moveTo>
                  <a:cubicBezTo>
                    <a:pt x="24" y="85"/>
                    <a:pt x="25" y="76"/>
                    <a:pt x="25" y="67"/>
                  </a:cubicBezTo>
                  <a:cubicBezTo>
                    <a:pt x="25" y="42"/>
                    <a:pt x="16" y="18"/>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85" name="Freeform 777"/>
            <p:cNvSpPr>
              <a:spLocks/>
            </p:cNvSpPr>
            <p:nvPr/>
          </p:nvSpPr>
          <p:spPr bwMode="auto">
            <a:xfrm>
              <a:off x="990909" y="2364445"/>
              <a:ext cx="139700" cy="227013"/>
            </a:xfrm>
            <a:custGeom>
              <a:avLst/>
              <a:gdLst/>
              <a:ahLst/>
              <a:cxnLst>
                <a:cxn ang="0">
                  <a:pos x="24" y="0"/>
                </a:cxn>
                <a:cxn ang="0">
                  <a:pos x="0" y="66"/>
                </a:cxn>
                <a:cxn ang="0">
                  <a:pos x="104" y="170"/>
                </a:cxn>
              </a:cxnLst>
              <a:rect l="0" t="0" r="r" b="b"/>
              <a:pathLst>
                <a:path w="104" h="170">
                  <a:moveTo>
                    <a:pt x="24" y="0"/>
                  </a:moveTo>
                  <a:cubicBezTo>
                    <a:pt x="9" y="18"/>
                    <a:pt x="0" y="41"/>
                    <a:pt x="0" y="66"/>
                  </a:cubicBezTo>
                  <a:cubicBezTo>
                    <a:pt x="0" y="124"/>
                    <a:pt x="47" y="170"/>
                    <a:pt x="104" y="17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86" name="Freeform 778"/>
            <p:cNvSpPr>
              <a:spLocks/>
            </p:cNvSpPr>
            <p:nvPr/>
          </p:nvSpPr>
          <p:spPr bwMode="auto">
            <a:xfrm>
              <a:off x="1022659" y="2313645"/>
              <a:ext cx="212725" cy="50800"/>
            </a:xfrm>
            <a:custGeom>
              <a:avLst/>
              <a:gdLst/>
              <a:ahLst/>
              <a:cxnLst>
                <a:cxn ang="0">
                  <a:pos x="0" y="38"/>
                </a:cxn>
                <a:cxn ang="0">
                  <a:pos x="80" y="0"/>
                </a:cxn>
                <a:cxn ang="0">
                  <a:pos x="159" y="37"/>
                </a:cxn>
              </a:cxnLst>
              <a:rect l="0" t="0" r="r" b="b"/>
              <a:pathLst>
                <a:path w="159" h="38">
                  <a:moveTo>
                    <a:pt x="0" y="38"/>
                  </a:moveTo>
                  <a:cubicBezTo>
                    <a:pt x="19" y="15"/>
                    <a:pt x="48" y="0"/>
                    <a:pt x="80" y="0"/>
                  </a:cubicBezTo>
                  <a:cubicBezTo>
                    <a:pt x="112" y="0"/>
                    <a:pt x="140" y="15"/>
                    <a:pt x="159" y="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87" name="Freeform 779"/>
            <p:cNvSpPr>
              <a:spLocks/>
            </p:cNvSpPr>
            <p:nvPr/>
          </p:nvSpPr>
          <p:spPr bwMode="auto">
            <a:xfrm>
              <a:off x="1022659" y="2362858"/>
              <a:ext cx="212725" cy="25400"/>
            </a:xfrm>
            <a:custGeom>
              <a:avLst/>
              <a:gdLst/>
              <a:ahLst/>
              <a:cxnLst>
                <a:cxn ang="0">
                  <a:pos x="0" y="1"/>
                </a:cxn>
                <a:cxn ang="0">
                  <a:pos x="80" y="19"/>
                </a:cxn>
                <a:cxn ang="0">
                  <a:pos x="159" y="0"/>
                </a:cxn>
              </a:cxnLst>
              <a:rect l="0" t="0" r="r" b="b"/>
              <a:pathLst>
                <a:path w="159" h="19">
                  <a:moveTo>
                    <a:pt x="0" y="1"/>
                  </a:moveTo>
                  <a:cubicBezTo>
                    <a:pt x="19" y="12"/>
                    <a:pt x="48" y="19"/>
                    <a:pt x="80" y="19"/>
                  </a:cubicBezTo>
                  <a:cubicBezTo>
                    <a:pt x="112" y="19"/>
                    <a:pt x="140" y="11"/>
                    <a:pt x="159"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88" name="Freeform 780"/>
            <p:cNvSpPr>
              <a:spLocks/>
            </p:cNvSpPr>
            <p:nvPr/>
          </p:nvSpPr>
          <p:spPr bwMode="auto">
            <a:xfrm>
              <a:off x="1022659" y="2516845"/>
              <a:ext cx="136525" cy="25400"/>
            </a:xfrm>
            <a:custGeom>
              <a:avLst/>
              <a:gdLst/>
              <a:ahLst/>
              <a:cxnLst>
                <a:cxn ang="0">
                  <a:pos x="102" y="1"/>
                </a:cxn>
                <a:cxn ang="0">
                  <a:pos x="80" y="0"/>
                </a:cxn>
                <a:cxn ang="0">
                  <a:pos x="0" y="18"/>
                </a:cxn>
              </a:cxnLst>
              <a:rect l="0" t="0" r="r" b="b"/>
              <a:pathLst>
                <a:path w="102" h="18">
                  <a:moveTo>
                    <a:pt x="102" y="1"/>
                  </a:moveTo>
                  <a:cubicBezTo>
                    <a:pt x="95" y="0"/>
                    <a:pt x="88" y="0"/>
                    <a:pt x="80" y="0"/>
                  </a:cubicBezTo>
                  <a:cubicBezTo>
                    <a:pt x="48" y="0"/>
                    <a:pt x="19" y="7"/>
                    <a:pt x="0" y="1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89" name="Freeform 781"/>
            <p:cNvSpPr>
              <a:spLocks/>
            </p:cNvSpPr>
            <p:nvPr/>
          </p:nvSpPr>
          <p:spPr bwMode="auto">
            <a:xfrm>
              <a:off x="1055997" y="2313645"/>
              <a:ext cx="149225" cy="277813"/>
            </a:xfrm>
            <a:custGeom>
              <a:avLst/>
              <a:gdLst/>
              <a:ahLst/>
              <a:cxnLst>
                <a:cxn ang="0">
                  <a:pos x="55" y="208"/>
                </a:cxn>
                <a:cxn ang="0">
                  <a:pos x="0" y="104"/>
                </a:cxn>
                <a:cxn ang="0">
                  <a:pos x="56" y="0"/>
                </a:cxn>
                <a:cxn ang="0">
                  <a:pos x="112" y="104"/>
                </a:cxn>
                <a:cxn ang="0">
                  <a:pos x="110" y="131"/>
                </a:cxn>
              </a:cxnLst>
              <a:rect l="0" t="0" r="r" b="b"/>
              <a:pathLst>
                <a:path w="112" h="208">
                  <a:moveTo>
                    <a:pt x="55" y="208"/>
                  </a:moveTo>
                  <a:cubicBezTo>
                    <a:pt x="24" y="207"/>
                    <a:pt x="0" y="161"/>
                    <a:pt x="0" y="104"/>
                  </a:cubicBezTo>
                  <a:cubicBezTo>
                    <a:pt x="0" y="47"/>
                    <a:pt x="25" y="0"/>
                    <a:pt x="56" y="0"/>
                  </a:cubicBezTo>
                  <a:cubicBezTo>
                    <a:pt x="87" y="0"/>
                    <a:pt x="112" y="47"/>
                    <a:pt x="112" y="104"/>
                  </a:cubicBezTo>
                  <a:cubicBezTo>
                    <a:pt x="112" y="114"/>
                    <a:pt x="112" y="123"/>
                    <a:pt x="110" y="13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90" name="Freeform 782"/>
            <p:cNvSpPr>
              <a:spLocks/>
            </p:cNvSpPr>
            <p:nvPr/>
          </p:nvSpPr>
          <p:spPr bwMode="auto">
            <a:xfrm>
              <a:off x="1202047" y="2488270"/>
              <a:ext cx="1588" cy="3175"/>
            </a:xfrm>
            <a:custGeom>
              <a:avLst/>
              <a:gdLst/>
              <a:ahLst/>
              <a:cxnLst>
                <a:cxn ang="0">
                  <a:pos x="0" y="0"/>
                </a:cxn>
                <a:cxn ang="0">
                  <a:pos x="0" y="2"/>
                </a:cxn>
              </a:cxnLst>
              <a:rect l="0" t="0" r="r" b="b"/>
              <a:pathLst>
                <a:path h="2">
                  <a:moveTo>
                    <a:pt x="0" y="0"/>
                  </a:moveTo>
                  <a:cubicBezTo>
                    <a:pt x="0" y="1"/>
                    <a:pt x="0" y="1"/>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91" name="Line 783"/>
            <p:cNvSpPr>
              <a:spLocks noChangeShapeType="1"/>
            </p:cNvSpPr>
            <p:nvPr/>
          </p:nvSpPr>
          <p:spPr bwMode="auto">
            <a:xfrm>
              <a:off x="990909" y="2451758"/>
              <a:ext cx="277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92" name="Line 784"/>
            <p:cNvSpPr>
              <a:spLocks noChangeShapeType="1"/>
            </p:cNvSpPr>
            <p:nvPr/>
          </p:nvSpPr>
          <p:spPr bwMode="auto">
            <a:xfrm flipV="1">
              <a:off x="1130609" y="2313645"/>
              <a:ext cx="1588" cy="23653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93" name="Freeform 785"/>
            <p:cNvSpPr>
              <a:spLocks/>
            </p:cNvSpPr>
            <p:nvPr/>
          </p:nvSpPr>
          <p:spPr bwMode="auto">
            <a:xfrm>
              <a:off x="1127434" y="2489859"/>
              <a:ext cx="223838" cy="127000"/>
            </a:xfrm>
            <a:custGeom>
              <a:avLst/>
              <a:gdLst/>
              <a:ahLst/>
              <a:cxnLst>
                <a:cxn ang="0">
                  <a:pos x="94" y="67"/>
                </a:cxn>
                <a:cxn ang="0">
                  <a:pos x="130" y="95"/>
                </a:cxn>
                <a:cxn ang="0">
                  <a:pos x="167" y="58"/>
                </a:cxn>
                <a:cxn ang="0">
                  <a:pos x="150" y="27"/>
                </a:cxn>
                <a:cxn ang="0">
                  <a:pos x="116" y="11"/>
                </a:cxn>
                <a:cxn ang="0">
                  <a:pos x="103" y="0"/>
                </a:cxn>
                <a:cxn ang="0">
                  <a:pos x="92" y="7"/>
                </a:cxn>
                <a:cxn ang="0">
                  <a:pos x="82" y="7"/>
                </a:cxn>
                <a:cxn ang="0">
                  <a:pos x="75" y="7"/>
                </a:cxn>
                <a:cxn ang="0">
                  <a:pos x="64" y="0"/>
                </a:cxn>
                <a:cxn ang="0">
                  <a:pos x="51" y="11"/>
                </a:cxn>
                <a:cxn ang="0">
                  <a:pos x="10" y="33"/>
                </a:cxn>
                <a:cxn ang="0">
                  <a:pos x="0" y="58"/>
                </a:cxn>
                <a:cxn ang="0">
                  <a:pos x="37" y="95"/>
                </a:cxn>
                <a:cxn ang="0">
                  <a:pos x="73" y="67"/>
                </a:cxn>
              </a:cxnLst>
              <a:rect l="0" t="0" r="r" b="b"/>
              <a:pathLst>
                <a:path w="167" h="95">
                  <a:moveTo>
                    <a:pt x="94" y="67"/>
                  </a:moveTo>
                  <a:cubicBezTo>
                    <a:pt x="98" y="83"/>
                    <a:pt x="113" y="95"/>
                    <a:pt x="130" y="95"/>
                  </a:cubicBezTo>
                  <a:cubicBezTo>
                    <a:pt x="150" y="95"/>
                    <a:pt x="167" y="79"/>
                    <a:pt x="167" y="58"/>
                  </a:cubicBezTo>
                  <a:cubicBezTo>
                    <a:pt x="167" y="45"/>
                    <a:pt x="160" y="34"/>
                    <a:pt x="150" y="27"/>
                  </a:cubicBezTo>
                  <a:cubicBezTo>
                    <a:pt x="143" y="22"/>
                    <a:pt x="132" y="15"/>
                    <a:pt x="116" y="11"/>
                  </a:cubicBezTo>
                  <a:cubicBezTo>
                    <a:pt x="115" y="5"/>
                    <a:pt x="110" y="0"/>
                    <a:pt x="103" y="0"/>
                  </a:cubicBezTo>
                  <a:cubicBezTo>
                    <a:pt x="98" y="0"/>
                    <a:pt x="94" y="3"/>
                    <a:pt x="92" y="7"/>
                  </a:cubicBezTo>
                  <a:cubicBezTo>
                    <a:pt x="89" y="7"/>
                    <a:pt x="85" y="7"/>
                    <a:pt x="82" y="7"/>
                  </a:cubicBezTo>
                  <a:cubicBezTo>
                    <a:pt x="80" y="7"/>
                    <a:pt x="77" y="7"/>
                    <a:pt x="75" y="7"/>
                  </a:cubicBezTo>
                  <a:cubicBezTo>
                    <a:pt x="73" y="3"/>
                    <a:pt x="69" y="0"/>
                    <a:pt x="64" y="0"/>
                  </a:cubicBezTo>
                  <a:cubicBezTo>
                    <a:pt x="57" y="0"/>
                    <a:pt x="52" y="5"/>
                    <a:pt x="51" y="11"/>
                  </a:cubicBezTo>
                  <a:cubicBezTo>
                    <a:pt x="23" y="18"/>
                    <a:pt x="12" y="32"/>
                    <a:pt x="10" y="33"/>
                  </a:cubicBezTo>
                  <a:cubicBezTo>
                    <a:pt x="4" y="40"/>
                    <a:pt x="0" y="49"/>
                    <a:pt x="0" y="58"/>
                  </a:cubicBezTo>
                  <a:cubicBezTo>
                    <a:pt x="0" y="79"/>
                    <a:pt x="17" y="95"/>
                    <a:pt x="37" y="95"/>
                  </a:cubicBezTo>
                  <a:cubicBezTo>
                    <a:pt x="54" y="95"/>
                    <a:pt x="69" y="83"/>
                    <a:pt x="73" y="6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94" name="Freeform 786"/>
            <p:cNvSpPr>
              <a:spLocks/>
            </p:cNvSpPr>
            <p:nvPr/>
          </p:nvSpPr>
          <p:spPr bwMode="auto">
            <a:xfrm>
              <a:off x="1222684" y="2532721"/>
              <a:ext cx="31750" cy="28575"/>
            </a:xfrm>
            <a:custGeom>
              <a:avLst/>
              <a:gdLst/>
              <a:ahLst/>
              <a:cxnLst>
                <a:cxn ang="0">
                  <a:pos x="12" y="0"/>
                </a:cxn>
                <a:cxn ang="0">
                  <a:pos x="24" y="12"/>
                </a:cxn>
                <a:cxn ang="0">
                  <a:pos x="22" y="21"/>
                </a:cxn>
                <a:cxn ang="0">
                  <a:pos x="2" y="21"/>
                </a:cxn>
                <a:cxn ang="0">
                  <a:pos x="0" y="12"/>
                </a:cxn>
                <a:cxn ang="0">
                  <a:pos x="12" y="0"/>
                </a:cxn>
              </a:cxnLst>
              <a:rect l="0" t="0" r="r" b="b"/>
              <a:pathLst>
                <a:path w="24" h="21">
                  <a:moveTo>
                    <a:pt x="12" y="0"/>
                  </a:moveTo>
                  <a:cubicBezTo>
                    <a:pt x="19" y="0"/>
                    <a:pt x="24" y="6"/>
                    <a:pt x="24" y="12"/>
                  </a:cubicBezTo>
                  <a:cubicBezTo>
                    <a:pt x="24" y="13"/>
                    <a:pt x="23" y="19"/>
                    <a:pt x="22" y="21"/>
                  </a:cubicBezTo>
                  <a:cubicBezTo>
                    <a:pt x="2" y="21"/>
                    <a:pt x="2" y="21"/>
                    <a:pt x="2" y="21"/>
                  </a:cubicBezTo>
                  <a:cubicBezTo>
                    <a:pt x="2" y="18"/>
                    <a:pt x="0" y="12"/>
                    <a:pt x="0" y="12"/>
                  </a:cubicBezTo>
                  <a:cubicBezTo>
                    <a:pt x="0" y="6"/>
                    <a:pt x="6" y="0"/>
                    <a:pt x="12" y="0"/>
                  </a:cubicBez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95" name="Oval 787"/>
            <p:cNvSpPr>
              <a:spLocks noChangeArrowheads="1"/>
            </p:cNvSpPr>
            <p:nvPr/>
          </p:nvSpPr>
          <p:spPr bwMode="auto">
            <a:xfrm>
              <a:off x="1143309" y="2532721"/>
              <a:ext cx="66675" cy="68263"/>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96" name="Oval 788"/>
            <p:cNvSpPr>
              <a:spLocks noChangeArrowheads="1"/>
            </p:cNvSpPr>
            <p:nvPr/>
          </p:nvSpPr>
          <p:spPr bwMode="auto">
            <a:xfrm>
              <a:off x="1267135" y="2534311"/>
              <a:ext cx="66675" cy="66675"/>
            </a:xfrm>
            <a:prstGeom prst="ellips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197" name="Rectangle 789"/>
          <p:cNvSpPr>
            <a:spLocks noChangeArrowheads="1"/>
          </p:cNvSpPr>
          <p:nvPr/>
        </p:nvSpPr>
        <p:spPr bwMode="auto">
          <a:xfrm>
            <a:off x="2327983" y="3316723"/>
            <a:ext cx="719749"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Big</a:t>
            </a:r>
            <a:r>
              <a:rPr lang="fr-FR" sz="1100">
                <a:solidFill>
                  <a:srgbClr val="000000"/>
                </a:solidFill>
                <a:latin typeface="+mj-lt"/>
                <a:cs typeface="Arial" pitchFamily="34" charset="0"/>
              </a:rPr>
              <a:t> Picture</a:t>
            </a:r>
            <a:endParaRPr lang="fr-FR" sz="1100">
              <a:latin typeface="+mj-lt"/>
              <a:cs typeface="Arial" pitchFamily="34" charset="0"/>
            </a:endParaRPr>
          </a:p>
        </p:txBody>
      </p:sp>
      <p:grpSp>
        <p:nvGrpSpPr>
          <p:cNvPr id="16" name="Groupe 197"/>
          <p:cNvGrpSpPr>
            <a:grpSpLocks noChangeAspect="1"/>
          </p:cNvGrpSpPr>
          <p:nvPr/>
        </p:nvGrpSpPr>
        <p:grpSpPr>
          <a:xfrm>
            <a:off x="9358783" y="1664455"/>
            <a:ext cx="540000" cy="421258"/>
            <a:chOff x="581335" y="2861335"/>
            <a:chExt cx="303212" cy="236538"/>
          </a:xfrm>
        </p:grpSpPr>
        <p:sp>
          <p:nvSpPr>
            <p:cNvPr id="199" name="Freeform 898"/>
            <p:cNvSpPr>
              <a:spLocks noChangeAspect="1" noEditPoints="1"/>
            </p:cNvSpPr>
            <p:nvPr/>
          </p:nvSpPr>
          <p:spPr bwMode="auto">
            <a:xfrm>
              <a:off x="581335" y="2861335"/>
              <a:ext cx="152400" cy="220663"/>
            </a:xfrm>
            <a:custGeom>
              <a:avLst/>
              <a:gdLst/>
              <a:ahLst/>
              <a:cxnLst>
                <a:cxn ang="0">
                  <a:pos x="1" y="166"/>
                </a:cxn>
                <a:cxn ang="0">
                  <a:pos x="1" y="20"/>
                </a:cxn>
                <a:cxn ang="0">
                  <a:pos x="1" y="20"/>
                </a:cxn>
                <a:cxn ang="0">
                  <a:pos x="53" y="0"/>
                </a:cxn>
                <a:cxn ang="0">
                  <a:pos x="114" y="19"/>
                </a:cxn>
                <a:cxn ang="0">
                  <a:pos x="108" y="160"/>
                </a:cxn>
                <a:cxn ang="0">
                  <a:pos x="56" y="143"/>
                </a:cxn>
                <a:cxn ang="0">
                  <a:pos x="5" y="161"/>
                </a:cxn>
              </a:cxnLst>
              <a:rect l="0" t="0" r="r" b="b"/>
              <a:pathLst>
                <a:path w="114" h="166">
                  <a:moveTo>
                    <a:pt x="1" y="166"/>
                  </a:moveTo>
                  <a:cubicBezTo>
                    <a:pt x="1" y="20"/>
                    <a:pt x="1" y="20"/>
                    <a:pt x="1" y="20"/>
                  </a:cubicBezTo>
                  <a:cubicBezTo>
                    <a:pt x="1" y="19"/>
                    <a:pt x="0" y="20"/>
                    <a:pt x="1" y="20"/>
                  </a:cubicBezTo>
                  <a:cubicBezTo>
                    <a:pt x="1" y="19"/>
                    <a:pt x="20" y="0"/>
                    <a:pt x="53" y="0"/>
                  </a:cubicBezTo>
                  <a:cubicBezTo>
                    <a:pt x="71" y="0"/>
                    <a:pt x="94" y="8"/>
                    <a:pt x="114" y="19"/>
                  </a:cubicBezTo>
                  <a:moveTo>
                    <a:pt x="108" y="160"/>
                  </a:moveTo>
                  <a:cubicBezTo>
                    <a:pt x="91" y="148"/>
                    <a:pt x="73" y="143"/>
                    <a:pt x="56" y="143"/>
                  </a:cubicBezTo>
                  <a:cubicBezTo>
                    <a:pt x="26" y="143"/>
                    <a:pt x="6" y="161"/>
                    <a:pt x="5" y="161"/>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00" name="Freeform 899"/>
            <p:cNvSpPr>
              <a:spLocks/>
            </p:cNvSpPr>
            <p:nvPr/>
          </p:nvSpPr>
          <p:spPr bwMode="auto">
            <a:xfrm>
              <a:off x="581335" y="3081998"/>
              <a:ext cx="173038" cy="15875"/>
            </a:xfrm>
            <a:custGeom>
              <a:avLst/>
              <a:gdLst/>
              <a:ahLst/>
              <a:cxnLst>
                <a:cxn ang="0">
                  <a:pos x="0" y="0"/>
                </a:cxn>
                <a:cxn ang="0">
                  <a:pos x="97" y="0"/>
                </a:cxn>
                <a:cxn ang="0">
                  <a:pos x="100" y="2"/>
                </a:cxn>
                <a:cxn ang="0">
                  <a:pos x="114" y="11"/>
                </a:cxn>
                <a:cxn ang="0">
                  <a:pos x="127" y="3"/>
                </a:cxn>
                <a:cxn ang="0">
                  <a:pos x="130" y="0"/>
                </a:cxn>
              </a:cxnLst>
              <a:rect l="0" t="0" r="r" b="b"/>
              <a:pathLst>
                <a:path w="130" h="11">
                  <a:moveTo>
                    <a:pt x="0" y="0"/>
                  </a:moveTo>
                  <a:cubicBezTo>
                    <a:pt x="97" y="0"/>
                    <a:pt x="97" y="0"/>
                    <a:pt x="97" y="0"/>
                  </a:cubicBezTo>
                  <a:cubicBezTo>
                    <a:pt x="99" y="0"/>
                    <a:pt x="100" y="1"/>
                    <a:pt x="100" y="2"/>
                  </a:cubicBezTo>
                  <a:cubicBezTo>
                    <a:pt x="100" y="3"/>
                    <a:pt x="102" y="11"/>
                    <a:pt x="114" y="11"/>
                  </a:cubicBezTo>
                  <a:cubicBezTo>
                    <a:pt x="126" y="11"/>
                    <a:pt x="127" y="4"/>
                    <a:pt x="127" y="3"/>
                  </a:cubicBezTo>
                  <a:cubicBezTo>
                    <a:pt x="127" y="1"/>
                    <a:pt x="128" y="0"/>
                    <a:pt x="130" y="0"/>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01" name="Line 900"/>
            <p:cNvSpPr>
              <a:spLocks noChangeShapeType="1"/>
            </p:cNvSpPr>
            <p:nvPr/>
          </p:nvSpPr>
          <p:spPr bwMode="auto">
            <a:xfrm>
              <a:off x="754372" y="3081998"/>
              <a:ext cx="127000" cy="1588"/>
            </a:xfrm>
            <a:prstGeom prst="line">
              <a:avLst/>
            </a:pr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02" name="Freeform 901"/>
            <p:cNvSpPr>
              <a:spLocks/>
            </p:cNvSpPr>
            <p:nvPr/>
          </p:nvSpPr>
          <p:spPr bwMode="auto">
            <a:xfrm>
              <a:off x="741672" y="3051835"/>
              <a:ext cx="136525" cy="23813"/>
            </a:xfrm>
            <a:custGeom>
              <a:avLst/>
              <a:gdLst/>
              <a:ahLst/>
              <a:cxnLst>
                <a:cxn ang="0">
                  <a:pos x="102" y="18"/>
                </a:cxn>
                <a:cxn ang="0">
                  <a:pos x="52" y="0"/>
                </a:cxn>
                <a:cxn ang="0">
                  <a:pos x="0" y="17"/>
                </a:cxn>
              </a:cxnLst>
              <a:rect l="0" t="0" r="r" b="b"/>
              <a:pathLst>
                <a:path w="102" h="18">
                  <a:moveTo>
                    <a:pt x="102" y="18"/>
                  </a:moveTo>
                  <a:cubicBezTo>
                    <a:pt x="102" y="18"/>
                    <a:pt x="81" y="0"/>
                    <a:pt x="52" y="0"/>
                  </a:cubicBezTo>
                  <a:cubicBezTo>
                    <a:pt x="34" y="0"/>
                    <a:pt x="17" y="5"/>
                    <a:pt x="0" y="17"/>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03" name="Freeform 902"/>
            <p:cNvSpPr>
              <a:spLocks/>
            </p:cNvSpPr>
            <p:nvPr/>
          </p:nvSpPr>
          <p:spPr bwMode="auto">
            <a:xfrm>
              <a:off x="732147" y="2861335"/>
              <a:ext cx="152400" cy="209550"/>
            </a:xfrm>
            <a:custGeom>
              <a:avLst/>
              <a:gdLst/>
              <a:ahLst/>
              <a:cxnLst>
                <a:cxn ang="0">
                  <a:pos x="0" y="157"/>
                </a:cxn>
                <a:cxn ang="0">
                  <a:pos x="0" y="20"/>
                </a:cxn>
                <a:cxn ang="0">
                  <a:pos x="0" y="19"/>
                </a:cxn>
                <a:cxn ang="0">
                  <a:pos x="62" y="0"/>
                </a:cxn>
                <a:cxn ang="0">
                  <a:pos x="114" y="20"/>
                </a:cxn>
                <a:cxn ang="0">
                  <a:pos x="114" y="20"/>
                </a:cxn>
                <a:cxn ang="0">
                  <a:pos x="114" y="141"/>
                </a:cxn>
              </a:cxnLst>
              <a:rect l="0" t="0" r="r" b="b"/>
              <a:pathLst>
                <a:path w="114" h="157">
                  <a:moveTo>
                    <a:pt x="0" y="157"/>
                  </a:moveTo>
                  <a:cubicBezTo>
                    <a:pt x="0" y="20"/>
                    <a:pt x="0" y="20"/>
                    <a:pt x="0" y="20"/>
                  </a:cubicBezTo>
                  <a:cubicBezTo>
                    <a:pt x="0" y="19"/>
                    <a:pt x="0" y="19"/>
                    <a:pt x="0" y="19"/>
                  </a:cubicBezTo>
                  <a:cubicBezTo>
                    <a:pt x="20" y="8"/>
                    <a:pt x="43" y="0"/>
                    <a:pt x="62" y="0"/>
                  </a:cubicBezTo>
                  <a:cubicBezTo>
                    <a:pt x="94" y="0"/>
                    <a:pt x="113" y="19"/>
                    <a:pt x="114" y="20"/>
                  </a:cubicBezTo>
                  <a:cubicBezTo>
                    <a:pt x="114" y="20"/>
                    <a:pt x="114" y="19"/>
                    <a:pt x="114" y="20"/>
                  </a:cubicBezTo>
                  <a:cubicBezTo>
                    <a:pt x="114" y="141"/>
                    <a:pt x="114" y="141"/>
                    <a:pt x="114" y="141"/>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204" name="Rectangle 903"/>
          <p:cNvSpPr>
            <a:spLocks noChangeArrowheads="1"/>
          </p:cNvSpPr>
          <p:nvPr/>
        </p:nvSpPr>
        <p:spPr bwMode="auto">
          <a:xfrm>
            <a:off x="9458864" y="2159444"/>
            <a:ext cx="339838"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a:solidFill>
                  <a:srgbClr val="000000"/>
                </a:solidFill>
                <a:latin typeface="+mj-lt"/>
                <a:cs typeface="Arial" pitchFamily="34" charset="0"/>
              </a:rPr>
              <a:t>Book</a:t>
            </a:r>
            <a:endParaRPr lang="fr-FR" sz="1100">
              <a:latin typeface="+mj-lt"/>
              <a:cs typeface="Arial" pitchFamily="34" charset="0"/>
            </a:endParaRPr>
          </a:p>
        </p:txBody>
      </p:sp>
      <p:grpSp>
        <p:nvGrpSpPr>
          <p:cNvPr id="17" name="Groupe 204"/>
          <p:cNvGrpSpPr>
            <a:grpSpLocks noChangeAspect="1"/>
          </p:cNvGrpSpPr>
          <p:nvPr/>
        </p:nvGrpSpPr>
        <p:grpSpPr>
          <a:xfrm>
            <a:off x="10236066" y="1564440"/>
            <a:ext cx="599652" cy="536863"/>
            <a:chOff x="1030597" y="2827998"/>
            <a:chExt cx="303213" cy="271464"/>
          </a:xfrm>
        </p:grpSpPr>
        <p:sp>
          <p:nvSpPr>
            <p:cNvPr id="206" name="Freeform 904"/>
            <p:cNvSpPr>
              <a:spLocks/>
            </p:cNvSpPr>
            <p:nvPr/>
          </p:nvSpPr>
          <p:spPr bwMode="auto">
            <a:xfrm>
              <a:off x="1030597" y="2874035"/>
              <a:ext cx="303213" cy="198438"/>
            </a:xfrm>
            <a:custGeom>
              <a:avLst/>
              <a:gdLst/>
              <a:ahLst/>
              <a:cxnLst>
                <a:cxn ang="0">
                  <a:pos x="39" y="109"/>
                </a:cxn>
                <a:cxn ang="0">
                  <a:pos x="174" y="109"/>
                </a:cxn>
                <a:cxn ang="0">
                  <a:pos x="174" y="15"/>
                </a:cxn>
                <a:cxn ang="0">
                  <a:pos x="15" y="15"/>
                </a:cxn>
                <a:cxn ang="0">
                  <a:pos x="15" y="125"/>
                </a:cxn>
                <a:cxn ang="0">
                  <a:pos x="191" y="125"/>
                </a:cxn>
                <a:cxn ang="0">
                  <a:pos x="191" y="0"/>
                </a:cxn>
                <a:cxn ang="0">
                  <a:pos x="0" y="0"/>
                </a:cxn>
                <a:cxn ang="0">
                  <a:pos x="0" y="98"/>
                </a:cxn>
              </a:cxnLst>
              <a:rect l="0" t="0" r="r" b="b"/>
              <a:pathLst>
                <a:path w="191" h="125">
                  <a:moveTo>
                    <a:pt x="39" y="109"/>
                  </a:moveTo>
                  <a:lnTo>
                    <a:pt x="174" y="109"/>
                  </a:lnTo>
                  <a:lnTo>
                    <a:pt x="174" y="15"/>
                  </a:lnTo>
                  <a:lnTo>
                    <a:pt x="15" y="15"/>
                  </a:lnTo>
                  <a:lnTo>
                    <a:pt x="15" y="125"/>
                  </a:lnTo>
                  <a:lnTo>
                    <a:pt x="191" y="125"/>
                  </a:lnTo>
                  <a:lnTo>
                    <a:pt x="191" y="0"/>
                  </a:lnTo>
                  <a:lnTo>
                    <a:pt x="0" y="0"/>
                  </a:lnTo>
                  <a:lnTo>
                    <a:pt x="0" y="98"/>
                  </a:ln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07" name="Line 905"/>
            <p:cNvSpPr>
              <a:spLocks noChangeShapeType="1"/>
            </p:cNvSpPr>
            <p:nvPr/>
          </p:nvSpPr>
          <p:spPr bwMode="auto">
            <a:xfrm>
              <a:off x="1110026" y="3099462"/>
              <a:ext cx="140700" cy="0"/>
            </a:xfrm>
            <a:prstGeom prst="line">
              <a:avLst/>
            </a:pr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08" name="Freeform 906"/>
            <p:cNvSpPr>
              <a:spLocks/>
            </p:cNvSpPr>
            <p:nvPr/>
          </p:nvSpPr>
          <p:spPr bwMode="auto">
            <a:xfrm>
              <a:off x="1216335" y="2827998"/>
              <a:ext cx="50800" cy="44450"/>
            </a:xfrm>
            <a:custGeom>
              <a:avLst/>
              <a:gdLst/>
              <a:ahLst/>
              <a:cxnLst>
                <a:cxn ang="0">
                  <a:pos x="0" y="0"/>
                </a:cxn>
                <a:cxn ang="0">
                  <a:pos x="13" y="28"/>
                </a:cxn>
                <a:cxn ang="0">
                  <a:pos x="32" y="9"/>
                </a:cxn>
              </a:cxnLst>
              <a:rect l="0" t="0" r="r" b="b"/>
              <a:pathLst>
                <a:path w="32" h="28">
                  <a:moveTo>
                    <a:pt x="0" y="0"/>
                  </a:moveTo>
                  <a:lnTo>
                    <a:pt x="13" y="28"/>
                  </a:lnTo>
                  <a:lnTo>
                    <a:pt x="32" y="9"/>
                  </a:ln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209" name="Rectangle 907"/>
          <p:cNvSpPr>
            <a:spLocks noChangeArrowheads="1"/>
          </p:cNvSpPr>
          <p:nvPr/>
        </p:nvSpPr>
        <p:spPr bwMode="auto">
          <a:xfrm>
            <a:off x="10445322" y="2159444"/>
            <a:ext cx="181140"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a:solidFill>
                  <a:srgbClr val="000000"/>
                </a:solidFill>
                <a:latin typeface="+mj-lt"/>
                <a:cs typeface="Arial" pitchFamily="34" charset="0"/>
              </a:rPr>
              <a:t>TV</a:t>
            </a:r>
            <a:endParaRPr lang="fr-FR" sz="1100">
              <a:latin typeface="+mj-lt"/>
              <a:cs typeface="Arial" pitchFamily="34" charset="0"/>
            </a:endParaRPr>
          </a:p>
        </p:txBody>
      </p:sp>
      <p:sp>
        <p:nvSpPr>
          <p:cNvPr id="210" name="ZoneTexte 209"/>
          <p:cNvSpPr txBox="1"/>
          <p:nvPr/>
        </p:nvSpPr>
        <p:spPr>
          <a:xfrm>
            <a:off x="5837370" y="3316723"/>
            <a:ext cx="1051446" cy="254067"/>
          </a:xfrm>
          <a:prstGeom prst="rect">
            <a:avLst/>
          </a:prstGeom>
          <a:noFill/>
        </p:spPr>
        <p:txBody>
          <a:bodyPr wrap="square" lIns="83969" tIns="41985" rIns="83969" bIns="41985" rtlCol="0">
            <a:spAutoFit/>
          </a:bodyPr>
          <a:lstStyle/>
          <a:p>
            <a:pPr algn="ctr"/>
            <a:r>
              <a:rPr lang="en-US" sz="1100" err="1">
                <a:solidFill>
                  <a:srgbClr val="494949"/>
                </a:solidFill>
                <a:latin typeface="+mj-lt"/>
              </a:rPr>
              <a:t>Marketshare</a:t>
            </a:r>
            <a:endParaRPr lang="en-US" sz="1100">
              <a:solidFill>
                <a:srgbClr val="494949"/>
              </a:solidFill>
              <a:latin typeface="+mj-lt"/>
            </a:endParaRPr>
          </a:p>
        </p:txBody>
      </p:sp>
      <p:sp>
        <p:nvSpPr>
          <p:cNvPr id="211" name="ZoneTexte 210"/>
          <p:cNvSpPr txBox="1"/>
          <p:nvPr/>
        </p:nvSpPr>
        <p:spPr>
          <a:xfrm>
            <a:off x="6865786" y="3316723"/>
            <a:ext cx="738723" cy="254067"/>
          </a:xfrm>
          <a:prstGeom prst="rect">
            <a:avLst/>
          </a:prstGeom>
          <a:noFill/>
        </p:spPr>
        <p:txBody>
          <a:bodyPr wrap="square" lIns="83969" tIns="41985" rIns="83969" bIns="41985" rtlCol="0">
            <a:spAutoFit/>
          </a:bodyPr>
          <a:lstStyle/>
          <a:p>
            <a:pPr algn="ctr"/>
            <a:r>
              <a:rPr lang="en-US" sz="1100">
                <a:solidFill>
                  <a:srgbClr val="494949"/>
                </a:solidFill>
                <a:latin typeface="+mj-lt"/>
              </a:rPr>
              <a:t>Growth</a:t>
            </a:r>
          </a:p>
        </p:txBody>
      </p:sp>
      <p:grpSp>
        <p:nvGrpSpPr>
          <p:cNvPr id="18" name="Groupe 211"/>
          <p:cNvGrpSpPr>
            <a:grpSpLocks noChangeAspect="1"/>
          </p:cNvGrpSpPr>
          <p:nvPr/>
        </p:nvGrpSpPr>
        <p:grpSpPr>
          <a:xfrm>
            <a:off x="1584631" y="3960090"/>
            <a:ext cx="533333" cy="540000"/>
            <a:chOff x="3434081" y="3148648"/>
            <a:chExt cx="254000" cy="257175"/>
          </a:xfrm>
        </p:grpSpPr>
        <p:sp>
          <p:nvSpPr>
            <p:cNvPr id="213" name="Freeform 576"/>
            <p:cNvSpPr>
              <a:spLocks noChangeAspect="1"/>
            </p:cNvSpPr>
            <p:nvPr/>
          </p:nvSpPr>
          <p:spPr bwMode="auto">
            <a:xfrm>
              <a:off x="3484881" y="3215323"/>
              <a:ext cx="157163" cy="134938"/>
            </a:xfrm>
            <a:custGeom>
              <a:avLst/>
              <a:gdLst/>
              <a:ahLst/>
              <a:cxnLst>
                <a:cxn ang="0">
                  <a:pos x="106" y="0"/>
                </a:cxn>
                <a:cxn ang="0">
                  <a:pos x="118" y="3"/>
                </a:cxn>
                <a:cxn ang="0">
                  <a:pos x="117" y="3"/>
                </a:cxn>
                <a:cxn ang="0">
                  <a:pos x="21" y="102"/>
                </a:cxn>
                <a:cxn ang="0">
                  <a:pos x="0" y="53"/>
                </a:cxn>
                <a:cxn ang="0">
                  <a:pos x="23" y="72"/>
                </a:cxn>
                <a:cxn ang="0">
                  <a:pos x="106" y="0"/>
                </a:cxn>
              </a:cxnLst>
              <a:rect l="0" t="0" r="r" b="b"/>
              <a:pathLst>
                <a:path w="118" h="102">
                  <a:moveTo>
                    <a:pt x="106" y="0"/>
                  </a:moveTo>
                  <a:cubicBezTo>
                    <a:pt x="114" y="0"/>
                    <a:pt x="118" y="3"/>
                    <a:pt x="118" y="3"/>
                  </a:cubicBezTo>
                  <a:cubicBezTo>
                    <a:pt x="118" y="3"/>
                    <a:pt x="118" y="3"/>
                    <a:pt x="117" y="3"/>
                  </a:cubicBezTo>
                  <a:cubicBezTo>
                    <a:pt x="66" y="3"/>
                    <a:pt x="23" y="97"/>
                    <a:pt x="21" y="102"/>
                  </a:cubicBezTo>
                  <a:cubicBezTo>
                    <a:pt x="0" y="53"/>
                    <a:pt x="0" y="53"/>
                    <a:pt x="0" y="53"/>
                  </a:cubicBezTo>
                  <a:cubicBezTo>
                    <a:pt x="23" y="72"/>
                    <a:pt x="23" y="72"/>
                    <a:pt x="23" y="72"/>
                  </a:cubicBezTo>
                  <a:cubicBezTo>
                    <a:pt x="62" y="10"/>
                    <a:pt x="91" y="0"/>
                    <a:pt x="106" y="0"/>
                  </a:cubicBezTo>
                  <a:close/>
                </a:path>
              </a:pathLst>
            </a:custGeom>
            <a:no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577"/>
            <p:cNvSpPr>
              <a:spLocks noChangeAspect="1"/>
            </p:cNvSpPr>
            <p:nvPr/>
          </p:nvSpPr>
          <p:spPr bwMode="auto">
            <a:xfrm>
              <a:off x="3434081" y="3148648"/>
              <a:ext cx="254000" cy="257175"/>
            </a:xfrm>
            <a:custGeom>
              <a:avLst/>
              <a:gdLst/>
              <a:ahLst/>
              <a:cxnLst>
                <a:cxn ang="0">
                  <a:pos x="173" y="133"/>
                </a:cxn>
                <a:cxn ang="0">
                  <a:pos x="149" y="29"/>
                </a:cxn>
                <a:cxn ang="0">
                  <a:pos x="150" y="30"/>
                </a:cxn>
                <a:cxn ang="0">
                  <a:pos x="29" y="43"/>
                </a:cxn>
                <a:cxn ang="0">
                  <a:pos x="30" y="42"/>
                </a:cxn>
                <a:cxn ang="0">
                  <a:pos x="43" y="164"/>
                </a:cxn>
                <a:cxn ang="0">
                  <a:pos x="41" y="162"/>
                </a:cxn>
                <a:cxn ang="0">
                  <a:pos x="162" y="149"/>
                </a:cxn>
              </a:cxnLst>
              <a:rect l="0" t="0" r="r" b="b"/>
              <a:pathLst>
                <a:path w="190" h="192">
                  <a:moveTo>
                    <a:pt x="173" y="133"/>
                  </a:moveTo>
                  <a:cubicBezTo>
                    <a:pt x="190" y="90"/>
                    <a:pt x="178" y="57"/>
                    <a:pt x="149" y="29"/>
                  </a:cubicBezTo>
                  <a:cubicBezTo>
                    <a:pt x="150" y="30"/>
                    <a:pt x="150" y="30"/>
                    <a:pt x="150" y="30"/>
                  </a:cubicBezTo>
                  <a:cubicBezTo>
                    <a:pt x="113" y="0"/>
                    <a:pt x="59" y="6"/>
                    <a:pt x="29" y="43"/>
                  </a:cubicBezTo>
                  <a:cubicBezTo>
                    <a:pt x="30" y="42"/>
                    <a:pt x="30" y="42"/>
                    <a:pt x="30" y="42"/>
                  </a:cubicBezTo>
                  <a:cubicBezTo>
                    <a:pt x="0" y="79"/>
                    <a:pt x="6" y="134"/>
                    <a:pt x="43" y="164"/>
                  </a:cubicBezTo>
                  <a:cubicBezTo>
                    <a:pt x="41" y="162"/>
                    <a:pt x="41" y="162"/>
                    <a:pt x="41" y="162"/>
                  </a:cubicBezTo>
                  <a:cubicBezTo>
                    <a:pt x="78" y="192"/>
                    <a:pt x="132" y="186"/>
                    <a:pt x="162" y="149"/>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9" name="Groupe 214"/>
          <p:cNvGrpSpPr>
            <a:grpSpLocks noChangeAspect="1"/>
          </p:cNvGrpSpPr>
          <p:nvPr/>
        </p:nvGrpSpPr>
        <p:grpSpPr>
          <a:xfrm>
            <a:off x="7021788" y="2874397"/>
            <a:ext cx="540000" cy="316668"/>
            <a:chOff x="3757613" y="1916113"/>
            <a:chExt cx="257175" cy="150813"/>
          </a:xfrm>
        </p:grpSpPr>
        <p:sp>
          <p:nvSpPr>
            <p:cNvPr id="216" name="Freeform 553"/>
            <p:cNvSpPr>
              <a:spLocks/>
            </p:cNvSpPr>
            <p:nvPr/>
          </p:nvSpPr>
          <p:spPr bwMode="auto">
            <a:xfrm>
              <a:off x="3757613" y="1916113"/>
              <a:ext cx="257175" cy="150813"/>
            </a:xfrm>
            <a:custGeom>
              <a:avLst/>
              <a:gdLst/>
              <a:ahLst/>
              <a:cxnLst>
                <a:cxn ang="0">
                  <a:pos x="0" y="0"/>
                </a:cxn>
                <a:cxn ang="0">
                  <a:pos x="0" y="95"/>
                </a:cxn>
                <a:cxn ang="0">
                  <a:pos x="162" y="95"/>
                </a:cxn>
              </a:cxnLst>
              <a:rect l="0" t="0" r="r" b="b"/>
              <a:pathLst>
                <a:path w="162" h="95">
                  <a:moveTo>
                    <a:pt x="0" y="0"/>
                  </a:moveTo>
                  <a:lnTo>
                    <a:pt x="0" y="95"/>
                  </a:lnTo>
                  <a:lnTo>
                    <a:pt x="162" y="95"/>
                  </a:ln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554"/>
            <p:cNvSpPr>
              <a:spLocks/>
            </p:cNvSpPr>
            <p:nvPr/>
          </p:nvSpPr>
          <p:spPr bwMode="auto">
            <a:xfrm>
              <a:off x="3781426" y="1933575"/>
              <a:ext cx="174625" cy="114300"/>
            </a:xfrm>
            <a:custGeom>
              <a:avLst/>
              <a:gdLst/>
              <a:ahLst/>
              <a:cxnLst>
                <a:cxn ang="0">
                  <a:pos x="0" y="72"/>
                </a:cxn>
                <a:cxn ang="0">
                  <a:pos x="33" y="38"/>
                </a:cxn>
                <a:cxn ang="0">
                  <a:pos x="52" y="58"/>
                </a:cxn>
                <a:cxn ang="0">
                  <a:pos x="110" y="0"/>
                </a:cxn>
              </a:cxnLst>
              <a:rect l="0" t="0" r="r" b="b"/>
              <a:pathLst>
                <a:path w="110" h="72">
                  <a:moveTo>
                    <a:pt x="0" y="72"/>
                  </a:moveTo>
                  <a:lnTo>
                    <a:pt x="33" y="38"/>
                  </a:lnTo>
                  <a:lnTo>
                    <a:pt x="52" y="58"/>
                  </a:lnTo>
                  <a:lnTo>
                    <a:pt x="110" y="0"/>
                  </a:ln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555"/>
            <p:cNvSpPr>
              <a:spLocks/>
            </p:cNvSpPr>
            <p:nvPr/>
          </p:nvSpPr>
          <p:spPr bwMode="auto">
            <a:xfrm>
              <a:off x="3927476" y="1919288"/>
              <a:ext cx="49213" cy="52388"/>
            </a:xfrm>
            <a:custGeom>
              <a:avLst/>
              <a:gdLst/>
              <a:ahLst/>
              <a:cxnLst>
                <a:cxn ang="0">
                  <a:pos x="0" y="0"/>
                </a:cxn>
                <a:cxn ang="0">
                  <a:pos x="31" y="0"/>
                </a:cxn>
                <a:cxn ang="0">
                  <a:pos x="31" y="33"/>
                </a:cxn>
              </a:cxnLst>
              <a:rect l="0" t="0" r="r" b="b"/>
              <a:pathLst>
                <a:path w="31" h="33">
                  <a:moveTo>
                    <a:pt x="0" y="0"/>
                  </a:moveTo>
                  <a:lnTo>
                    <a:pt x="31" y="0"/>
                  </a:lnTo>
                  <a:lnTo>
                    <a:pt x="31" y="33"/>
                  </a:lnTo>
                </a:path>
              </a:pathLst>
            </a:custGeom>
            <a:noFill/>
            <a:ln w="12700"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20" name="Freeform 707"/>
          <p:cNvSpPr>
            <a:spLocks noChangeAspect="1" noEditPoints="1"/>
          </p:cNvSpPr>
          <p:nvPr/>
        </p:nvSpPr>
        <p:spPr bwMode="auto">
          <a:xfrm>
            <a:off x="6109889" y="2720840"/>
            <a:ext cx="479328" cy="504000"/>
          </a:xfrm>
          <a:custGeom>
            <a:avLst/>
            <a:gdLst/>
            <a:ahLst/>
            <a:cxnLst>
              <a:cxn ang="0">
                <a:pos x="99" y="0"/>
              </a:cxn>
              <a:cxn ang="0">
                <a:pos x="162" y="46"/>
              </a:cxn>
              <a:cxn ang="0">
                <a:pos x="75" y="94"/>
              </a:cxn>
              <a:cxn ang="0">
                <a:pos x="99" y="0"/>
              </a:cxn>
              <a:cxn ang="0">
                <a:pos x="158" y="63"/>
              </a:cxn>
              <a:cxn ang="0">
                <a:pos x="162" y="89"/>
              </a:cxn>
              <a:cxn ang="0">
                <a:pos x="81" y="170"/>
              </a:cxn>
              <a:cxn ang="0">
                <a:pos x="0" y="89"/>
              </a:cxn>
              <a:cxn ang="0">
                <a:pos x="81" y="9"/>
              </a:cxn>
            </a:cxnLst>
            <a:rect l="0" t="0" r="r" b="b"/>
            <a:pathLst>
              <a:path w="162" h="170">
                <a:moveTo>
                  <a:pt x="99" y="0"/>
                </a:moveTo>
                <a:cubicBezTo>
                  <a:pt x="127" y="5"/>
                  <a:pt x="150" y="22"/>
                  <a:pt x="162" y="46"/>
                </a:cubicBezTo>
                <a:cubicBezTo>
                  <a:pt x="75" y="94"/>
                  <a:pt x="75" y="94"/>
                  <a:pt x="75" y="94"/>
                </a:cubicBezTo>
                <a:lnTo>
                  <a:pt x="99" y="0"/>
                </a:lnTo>
                <a:close/>
                <a:moveTo>
                  <a:pt x="158" y="63"/>
                </a:moveTo>
                <a:cubicBezTo>
                  <a:pt x="161" y="71"/>
                  <a:pt x="162" y="80"/>
                  <a:pt x="162" y="89"/>
                </a:cubicBezTo>
                <a:cubicBezTo>
                  <a:pt x="162" y="134"/>
                  <a:pt x="126" y="170"/>
                  <a:pt x="81" y="170"/>
                </a:cubicBezTo>
                <a:cubicBezTo>
                  <a:pt x="37" y="170"/>
                  <a:pt x="0" y="134"/>
                  <a:pt x="0" y="89"/>
                </a:cubicBezTo>
                <a:cubicBezTo>
                  <a:pt x="0" y="45"/>
                  <a:pt x="37" y="9"/>
                  <a:pt x="81" y="9"/>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ZoneTexte 221"/>
          <p:cNvSpPr txBox="1"/>
          <p:nvPr/>
        </p:nvSpPr>
        <p:spPr>
          <a:xfrm>
            <a:off x="1420539" y="4535389"/>
            <a:ext cx="950884" cy="254067"/>
          </a:xfrm>
          <a:prstGeom prst="rect">
            <a:avLst/>
          </a:prstGeom>
          <a:noFill/>
        </p:spPr>
        <p:txBody>
          <a:bodyPr wrap="square" lIns="83969" tIns="41985" rIns="83969" bIns="41985" rtlCol="0">
            <a:spAutoFit/>
          </a:bodyPr>
          <a:lstStyle/>
          <a:p>
            <a:pPr algn="ctr"/>
            <a:r>
              <a:rPr lang="en-US" sz="1100">
                <a:solidFill>
                  <a:srgbClr val="494949"/>
                </a:solidFill>
              </a:rPr>
              <a:t>Satisfaction</a:t>
            </a:r>
          </a:p>
        </p:txBody>
      </p:sp>
      <p:grpSp>
        <p:nvGrpSpPr>
          <p:cNvPr id="20" name="Groupe 275"/>
          <p:cNvGrpSpPr>
            <a:grpSpLocks noChangeAspect="1"/>
          </p:cNvGrpSpPr>
          <p:nvPr/>
        </p:nvGrpSpPr>
        <p:grpSpPr>
          <a:xfrm>
            <a:off x="7900988" y="2689224"/>
            <a:ext cx="412106" cy="540000"/>
            <a:chOff x="7415213" y="2365375"/>
            <a:chExt cx="230188" cy="301625"/>
          </a:xfrm>
        </p:grpSpPr>
        <p:sp>
          <p:nvSpPr>
            <p:cNvPr id="277" name="Freeform 426"/>
            <p:cNvSpPr>
              <a:spLocks/>
            </p:cNvSpPr>
            <p:nvPr/>
          </p:nvSpPr>
          <p:spPr bwMode="auto">
            <a:xfrm>
              <a:off x="7494588" y="2444750"/>
              <a:ext cx="150813" cy="222250"/>
            </a:xfrm>
            <a:custGeom>
              <a:avLst/>
              <a:gdLst/>
              <a:ahLst/>
              <a:cxnLst>
                <a:cxn ang="0">
                  <a:pos x="56" y="166"/>
                </a:cxn>
                <a:cxn ang="0">
                  <a:pos x="113" y="153"/>
                </a:cxn>
                <a:cxn ang="0">
                  <a:pos x="69" y="65"/>
                </a:cxn>
                <a:cxn ang="0">
                  <a:pos x="85" y="34"/>
                </a:cxn>
                <a:cxn ang="0">
                  <a:pos x="57" y="0"/>
                </a:cxn>
                <a:cxn ang="0">
                  <a:pos x="29" y="34"/>
                </a:cxn>
                <a:cxn ang="0">
                  <a:pos x="44" y="65"/>
                </a:cxn>
                <a:cxn ang="0">
                  <a:pos x="0" y="153"/>
                </a:cxn>
              </a:cxnLst>
              <a:rect l="0" t="0" r="r" b="b"/>
              <a:pathLst>
                <a:path w="113" h="166">
                  <a:moveTo>
                    <a:pt x="56" y="166"/>
                  </a:moveTo>
                  <a:cubicBezTo>
                    <a:pt x="85" y="166"/>
                    <a:pt x="113" y="158"/>
                    <a:pt x="113" y="153"/>
                  </a:cubicBezTo>
                  <a:cubicBezTo>
                    <a:pt x="113" y="111"/>
                    <a:pt x="102" y="75"/>
                    <a:pt x="69" y="65"/>
                  </a:cubicBezTo>
                  <a:cubicBezTo>
                    <a:pt x="76" y="59"/>
                    <a:pt x="85" y="46"/>
                    <a:pt x="85" y="34"/>
                  </a:cubicBezTo>
                  <a:cubicBezTo>
                    <a:pt x="85" y="14"/>
                    <a:pt x="72" y="0"/>
                    <a:pt x="57" y="0"/>
                  </a:cubicBezTo>
                  <a:cubicBezTo>
                    <a:pt x="41" y="0"/>
                    <a:pt x="29" y="14"/>
                    <a:pt x="29" y="34"/>
                  </a:cubicBezTo>
                  <a:cubicBezTo>
                    <a:pt x="29" y="46"/>
                    <a:pt x="37" y="59"/>
                    <a:pt x="44" y="65"/>
                  </a:cubicBezTo>
                  <a:cubicBezTo>
                    <a:pt x="12" y="75"/>
                    <a:pt x="0" y="111"/>
                    <a:pt x="0" y="153"/>
                  </a:cubicBezTo>
                </a:path>
              </a:pathLst>
            </a:custGeom>
            <a:noFill/>
            <a:ln w="7938"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427"/>
            <p:cNvSpPr>
              <a:spLocks/>
            </p:cNvSpPr>
            <p:nvPr/>
          </p:nvSpPr>
          <p:spPr bwMode="auto">
            <a:xfrm>
              <a:off x="7415213" y="2382838"/>
              <a:ext cx="171450" cy="112713"/>
            </a:xfrm>
            <a:custGeom>
              <a:avLst/>
              <a:gdLst/>
              <a:ahLst/>
              <a:cxnLst>
                <a:cxn ang="0">
                  <a:pos x="0" y="71"/>
                </a:cxn>
                <a:cxn ang="0">
                  <a:pos x="32" y="38"/>
                </a:cxn>
                <a:cxn ang="0">
                  <a:pos x="52" y="57"/>
                </a:cxn>
                <a:cxn ang="0">
                  <a:pos x="108" y="0"/>
                </a:cxn>
              </a:cxnLst>
              <a:rect l="0" t="0" r="r" b="b"/>
              <a:pathLst>
                <a:path w="108" h="71">
                  <a:moveTo>
                    <a:pt x="0" y="71"/>
                  </a:moveTo>
                  <a:lnTo>
                    <a:pt x="32" y="38"/>
                  </a:lnTo>
                  <a:lnTo>
                    <a:pt x="52" y="57"/>
                  </a:lnTo>
                  <a:lnTo>
                    <a:pt x="108" y="0"/>
                  </a:lnTo>
                </a:path>
              </a:pathLst>
            </a:custGeom>
            <a:noFill/>
            <a:ln w="7938"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428"/>
            <p:cNvSpPr>
              <a:spLocks/>
            </p:cNvSpPr>
            <p:nvPr/>
          </p:nvSpPr>
          <p:spPr bwMode="auto">
            <a:xfrm>
              <a:off x="7553325" y="2365375"/>
              <a:ext cx="49213" cy="50800"/>
            </a:xfrm>
            <a:custGeom>
              <a:avLst/>
              <a:gdLst/>
              <a:ahLst/>
              <a:cxnLst>
                <a:cxn ang="0">
                  <a:pos x="0" y="0"/>
                </a:cxn>
                <a:cxn ang="0">
                  <a:pos x="31" y="0"/>
                </a:cxn>
                <a:cxn ang="0">
                  <a:pos x="31" y="32"/>
                </a:cxn>
              </a:cxnLst>
              <a:rect l="0" t="0" r="r" b="b"/>
              <a:pathLst>
                <a:path w="31" h="32">
                  <a:moveTo>
                    <a:pt x="0" y="0"/>
                  </a:moveTo>
                  <a:lnTo>
                    <a:pt x="31" y="0"/>
                  </a:lnTo>
                  <a:lnTo>
                    <a:pt x="31" y="32"/>
                  </a:lnTo>
                </a:path>
              </a:pathLst>
            </a:custGeom>
            <a:noFill/>
            <a:ln w="7938"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429"/>
            <p:cNvSpPr>
              <a:spLocks/>
            </p:cNvSpPr>
            <p:nvPr/>
          </p:nvSpPr>
          <p:spPr bwMode="auto">
            <a:xfrm>
              <a:off x="7553325" y="2532063"/>
              <a:ext cx="33338" cy="14288"/>
            </a:xfrm>
            <a:custGeom>
              <a:avLst/>
              <a:gdLst/>
              <a:ahLst/>
              <a:cxnLst>
                <a:cxn ang="0">
                  <a:pos x="0" y="0"/>
                </a:cxn>
                <a:cxn ang="0">
                  <a:pos x="25" y="0"/>
                </a:cxn>
              </a:cxnLst>
              <a:rect l="0" t="0" r="r" b="b"/>
              <a:pathLst>
                <a:path w="25" h="11">
                  <a:moveTo>
                    <a:pt x="0" y="0"/>
                  </a:moveTo>
                  <a:cubicBezTo>
                    <a:pt x="0" y="0"/>
                    <a:pt x="12" y="11"/>
                    <a:pt x="25" y="0"/>
                  </a:cubicBezTo>
                </a:path>
              </a:pathLst>
            </a:custGeom>
            <a:noFill/>
            <a:ln w="7938"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 name="Group 119"/>
          <p:cNvGrpSpPr>
            <a:grpSpLocks noChangeAspect="1"/>
          </p:cNvGrpSpPr>
          <p:nvPr/>
        </p:nvGrpSpPr>
        <p:grpSpPr>
          <a:xfrm>
            <a:off x="2788120" y="3954914"/>
            <a:ext cx="323426" cy="539988"/>
            <a:chOff x="7764146" y="5644570"/>
            <a:chExt cx="271805" cy="453801"/>
          </a:xfrm>
        </p:grpSpPr>
        <p:sp>
          <p:nvSpPr>
            <p:cNvPr id="144" name="Freeform 72"/>
            <p:cNvSpPr/>
            <p:nvPr/>
          </p:nvSpPr>
          <p:spPr>
            <a:xfrm>
              <a:off x="7764146" y="5644570"/>
              <a:ext cx="271805"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270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22" name="Group 87"/>
            <p:cNvGrpSpPr/>
            <p:nvPr/>
          </p:nvGrpSpPr>
          <p:grpSpPr>
            <a:xfrm>
              <a:off x="7809748" y="5732769"/>
              <a:ext cx="165741" cy="79861"/>
              <a:chOff x="8343123" y="5780395"/>
              <a:chExt cx="165741" cy="65418"/>
            </a:xfrm>
          </p:grpSpPr>
          <p:sp>
            <p:nvSpPr>
              <p:cNvPr id="151" name="Freeform 73"/>
              <p:cNvSpPr/>
              <p:nvPr/>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270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2" name="Freeform 74"/>
              <p:cNvSpPr/>
              <p:nvPr/>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270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146" name="Freeform 24"/>
            <p:cNvSpPr>
              <a:spLocks/>
            </p:cNvSpPr>
            <p:nvPr/>
          </p:nvSpPr>
          <p:spPr bwMode="auto">
            <a:xfrm>
              <a:off x="7833931" y="5791366"/>
              <a:ext cx="41273" cy="67382"/>
            </a:xfrm>
            <a:custGeom>
              <a:avLst/>
              <a:gdLst/>
              <a:ahLst/>
              <a:cxnLst>
                <a:cxn ang="0">
                  <a:pos x="0" y="29"/>
                </a:cxn>
                <a:cxn ang="0">
                  <a:pos x="18" y="0"/>
                </a:cxn>
              </a:cxnLst>
              <a:rect l="0" t="0" r="r" b="b"/>
              <a:pathLst>
                <a:path w="18" h="29">
                  <a:moveTo>
                    <a:pt x="0" y="29"/>
                  </a:moveTo>
                  <a:cubicBezTo>
                    <a:pt x="1" y="15"/>
                    <a:pt x="8" y="4"/>
                    <a:pt x="18" y="0"/>
                  </a:cubicBezTo>
                </a:path>
              </a:pathLst>
            </a:custGeom>
            <a:noFill/>
            <a:ln w="1270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25"/>
            <p:cNvSpPr>
              <a:spLocks/>
            </p:cNvSpPr>
            <p:nvPr/>
          </p:nvSpPr>
          <p:spPr bwMode="auto">
            <a:xfrm>
              <a:off x="7772442" y="5858743"/>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270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Freeform 26"/>
            <p:cNvSpPr>
              <a:spLocks/>
            </p:cNvSpPr>
            <p:nvPr/>
          </p:nvSpPr>
          <p:spPr bwMode="auto">
            <a:xfrm>
              <a:off x="7973752" y="5962335"/>
              <a:ext cx="46326" cy="129574"/>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270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27"/>
            <p:cNvSpPr>
              <a:spLocks noChangeAspect="1"/>
            </p:cNvSpPr>
            <p:nvPr/>
          </p:nvSpPr>
          <p:spPr bwMode="auto">
            <a:xfrm>
              <a:off x="7875175" y="5789673"/>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270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28"/>
            <p:cNvSpPr>
              <a:spLocks/>
            </p:cNvSpPr>
            <p:nvPr/>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270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3" name="Rectangle 789"/>
          <p:cNvSpPr>
            <a:spLocks noChangeArrowheads="1"/>
          </p:cNvSpPr>
          <p:nvPr/>
        </p:nvSpPr>
        <p:spPr bwMode="auto">
          <a:xfrm>
            <a:off x="2565307" y="4564498"/>
            <a:ext cx="72135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Graduate</a:t>
            </a:r>
            <a:r>
              <a:rPr lang="fr-FR" sz="1100">
                <a:solidFill>
                  <a:srgbClr val="000000"/>
                </a:solidFill>
                <a:latin typeface="+mj-lt"/>
                <a:cs typeface="Arial" pitchFamily="34" charset="0"/>
              </a:rPr>
              <a:t> 1</a:t>
            </a:r>
            <a:endParaRPr lang="fr-FR" sz="1100">
              <a:latin typeface="+mj-lt"/>
              <a:cs typeface="Arial" pitchFamily="34" charset="0"/>
            </a:endParaRPr>
          </a:p>
        </p:txBody>
      </p:sp>
      <p:sp>
        <p:nvSpPr>
          <p:cNvPr id="154" name="Freeform 624"/>
          <p:cNvSpPr>
            <a:spLocks/>
          </p:cNvSpPr>
          <p:nvPr/>
        </p:nvSpPr>
        <p:spPr bwMode="auto">
          <a:xfrm>
            <a:off x="4589463" y="3964947"/>
            <a:ext cx="620712" cy="476360"/>
          </a:xfrm>
          <a:custGeom>
            <a:avLst/>
            <a:gdLst/>
            <a:ahLst/>
            <a:cxnLst>
              <a:cxn ang="0">
                <a:pos x="0" y="157"/>
              </a:cxn>
              <a:cxn ang="0">
                <a:pos x="14" y="157"/>
              </a:cxn>
              <a:cxn ang="0">
                <a:pos x="24" y="131"/>
              </a:cxn>
              <a:cxn ang="0">
                <a:pos x="104" y="4"/>
              </a:cxn>
              <a:cxn ang="0">
                <a:pos x="110" y="0"/>
              </a:cxn>
              <a:cxn ang="0">
                <a:pos x="114" y="3"/>
              </a:cxn>
              <a:cxn ang="0">
                <a:pos x="196" y="131"/>
              </a:cxn>
              <a:cxn ang="0">
                <a:pos x="205" y="157"/>
              </a:cxn>
              <a:cxn ang="0">
                <a:pos x="175" y="157"/>
              </a:cxn>
              <a:cxn ang="0">
                <a:pos x="32" y="157"/>
              </a:cxn>
            </a:cxnLst>
            <a:rect l="0" t="0" r="r" b="b"/>
            <a:pathLst>
              <a:path w="205" h="157">
                <a:moveTo>
                  <a:pt x="0" y="157"/>
                </a:moveTo>
                <a:cubicBezTo>
                  <a:pt x="14" y="157"/>
                  <a:pt x="14" y="157"/>
                  <a:pt x="14" y="157"/>
                </a:cubicBezTo>
                <a:cubicBezTo>
                  <a:pt x="14" y="143"/>
                  <a:pt x="18" y="141"/>
                  <a:pt x="24" y="131"/>
                </a:cubicBezTo>
                <a:cubicBezTo>
                  <a:pt x="24" y="130"/>
                  <a:pt x="104" y="4"/>
                  <a:pt x="104" y="4"/>
                </a:cubicBezTo>
                <a:cubicBezTo>
                  <a:pt x="105" y="2"/>
                  <a:pt x="107" y="0"/>
                  <a:pt x="110" y="0"/>
                </a:cubicBezTo>
                <a:cubicBezTo>
                  <a:pt x="112" y="0"/>
                  <a:pt x="112" y="1"/>
                  <a:pt x="114" y="3"/>
                </a:cubicBezTo>
                <a:cubicBezTo>
                  <a:pt x="114" y="3"/>
                  <a:pt x="195" y="130"/>
                  <a:pt x="196" y="131"/>
                </a:cubicBezTo>
                <a:cubicBezTo>
                  <a:pt x="201" y="141"/>
                  <a:pt x="205" y="143"/>
                  <a:pt x="205" y="157"/>
                </a:cubicBezTo>
                <a:cubicBezTo>
                  <a:pt x="175" y="157"/>
                  <a:pt x="175" y="157"/>
                  <a:pt x="175" y="157"/>
                </a:cubicBezTo>
                <a:cubicBezTo>
                  <a:pt x="32" y="157"/>
                  <a:pt x="32" y="157"/>
                  <a:pt x="32" y="15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Line 625"/>
          <p:cNvSpPr>
            <a:spLocks noChangeShapeType="1"/>
          </p:cNvSpPr>
          <p:nvPr/>
        </p:nvSpPr>
        <p:spPr bwMode="auto">
          <a:xfrm flipV="1">
            <a:off x="4921472" y="4102082"/>
            <a:ext cx="3610" cy="19487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Oval 626"/>
          <p:cNvSpPr>
            <a:spLocks noChangeArrowheads="1"/>
          </p:cNvSpPr>
          <p:nvPr/>
        </p:nvSpPr>
        <p:spPr bwMode="auto">
          <a:xfrm>
            <a:off x="4903429" y="4336651"/>
            <a:ext cx="36088" cy="36088"/>
          </a:xfrm>
          <a:prstGeom prst="ellipse">
            <a:avLst/>
          </a:prstGeom>
          <a:solidFill>
            <a:srgbClr val="000000"/>
          </a:solidFill>
          <a:ln w="95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641"/>
          <p:cNvSpPr>
            <a:spLocks/>
          </p:cNvSpPr>
          <p:nvPr/>
        </p:nvSpPr>
        <p:spPr bwMode="auto">
          <a:xfrm>
            <a:off x="3582989" y="4111625"/>
            <a:ext cx="646112" cy="345514"/>
          </a:xfrm>
          <a:custGeom>
            <a:avLst/>
            <a:gdLst/>
            <a:ahLst/>
            <a:cxnLst>
              <a:cxn ang="0">
                <a:pos x="183" y="56"/>
              </a:cxn>
              <a:cxn ang="0">
                <a:pos x="220" y="45"/>
              </a:cxn>
              <a:cxn ang="0">
                <a:pos x="222" y="42"/>
              </a:cxn>
              <a:cxn ang="0">
                <a:pos x="220" y="39"/>
              </a:cxn>
              <a:cxn ang="0">
                <a:pos x="111" y="1"/>
              </a:cxn>
              <a:cxn ang="0">
                <a:pos x="110" y="0"/>
              </a:cxn>
              <a:cxn ang="0">
                <a:pos x="109" y="1"/>
              </a:cxn>
              <a:cxn ang="0">
                <a:pos x="3" y="39"/>
              </a:cxn>
              <a:cxn ang="0">
                <a:pos x="0" y="42"/>
              </a:cxn>
              <a:cxn ang="0">
                <a:pos x="3" y="45"/>
              </a:cxn>
              <a:cxn ang="0">
                <a:pos x="15" y="49"/>
              </a:cxn>
              <a:cxn ang="0">
                <a:pos x="15" y="60"/>
              </a:cxn>
              <a:cxn ang="0">
                <a:pos x="15" y="81"/>
              </a:cxn>
              <a:cxn ang="0">
                <a:pos x="9" y="90"/>
              </a:cxn>
              <a:cxn ang="0">
                <a:pos x="13" y="98"/>
              </a:cxn>
              <a:cxn ang="0">
                <a:pos x="10" y="117"/>
              </a:cxn>
              <a:cxn ang="0">
                <a:pos x="12" y="119"/>
              </a:cxn>
              <a:cxn ang="0">
                <a:pos x="27" y="110"/>
              </a:cxn>
              <a:cxn ang="0">
                <a:pos x="25" y="99"/>
              </a:cxn>
              <a:cxn ang="0">
                <a:pos x="30" y="90"/>
              </a:cxn>
              <a:cxn ang="0">
                <a:pos x="24" y="81"/>
              </a:cxn>
              <a:cxn ang="0">
                <a:pos x="24" y="60"/>
              </a:cxn>
              <a:cxn ang="0">
                <a:pos x="24" y="51"/>
              </a:cxn>
              <a:cxn ang="0">
                <a:pos x="43" y="57"/>
              </a:cxn>
              <a:cxn ang="0">
                <a:pos x="43" y="60"/>
              </a:cxn>
              <a:cxn ang="0">
                <a:pos x="43" y="83"/>
              </a:cxn>
              <a:cxn ang="0">
                <a:pos x="43" y="83"/>
              </a:cxn>
              <a:cxn ang="0">
                <a:pos x="110" y="99"/>
              </a:cxn>
              <a:cxn ang="0">
                <a:pos x="177" y="83"/>
              </a:cxn>
              <a:cxn ang="0">
                <a:pos x="177" y="83"/>
              </a:cxn>
              <a:cxn ang="0">
                <a:pos x="177" y="62"/>
              </a:cxn>
              <a:cxn ang="0">
                <a:pos x="176" y="60"/>
              </a:cxn>
              <a:cxn ang="0">
                <a:pos x="110" y="47"/>
              </a:cxn>
            </a:cxnLst>
            <a:rect l="0" t="0" r="r" b="b"/>
            <a:pathLst>
              <a:path w="222" h="119">
                <a:moveTo>
                  <a:pt x="183" y="56"/>
                </a:moveTo>
                <a:cubicBezTo>
                  <a:pt x="220" y="45"/>
                  <a:pt x="220" y="45"/>
                  <a:pt x="220" y="45"/>
                </a:cubicBezTo>
                <a:cubicBezTo>
                  <a:pt x="221" y="45"/>
                  <a:pt x="222" y="44"/>
                  <a:pt x="222" y="42"/>
                </a:cubicBezTo>
                <a:cubicBezTo>
                  <a:pt x="222" y="40"/>
                  <a:pt x="221" y="39"/>
                  <a:pt x="220" y="39"/>
                </a:cubicBezTo>
                <a:cubicBezTo>
                  <a:pt x="111" y="1"/>
                  <a:pt x="111" y="1"/>
                  <a:pt x="111" y="1"/>
                </a:cubicBezTo>
                <a:cubicBezTo>
                  <a:pt x="111" y="0"/>
                  <a:pt x="110" y="0"/>
                  <a:pt x="110" y="0"/>
                </a:cubicBezTo>
                <a:cubicBezTo>
                  <a:pt x="110" y="0"/>
                  <a:pt x="109" y="0"/>
                  <a:pt x="109" y="1"/>
                </a:cubicBezTo>
                <a:cubicBezTo>
                  <a:pt x="3" y="39"/>
                  <a:pt x="3" y="39"/>
                  <a:pt x="3" y="39"/>
                </a:cubicBezTo>
                <a:cubicBezTo>
                  <a:pt x="1" y="39"/>
                  <a:pt x="0" y="41"/>
                  <a:pt x="0" y="42"/>
                </a:cubicBezTo>
                <a:cubicBezTo>
                  <a:pt x="0" y="44"/>
                  <a:pt x="1" y="45"/>
                  <a:pt x="3" y="45"/>
                </a:cubicBezTo>
                <a:cubicBezTo>
                  <a:pt x="15" y="49"/>
                  <a:pt x="15" y="49"/>
                  <a:pt x="15" y="49"/>
                </a:cubicBezTo>
                <a:cubicBezTo>
                  <a:pt x="15" y="60"/>
                  <a:pt x="15" y="60"/>
                  <a:pt x="15" y="60"/>
                </a:cubicBezTo>
                <a:cubicBezTo>
                  <a:pt x="15" y="81"/>
                  <a:pt x="15" y="81"/>
                  <a:pt x="15" y="81"/>
                </a:cubicBezTo>
                <a:cubicBezTo>
                  <a:pt x="12" y="82"/>
                  <a:pt x="9" y="86"/>
                  <a:pt x="9" y="90"/>
                </a:cubicBezTo>
                <a:cubicBezTo>
                  <a:pt x="9" y="93"/>
                  <a:pt x="10" y="96"/>
                  <a:pt x="13" y="98"/>
                </a:cubicBezTo>
                <a:cubicBezTo>
                  <a:pt x="10" y="117"/>
                  <a:pt x="10" y="117"/>
                  <a:pt x="10" y="117"/>
                </a:cubicBezTo>
                <a:cubicBezTo>
                  <a:pt x="9" y="119"/>
                  <a:pt x="10" y="119"/>
                  <a:pt x="12" y="119"/>
                </a:cubicBezTo>
                <a:cubicBezTo>
                  <a:pt x="17" y="119"/>
                  <a:pt x="28" y="114"/>
                  <a:pt x="27" y="110"/>
                </a:cubicBezTo>
                <a:cubicBezTo>
                  <a:pt x="25" y="99"/>
                  <a:pt x="25" y="99"/>
                  <a:pt x="25" y="99"/>
                </a:cubicBezTo>
                <a:cubicBezTo>
                  <a:pt x="28" y="97"/>
                  <a:pt x="30" y="94"/>
                  <a:pt x="30" y="90"/>
                </a:cubicBezTo>
                <a:cubicBezTo>
                  <a:pt x="30" y="86"/>
                  <a:pt x="28" y="82"/>
                  <a:pt x="24" y="81"/>
                </a:cubicBezTo>
                <a:cubicBezTo>
                  <a:pt x="24" y="60"/>
                  <a:pt x="24" y="60"/>
                  <a:pt x="24" y="60"/>
                </a:cubicBezTo>
                <a:cubicBezTo>
                  <a:pt x="24" y="51"/>
                  <a:pt x="24" y="51"/>
                  <a:pt x="24" y="51"/>
                </a:cubicBezTo>
                <a:cubicBezTo>
                  <a:pt x="43" y="57"/>
                  <a:pt x="43" y="57"/>
                  <a:pt x="43" y="57"/>
                </a:cubicBezTo>
                <a:cubicBezTo>
                  <a:pt x="43" y="60"/>
                  <a:pt x="43" y="60"/>
                  <a:pt x="43" y="60"/>
                </a:cubicBezTo>
                <a:cubicBezTo>
                  <a:pt x="43" y="83"/>
                  <a:pt x="43" y="83"/>
                  <a:pt x="43" y="83"/>
                </a:cubicBezTo>
                <a:cubicBezTo>
                  <a:pt x="43" y="83"/>
                  <a:pt x="43" y="83"/>
                  <a:pt x="43" y="83"/>
                </a:cubicBezTo>
                <a:cubicBezTo>
                  <a:pt x="43" y="92"/>
                  <a:pt x="73" y="99"/>
                  <a:pt x="110" y="99"/>
                </a:cubicBezTo>
                <a:cubicBezTo>
                  <a:pt x="147" y="99"/>
                  <a:pt x="177" y="92"/>
                  <a:pt x="177" y="83"/>
                </a:cubicBezTo>
                <a:cubicBezTo>
                  <a:pt x="177" y="83"/>
                  <a:pt x="177" y="83"/>
                  <a:pt x="177" y="83"/>
                </a:cubicBezTo>
                <a:cubicBezTo>
                  <a:pt x="177" y="62"/>
                  <a:pt x="177" y="62"/>
                  <a:pt x="177" y="62"/>
                </a:cubicBezTo>
                <a:cubicBezTo>
                  <a:pt x="177" y="61"/>
                  <a:pt x="177" y="61"/>
                  <a:pt x="176" y="60"/>
                </a:cubicBezTo>
                <a:cubicBezTo>
                  <a:pt x="169" y="54"/>
                  <a:pt x="144" y="47"/>
                  <a:pt x="110"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Rectangle 789"/>
          <p:cNvSpPr>
            <a:spLocks noChangeArrowheads="1"/>
          </p:cNvSpPr>
          <p:nvPr/>
        </p:nvSpPr>
        <p:spPr bwMode="auto">
          <a:xfrm>
            <a:off x="3527332" y="4564498"/>
            <a:ext cx="721352"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Graduate</a:t>
            </a:r>
            <a:r>
              <a:rPr lang="fr-FR" sz="1100">
                <a:solidFill>
                  <a:srgbClr val="000000"/>
                </a:solidFill>
                <a:latin typeface="+mj-lt"/>
                <a:cs typeface="Arial" pitchFamily="34" charset="0"/>
              </a:rPr>
              <a:t> 2</a:t>
            </a:r>
            <a:endParaRPr lang="fr-FR" sz="1100">
              <a:latin typeface="+mj-lt"/>
              <a:cs typeface="Arial" pitchFamily="34" charset="0"/>
            </a:endParaRPr>
          </a:p>
        </p:txBody>
      </p:sp>
      <p:sp>
        <p:nvSpPr>
          <p:cNvPr id="224" name="Rectangle 789"/>
          <p:cNvSpPr>
            <a:spLocks noChangeArrowheads="1"/>
          </p:cNvSpPr>
          <p:nvPr/>
        </p:nvSpPr>
        <p:spPr bwMode="auto">
          <a:xfrm>
            <a:off x="4437504" y="4554973"/>
            <a:ext cx="939361"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Alert</a:t>
            </a:r>
            <a:r>
              <a:rPr lang="fr-FR" sz="1100">
                <a:solidFill>
                  <a:srgbClr val="000000"/>
                </a:solidFill>
                <a:latin typeface="+mj-lt"/>
                <a:cs typeface="Arial" pitchFamily="34" charset="0"/>
              </a:rPr>
              <a:t> / Danger</a:t>
            </a:r>
            <a:endParaRPr lang="fr-FR" sz="1100">
              <a:latin typeface="+mj-lt"/>
              <a:cs typeface="Arial" pitchFamily="34" charset="0"/>
            </a:endParaRPr>
          </a:p>
        </p:txBody>
      </p:sp>
      <p:grpSp>
        <p:nvGrpSpPr>
          <p:cNvPr id="23" name="Groupe 228"/>
          <p:cNvGrpSpPr/>
          <p:nvPr/>
        </p:nvGrpSpPr>
        <p:grpSpPr>
          <a:xfrm>
            <a:off x="9715501" y="2630489"/>
            <a:ext cx="571500" cy="579020"/>
            <a:chOff x="8020051" y="2344738"/>
            <a:chExt cx="241300" cy="244475"/>
          </a:xfrm>
        </p:grpSpPr>
        <p:sp>
          <p:nvSpPr>
            <p:cNvPr id="225" name="Oval 637"/>
            <p:cNvSpPr>
              <a:spLocks noChangeArrowheads="1"/>
            </p:cNvSpPr>
            <p:nvPr/>
          </p:nvSpPr>
          <p:spPr bwMode="auto">
            <a:xfrm>
              <a:off x="8093076" y="2370138"/>
              <a:ext cx="65088" cy="65088"/>
            </a:xfrm>
            <a:prstGeom prst="ellipse">
              <a:avLst/>
            </a:prstGeom>
            <a:noFill/>
            <a:ln w="7938"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Oval 638"/>
            <p:cNvSpPr>
              <a:spLocks noChangeArrowheads="1"/>
            </p:cNvSpPr>
            <p:nvPr/>
          </p:nvSpPr>
          <p:spPr bwMode="auto">
            <a:xfrm>
              <a:off x="8067676" y="2344738"/>
              <a:ext cx="115888" cy="115888"/>
            </a:xfrm>
            <a:prstGeom prst="ellipse">
              <a:avLst/>
            </a:prstGeom>
            <a:noFill/>
            <a:ln w="7938"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639"/>
            <p:cNvSpPr>
              <a:spLocks/>
            </p:cNvSpPr>
            <p:nvPr/>
          </p:nvSpPr>
          <p:spPr bwMode="auto">
            <a:xfrm>
              <a:off x="8137526" y="2444750"/>
              <a:ext cx="123825" cy="144463"/>
            </a:xfrm>
            <a:custGeom>
              <a:avLst/>
              <a:gdLst/>
              <a:ahLst/>
              <a:cxnLst>
                <a:cxn ang="0">
                  <a:pos x="40" y="108"/>
                </a:cxn>
                <a:cxn ang="0">
                  <a:pos x="0" y="33"/>
                </a:cxn>
                <a:cxn ang="0">
                  <a:pos x="49" y="0"/>
                </a:cxn>
                <a:cxn ang="0">
                  <a:pos x="92" y="77"/>
                </a:cxn>
                <a:cxn ang="0">
                  <a:pos x="56" y="71"/>
                </a:cxn>
                <a:cxn ang="0">
                  <a:pos x="40" y="108"/>
                </a:cxn>
              </a:cxnLst>
              <a:rect l="0" t="0" r="r" b="b"/>
              <a:pathLst>
                <a:path w="92" h="108">
                  <a:moveTo>
                    <a:pt x="40" y="108"/>
                  </a:moveTo>
                  <a:cubicBezTo>
                    <a:pt x="0" y="33"/>
                    <a:pt x="0" y="33"/>
                    <a:pt x="0" y="33"/>
                  </a:cubicBezTo>
                  <a:cubicBezTo>
                    <a:pt x="0" y="33"/>
                    <a:pt x="38" y="31"/>
                    <a:pt x="49" y="0"/>
                  </a:cubicBezTo>
                  <a:cubicBezTo>
                    <a:pt x="92" y="77"/>
                    <a:pt x="92" y="77"/>
                    <a:pt x="92" y="77"/>
                  </a:cubicBezTo>
                  <a:cubicBezTo>
                    <a:pt x="56" y="71"/>
                    <a:pt x="56" y="71"/>
                    <a:pt x="56" y="71"/>
                  </a:cubicBezTo>
                  <a:lnTo>
                    <a:pt x="40" y="108"/>
                  </a:lnTo>
                  <a:close/>
                </a:path>
              </a:pathLst>
            </a:custGeom>
            <a:noFill/>
            <a:ln w="7938"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640"/>
            <p:cNvSpPr>
              <a:spLocks/>
            </p:cNvSpPr>
            <p:nvPr/>
          </p:nvSpPr>
          <p:spPr bwMode="auto">
            <a:xfrm>
              <a:off x="8020051" y="2451100"/>
              <a:ext cx="106363" cy="112713"/>
            </a:xfrm>
            <a:custGeom>
              <a:avLst/>
              <a:gdLst/>
              <a:ahLst/>
              <a:cxnLst>
                <a:cxn ang="0">
                  <a:pos x="30" y="0"/>
                </a:cxn>
                <a:cxn ang="0">
                  <a:pos x="30" y="2"/>
                </a:cxn>
                <a:cxn ang="0">
                  <a:pos x="78" y="30"/>
                </a:cxn>
                <a:cxn ang="0">
                  <a:pos x="80" y="34"/>
                </a:cxn>
                <a:cxn ang="0">
                  <a:pos x="51" y="85"/>
                </a:cxn>
                <a:cxn ang="0">
                  <a:pos x="38" y="51"/>
                </a:cxn>
                <a:cxn ang="0">
                  <a:pos x="0" y="58"/>
                </a:cxn>
                <a:cxn ang="0">
                  <a:pos x="23" y="11"/>
                </a:cxn>
              </a:cxnLst>
              <a:rect l="0" t="0" r="r" b="b"/>
              <a:pathLst>
                <a:path w="80" h="85">
                  <a:moveTo>
                    <a:pt x="30" y="0"/>
                  </a:moveTo>
                  <a:cubicBezTo>
                    <a:pt x="30" y="0"/>
                    <a:pt x="30" y="1"/>
                    <a:pt x="30" y="2"/>
                  </a:cubicBezTo>
                  <a:cubicBezTo>
                    <a:pt x="32" y="6"/>
                    <a:pt x="42" y="19"/>
                    <a:pt x="78" y="30"/>
                  </a:cubicBezTo>
                  <a:cubicBezTo>
                    <a:pt x="80" y="34"/>
                    <a:pt x="80" y="34"/>
                    <a:pt x="80" y="34"/>
                  </a:cubicBezTo>
                  <a:cubicBezTo>
                    <a:pt x="51" y="85"/>
                    <a:pt x="51" y="85"/>
                    <a:pt x="51" y="85"/>
                  </a:cubicBezTo>
                  <a:cubicBezTo>
                    <a:pt x="38" y="51"/>
                    <a:pt x="38" y="51"/>
                    <a:pt x="38" y="51"/>
                  </a:cubicBezTo>
                  <a:cubicBezTo>
                    <a:pt x="0" y="58"/>
                    <a:pt x="0" y="58"/>
                    <a:pt x="0" y="58"/>
                  </a:cubicBezTo>
                  <a:cubicBezTo>
                    <a:pt x="23" y="11"/>
                    <a:pt x="23" y="11"/>
                    <a:pt x="23" y="11"/>
                  </a:cubicBezTo>
                </a:path>
              </a:pathLst>
            </a:custGeom>
            <a:noFill/>
            <a:ln w="7938"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30" name="Rectangle 879"/>
          <p:cNvSpPr>
            <a:spLocks noChangeArrowheads="1"/>
          </p:cNvSpPr>
          <p:nvPr/>
        </p:nvSpPr>
        <p:spPr bwMode="auto">
          <a:xfrm>
            <a:off x="9723371" y="3316723"/>
            <a:ext cx="535403"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Award</a:t>
            </a:r>
            <a:r>
              <a:rPr lang="fr-FR" sz="1100">
                <a:solidFill>
                  <a:srgbClr val="000000"/>
                </a:solidFill>
                <a:latin typeface="+mj-lt"/>
                <a:cs typeface="Arial" pitchFamily="34" charset="0"/>
              </a:rPr>
              <a:t> 2</a:t>
            </a:r>
            <a:endParaRPr lang="fr-FR" sz="1100">
              <a:latin typeface="+mj-lt"/>
              <a:cs typeface="Arial" pitchFamily="34" charset="0"/>
            </a:endParaRPr>
          </a:p>
        </p:txBody>
      </p:sp>
      <p:grpSp>
        <p:nvGrpSpPr>
          <p:cNvPr id="24" name="Groupe 235"/>
          <p:cNvGrpSpPr/>
          <p:nvPr/>
        </p:nvGrpSpPr>
        <p:grpSpPr>
          <a:xfrm>
            <a:off x="8470903" y="1730376"/>
            <a:ext cx="647237" cy="327025"/>
            <a:chOff x="5946776" y="4416425"/>
            <a:chExt cx="301625" cy="152400"/>
          </a:xfrm>
        </p:grpSpPr>
        <p:sp>
          <p:nvSpPr>
            <p:cNvPr id="232" name="Freeform 34"/>
            <p:cNvSpPr>
              <a:spLocks/>
            </p:cNvSpPr>
            <p:nvPr/>
          </p:nvSpPr>
          <p:spPr bwMode="auto">
            <a:xfrm>
              <a:off x="5946776" y="4416425"/>
              <a:ext cx="301625" cy="152400"/>
            </a:xfrm>
            <a:custGeom>
              <a:avLst/>
              <a:gdLst/>
              <a:ahLst/>
              <a:cxnLst>
                <a:cxn ang="0">
                  <a:pos x="160" y="114"/>
                </a:cxn>
                <a:cxn ang="0">
                  <a:pos x="0" y="114"/>
                </a:cxn>
                <a:cxn ang="0">
                  <a:pos x="0" y="55"/>
                </a:cxn>
                <a:cxn ang="0">
                  <a:pos x="11" y="43"/>
                </a:cxn>
                <a:cxn ang="0">
                  <a:pos x="57" y="43"/>
                </a:cxn>
                <a:cxn ang="0">
                  <a:pos x="69" y="31"/>
                </a:cxn>
                <a:cxn ang="0">
                  <a:pos x="69" y="12"/>
                </a:cxn>
                <a:cxn ang="0">
                  <a:pos x="80" y="0"/>
                </a:cxn>
                <a:cxn ang="0">
                  <a:pos x="152" y="0"/>
                </a:cxn>
                <a:cxn ang="0">
                  <a:pos x="164" y="12"/>
                </a:cxn>
                <a:cxn ang="0">
                  <a:pos x="164" y="48"/>
                </a:cxn>
                <a:cxn ang="0">
                  <a:pos x="175" y="59"/>
                </a:cxn>
                <a:cxn ang="0">
                  <a:pos x="215" y="59"/>
                </a:cxn>
                <a:cxn ang="0">
                  <a:pos x="226" y="71"/>
                </a:cxn>
                <a:cxn ang="0">
                  <a:pos x="226" y="114"/>
                </a:cxn>
                <a:cxn ang="0">
                  <a:pos x="208" y="114"/>
                </a:cxn>
              </a:cxnLst>
              <a:rect l="0" t="0" r="r" b="b"/>
              <a:pathLst>
                <a:path w="226" h="114">
                  <a:moveTo>
                    <a:pt x="160" y="114"/>
                  </a:moveTo>
                  <a:cubicBezTo>
                    <a:pt x="0" y="114"/>
                    <a:pt x="0" y="114"/>
                    <a:pt x="0" y="114"/>
                  </a:cubicBezTo>
                  <a:cubicBezTo>
                    <a:pt x="0" y="55"/>
                    <a:pt x="0" y="55"/>
                    <a:pt x="0" y="55"/>
                  </a:cubicBezTo>
                  <a:cubicBezTo>
                    <a:pt x="0" y="48"/>
                    <a:pt x="5" y="43"/>
                    <a:pt x="11" y="43"/>
                  </a:cubicBezTo>
                  <a:cubicBezTo>
                    <a:pt x="57" y="43"/>
                    <a:pt x="57" y="43"/>
                    <a:pt x="57" y="43"/>
                  </a:cubicBezTo>
                  <a:cubicBezTo>
                    <a:pt x="64" y="43"/>
                    <a:pt x="69" y="38"/>
                    <a:pt x="69" y="31"/>
                  </a:cubicBezTo>
                  <a:cubicBezTo>
                    <a:pt x="69" y="12"/>
                    <a:pt x="69" y="12"/>
                    <a:pt x="69" y="12"/>
                  </a:cubicBezTo>
                  <a:cubicBezTo>
                    <a:pt x="69" y="5"/>
                    <a:pt x="74" y="0"/>
                    <a:pt x="80" y="0"/>
                  </a:cubicBezTo>
                  <a:cubicBezTo>
                    <a:pt x="152" y="0"/>
                    <a:pt x="152" y="0"/>
                    <a:pt x="152" y="0"/>
                  </a:cubicBezTo>
                  <a:cubicBezTo>
                    <a:pt x="159" y="0"/>
                    <a:pt x="164" y="5"/>
                    <a:pt x="164" y="12"/>
                  </a:cubicBezTo>
                  <a:cubicBezTo>
                    <a:pt x="164" y="48"/>
                    <a:pt x="164" y="48"/>
                    <a:pt x="164" y="48"/>
                  </a:cubicBezTo>
                  <a:cubicBezTo>
                    <a:pt x="164" y="54"/>
                    <a:pt x="169" y="59"/>
                    <a:pt x="175" y="59"/>
                  </a:cubicBezTo>
                  <a:cubicBezTo>
                    <a:pt x="215" y="59"/>
                    <a:pt x="215" y="59"/>
                    <a:pt x="215" y="59"/>
                  </a:cubicBezTo>
                  <a:cubicBezTo>
                    <a:pt x="221" y="59"/>
                    <a:pt x="226" y="64"/>
                    <a:pt x="226" y="71"/>
                  </a:cubicBezTo>
                  <a:cubicBezTo>
                    <a:pt x="226" y="114"/>
                    <a:pt x="226" y="114"/>
                    <a:pt x="226" y="114"/>
                  </a:cubicBezTo>
                  <a:cubicBezTo>
                    <a:pt x="208" y="114"/>
                    <a:pt x="208" y="114"/>
                    <a:pt x="208" y="114"/>
                  </a:cubicBezTo>
                </a:path>
              </a:pathLst>
            </a:custGeom>
            <a:noFill/>
            <a:ln w="7938"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35"/>
            <p:cNvSpPr>
              <a:spLocks/>
            </p:cNvSpPr>
            <p:nvPr/>
          </p:nvSpPr>
          <p:spPr bwMode="auto">
            <a:xfrm>
              <a:off x="6083301" y="4437063"/>
              <a:ext cx="15875" cy="38100"/>
            </a:xfrm>
            <a:custGeom>
              <a:avLst/>
              <a:gdLst/>
              <a:ahLst/>
              <a:cxnLst>
                <a:cxn ang="0">
                  <a:pos x="0" y="5"/>
                </a:cxn>
                <a:cxn ang="0">
                  <a:pos x="8" y="0"/>
                </a:cxn>
                <a:cxn ang="0">
                  <a:pos x="12" y="0"/>
                </a:cxn>
                <a:cxn ang="0">
                  <a:pos x="12" y="28"/>
                </a:cxn>
                <a:cxn ang="0">
                  <a:pos x="7" y="28"/>
                </a:cxn>
                <a:cxn ang="0">
                  <a:pos x="7" y="8"/>
                </a:cxn>
                <a:cxn ang="0">
                  <a:pos x="0" y="8"/>
                </a:cxn>
                <a:cxn ang="0">
                  <a:pos x="0" y="5"/>
                </a:cxn>
              </a:cxnLst>
              <a:rect l="0" t="0" r="r" b="b"/>
              <a:pathLst>
                <a:path w="12" h="28">
                  <a:moveTo>
                    <a:pt x="0" y="5"/>
                  </a:moveTo>
                  <a:cubicBezTo>
                    <a:pt x="4" y="5"/>
                    <a:pt x="7" y="3"/>
                    <a:pt x="8" y="0"/>
                  </a:cubicBezTo>
                  <a:cubicBezTo>
                    <a:pt x="12" y="0"/>
                    <a:pt x="12" y="0"/>
                    <a:pt x="12" y="0"/>
                  </a:cubicBezTo>
                  <a:cubicBezTo>
                    <a:pt x="12" y="28"/>
                    <a:pt x="12" y="28"/>
                    <a:pt x="12" y="28"/>
                  </a:cubicBezTo>
                  <a:cubicBezTo>
                    <a:pt x="7" y="28"/>
                    <a:pt x="7" y="28"/>
                    <a:pt x="7" y="28"/>
                  </a:cubicBezTo>
                  <a:cubicBezTo>
                    <a:pt x="7" y="8"/>
                    <a:pt x="7" y="8"/>
                    <a:pt x="7" y="8"/>
                  </a:cubicBezTo>
                  <a:cubicBezTo>
                    <a:pt x="0" y="8"/>
                    <a:pt x="0" y="8"/>
                    <a:pt x="0" y="8"/>
                  </a:cubicBezTo>
                  <a:lnTo>
                    <a:pt x="0" y="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36"/>
            <p:cNvSpPr>
              <a:spLocks/>
            </p:cNvSpPr>
            <p:nvPr/>
          </p:nvSpPr>
          <p:spPr bwMode="auto">
            <a:xfrm>
              <a:off x="5973764" y="4497388"/>
              <a:ext cx="25400" cy="39688"/>
            </a:xfrm>
            <a:custGeom>
              <a:avLst/>
              <a:gdLst/>
              <a:ahLst/>
              <a:cxnLst>
                <a:cxn ang="0">
                  <a:pos x="20" y="30"/>
                </a:cxn>
                <a:cxn ang="0">
                  <a:pos x="0" y="30"/>
                </a:cxn>
                <a:cxn ang="0">
                  <a:pos x="7" y="19"/>
                </a:cxn>
                <a:cxn ang="0">
                  <a:pos x="15" y="9"/>
                </a:cxn>
                <a:cxn ang="0">
                  <a:pos x="10" y="4"/>
                </a:cxn>
                <a:cxn ang="0">
                  <a:pos x="6" y="11"/>
                </a:cxn>
                <a:cxn ang="0">
                  <a:pos x="1" y="11"/>
                </a:cxn>
                <a:cxn ang="0">
                  <a:pos x="11" y="0"/>
                </a:cxn>
                <a:cxn ang="0">
                  <a:pos x="20" y="9"/>
                </a:cxn>
                <a:cxn ang="0">
                  <a:pos x="14" y="19"/>
                </a:cxn>
                <a:cxn ang="0">
                  <a:pos x="6" y="25"/>
                </a:cxn>
                <a:cxn ang="0">
                  <a:pos x="20" y="25"/>
                </a:cxn>
                <a:cxn ang="0">
                  <a:pos x="20" y="30"/>
                </a:cxn>
              </a:cxnLst>
              <a:rect l="0" t="0" r="r" b="b"/>
              <a:pathLst>
                <a:path w="20" h="30">
                  <a:moveTo>
                    <a:pt x="20" y="30"/>
                  </a:moveTo>
                  <a:cubicBezTo>
                    <a:pt x="0" y="30"/>
                    <a:pt x="0" y="30"/>
                    <a:pt x="0" y="30"/>
                  </a:cubicBezTo>
                  <a:cubicBezTo>
                    <a:pt x="0" y="25"/>
                    <a:pt x="3" y="21"/>
                    <a:pt x="7" y="19"/>
                  </a:cubicBezTo>
                  <a:cubicBezTo>
                    <a:pt x="10" y="16"/>
                    <a:pt x="15" y="14"/>
                    <a:pt x="15" y="9"/>
                  </a:cubicBezTo>
                  <a:cubicBezTo>
                    <a:pt x="15" y="7"/>
                    <a:pt x="14" y="4"/>
                    <a:pt x="10" y="4"/>
                  </a:cubicBezTo>
                  <a:cubicBezTo>
                    <a:pt x="7" y="4"/>
                    <a:pt x="6" y="7"/>
                    <a:pt x="6" y="11"/>
                  </a:cubicBezTo>
                  <a:cubicBezTo>
                    <a:pt x="1" y="11"/>
                    <a:pt x="1" y="11"/>
                    <a:pt x="1" y="11"/>
                  </a:cubicBezTo>
                  <a:cubicBezTo>
                    <a:pt x="1" y="5"/>
                    <a:pt x="4" y="0"/>
                    <a:pt x="11" y="0"/>
                  </a:cubicBezTo>
                  <a:cubicBezTo>
                    <a:pt x="18" y="0"/>
                    <a:pt x="20" y="6"/>
                    <a:pt x="20" y="9"/>
                  </a:cubicBezTo>
                  <a:cubicBezTo>
                    <a:pt x="20" y="14"/>
                    <a:pt x="17" y="17"/>
                    <a:pt x="14" y="19"/>
                  </a:cubicBezTo>
                  <a:cubicBezTo>
                    <a:pt x="10" y="21"/>
                    <a:pt x="7" y="23"/>
                    <a:pt x="6" y="25"/>
                  </a:cubicBezTo>
                  <a:cubicBezTo>
                    <a:pt x="20" y="25"/>
                    <a:pt x="20" y="25"/>
                    <a:pt x="20" y="25"/>
                  </a:cubicBezTo>
                  <a:lnTo>
                    <a:pt x="20" y="3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37"/>
            <p:cNvSpPr>
              <a:spLocks/>
            </p:cNvSpPr>
            <p:nvPr/>
          </p:nvSpPr>
          <p:spPr bwMode="auto">
            <a:xfrm>
              <a:off x="6184901" y="4511675"/>
              <a:ext cx="26988" cy="39688"/>
            </a:xfrm>
            <a:custGeom>
              <a:avLst/>
              <a:gdLst/>
              <a:ahLst/>
              <a:cxnLst>
                <a:cxn ang="0">
                  <a:pos x="8" y="12"/>
                </a:cxn>
                <a:cxn ang="0">
                  <a:pos x="14" y="8"/>
                </a:cxn>
                <a:cxn ang="0">
                  <a:pos x="10" y="4"/>
                </a:cxn>
                <a:cxn ang="0">
                  <a:pos x="5" y="10"/>
                </a:cxn>
                <a:cxn ang="0">
                  <a:pos x="0" y="10"/>
                </a:cxn>
                <a:cxn ang="0">
                  <a:pos x="10" y="0"/>
                </a:cxn>
                <a:cxn ang="0">
                  <a:pos x="19" y="7"/>
                </a:cxn>
                <a:cxn ang="0">
                  <a:pos x="15" y="14"/>
                </a:cxn>
                <a:cxn ang="0">
                  <a:pos x="15" y="14"/>
                </a:cxn>
                <a:cxn ang="0">
                  <a:pos x="20" y="21"/>
                </a:cxn>
                <a:cxn ang="0">
                  <a:pos x="10" y="30"/>
                </a:cxn>
                <a:cxn ang="0">
                  <a:pos x="0" y="20"/>
                </a:cxn>
                <a:cxn ang="0">
                  <a:pos x="4" y="20"/>
                </a:cxn>
                <a:cxn ang="0">
                  <a:pos x="10" y="26"/>
                </a:cxn>
                <a:cxn ang="0">
                  <a:pos x="15" y="21"/>
                </a:cxn>
                <a:cxn ang="0">
                  <a:pos x="8" y="16"/>
                </a:cxn>
                <a:cxn ang="0">
                  <a:pos x="8" y="12"/>
                </a:cxn>
              </a:cxnLst>
              <a:rect l="0" t="0" r="r" b="b"/>
              <a:pathLst>
                <a:path w="20" h="30">
                  <a:moveTo>
                    <a:pt x="8" y="12"/>
                  </a:moveTo>
                  <a:cubicBezTo>
                    <a:pt x="11" y="12"/>
                    <a:pt x="14" y="11"/>
                    <a:pt x="14" y="8"/>
                  </a:cubicBezTo>
                  <a:cubicBezTo>
                    <a:pt x="14" y="5"/>
                    <a:pt x="12" y="4"/>
                    <a:pt x="10" y="4"/>
                  </a:cubicBezTo>
                  <a:cubicBezTo>
                    <a:pt x="7" y="4"/>
                    <a:pt x="5" y="7"/>
                    <a:pt x="5" y="10"/>
                  </a:cubicBezTo>
                  <a:cubicBezTo>
                    <a:pt x="0" y="10"/>
                    <a:pt x="0" y="10"/>
                    <a:pt x="0" y="10"/>
                  </a:cubicBezTo>
                  <a:cubicBezTo>
                    <a:pt x="1" y="4"/>
                    <a:pt x="4" y="0"/>
                    <a:pt x="10" y="0"/>
                  </a:cubicBezTo>
                  <a:cubicBezTo>
                    <a:pt x="14" y="0"/>
                    <a:pt x="19" y="2"/>
                    <a:pt x="19" y="7"/>
                  </a:cubicBezTo>
                  <a:cubicBezTo>
                    <a:pt x="19" y="10"/>
                    <a:pt x="18" y="13"/>
                    <a:pt x="15" y="14"/>
                  </a:cubicBezTo>
                  <a:cubicBezTo>
                    <a:pt x="15" y="14"/>
                    <a:pt x="15" y="14"/>
                    <a:pt x="15" y="14"/>
                  </a:cubicBezTo>
                  <a:cubicBezTo>
                    <a:pt x="18" y="14"/>
                    <a:pt x="20" y="17"/>
                    <a:pt x="20" y="21"/>
                  </a:cubicBezTo>
                  <a:cubicBezTo>
                    <a:pt x="20" y="26"/>
                    <a:pt x="15" y="30"/>
                    <a:pt x="10" y="30"/>
                  </a:cubicBezTo>
                  <a:cubicBezTo>
                    <a:pt x="3" y="30"/>
                    <a:pt x="0" y="26"/>
                    <a:pt x="0" y="20"/>
                  </a:cubicBezTo>
                  <a:cubicBezTo>
                    <a:pt x="4" y="20"/>
                    <a:pt x="4" y="20"/>
                    <a:pt x="4" y="20"/>
                  </a:cubicBezTo>
                  <a:cubicBezTo>
                    <a:pt x="4" y="23"/>
                    <a:pt x="6" y="26"/>
                    <a:pt x="10" y="26"/>
                  </a:cubicBezTo>
                  <a:cubicBezTo>
                    <a:pt x="13" y="26"/>
                    <a:pt x="15" y="24"/>
                    <a:pt x="15" y="21"/>
                  </a:cubicBezTo>
                  <a:cubicBezTo>
                    <a:pt x="15" y="16"/>
                    <a:pt x="12" y="16"/>
                    <a:pt x="8" y="16"/>
                  </a:cubicBezTo>
                  <a:lnTo>
                    <a:pt x="8" y="12"/>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37" name="Rectangle 888"/>
          <p:cNvSpPr>
            <a:spLocks noChangeArrowheads="1"/>
          </p:cNvSpPr>
          <p:nvPr/>
        </p:nvSpPr>
        <p:spPr bwMode="auto">
          <a:xfrm>
            <a:off x="8458419" y="2168969"/>
            <a:ext cx="636393" cy="1692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fr-FR" sz="1100" err="1">
                <a:solidFill>
                  <a:srgbClr val="000000"/>
                </a:solidFill>
                <a:latin typeface="+mj-lt"/>
                <a:cs typeface="Arial" pitchFamily="34" charset="0"/>
              </a:rPr>
              <a:t>Ranking</a:t>
            </a:r>
            <a:r>
              <a:rPr lang="fr-FR" sz="1100">
                <a:solidFill>
                  <a:srgbClr val="000000"/>
                </a:solidFill>
                <a:latin typeface="+mj-lt"/>
                <a:cs typeface="Arial" pitchFamily="34" charset="0"/>
              </a:rPr>
              <a:t> 2</a:t>
            </a:r>
            <a:endParaRPr lang="fr-FR" sz="1100">
              <a:latin typeface="+mj-lt"/>
              <a:cs typeface="Arial" pitchFamily="34" charset="0"/>
            </a:endParaRPr>
          </a:p>
        </p:txBody>
      </p:sp>
      <p:sp>
        <p:nvSpPr>
          <p:cNvPr id="271" name="ZoneTexte 270"/>
          <p:cNvSpPr txBox="1"/>
          <p:nvPr/>
        </p:nvSpPr>
        <p:spPr>
          <a:xfrm>
            <a:off x="4897705" y="2130120"/>
            <a:ext cx="1005072" cy="254067"/>
          </a:xfrm>
          <a:prstGeom prst="rect">
            <a:avLst/>
          </a:prstGeom>
          <a:noFill/>
        </p:spPr>
        <p:txBody>
          <a:bodyPr wrap="square" lIns="83969" tIns="41985" rIns="83969" bIns="41985" rtlCol="0">
            <a:spAutoFit/>
          </a:bodyPr>
          <a:lstStyle/>
          <a:p>
            <a:pPr algn="ctr"/>
            <a:r>
              <a:rPr lang="en-US" sz="1100">
                <a:solidFill>
                  <a:srgbClr val="494949"/>
                </a:solidFill>
              </a:rPr>
              <a:t>Newsletter</a:t>
            </a:r>
          </a:p>
        </p:txBody>
      </p:sp>
      <p:sp>
        <p:nvSpPr>
          <p:cNvPr id="272" name="ZoneTexte 271"/>
          <p:cNvSpPr txBox="1"/>
          <p:nvPr/>
        </p:nvSpPr>
        <p:spPr>
          <a:xfrm>
            <a:off x="5900717" y="2130120"/>
            <a:ext cx="849952" cy="254067"/>
          </a:xfrm>
          <a:prstGeom prst="rect">
            <a:avLst/>
          </a:prstGeom>
          <a:noFill/>
        </p:spPr>
        <p:txBody>
          <a:bodyPr wrap="square" lIns="83969" tIns="41985" rIns="83969" bIns="41985" rtlCol="0">
            <a:spAutoFit/>
          </a:bodyPr>
          <a:lstStyle/>
          <a:p>
            <a:pPr algn="ctr"/>
            <a:r>
              <a:rPr lang="en-US" sz="1100">
                <a:solidFill>
                  <a:srgbClr val="494949"/>
                </a:solidFill>
              </a:rPr>
              <a:t>Brochures</a:t>
            </a:r>
          </a:p>
        </p:txBody>
      </p:sp>
      <p:grpSp>
        <p:nvGrpSpPr>
          <p:cNvPr id="25" name="Groupe 272"/>
          <p:cNvGrpSpPr>
            <a:grpSpLocks noChangeAspect="1"/>
          </p:cNvGrpSpPr>
          <p:nvPr/>
        </p:nvGrpSpPr>
        <p:grpSpPr>
          <a:xfrm>
            <a:off x="6096485" y="1524179"/>
            <a:ext cx="407831" cy="540000"/>
            <a:chOff x="2770506" y="2751773"/>
            <a:chExt cx="171450" cy="227013"/>
          </a:xfrm>
        </p:grpSpPr>
        <p:sp>
          <p:nvSpPr>
            <p:cNvPr id="274" name="Freeform 603"/>
            <p:cNvSpPr>
              <a:spLocks noChangeAspect="1" noEditPoints="1"/>
            </p:cNvSpPr>
            <p:nvPr/>
          </p:nvSpPr>
          <p:spPr bwMode="auto">
            <a:xfrm>
              <a:off x="2800668" y="2777173"/>
              <a:ext cx="141288" cy="201613"/>
            </a:xfrm>
            <a:custGeom>
              <a:avLst/>
              <a:gdLst/>
              <a:ahLst/>
              <a:cxnLst>
                <a:cxn ang="0">
                  <a:pos x="83" y="151"/>
                </a:cxn>
                <a:cxn ang="0">
                  <a:pos x="23" y="151"/>
                </a:cxn>
                <a:cxn ang="0">
                  <a:pos x="0" y="133"/>
                </a:cxn>
                <a:cxn ang="0">
                  <a:pos x="83" y="0"/>
                </a:cxn>
                <a:cxn ang="0">
                  <a:pos x="106" y="23"/>
                </a:cxn>
                <a:cxn ang="0">
                  <a:pos x="106" y="128"/>
                </a:cxn>
              </a:cxnLst>
              <a:rect l="0" t="0" r="r" b="b"/>
              <a:pathLst>
                <a:path w="106" h="151">
                  <a:moveTo>
                    <a:pt x="83" y="151"/>
                  </a:moveTo>
                  <a:cubicBezTo>
                    <a:pt x="23" y="151"/>
                    <a:pt x="23" y="151"/>
                    <a:pt x="23" y="151"/>
                  </a:cubicBezTo>
                  <a:cubicBezTo>
                    <a:pt x="12" y="151"/>
                    <a:pt x="3" y="144"/>
                    <a:pt x="0" y="133"/>
                  </a:cubicBezTo>
                  <a:moveTo>
                    <a:pt x="83" y="0"/>
                  </a:moveTo>
                  <a:cubicBezTo>
                    <a:pt x="95" y="0"/>
                    <a:pt x="106" y="10"/>
                    <a:pt x="106" y="23"/>
                  </a:cubicBezTo>
                  <a:cubicBezTo>
                    <a:pt x="106" y="128"/>
                    <a:pt x="106" y="128"/>
                    <a:pt x="106" y="12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604"/>
            <p:cNvSpPr>
              <a:spLocks noChangeAspect="1"/>
            </p:cNvSpPr>
            <p:nvPr/>
          </p:nvSpPr>
          <p:spPr bwMode="auto">
            <a:xfrm>
              <a:off x="2770506" y="2751773"/>
              <a:ext cx="141288" cy="203200"/>
            </a:xfrm>
            <a:custGeom>
              <a:avLst/>
              <a:gdLst/>
              <a:ahLst/>
              <a:cxnLst>
                <a:cxn ang="0">
                  <a:pos x="106" y="129"/>
                </a:cxn>
                <a:cxn ang="0">
                  <a:pos x="83" y="152"/>
                </a:cxn>
                <a:cxn ang="0">
                  <a:pos x="23" y="152"/>
                </a:cxn>
                <a:cxn ang="0">
                  <a:pos x="0" y="129"/>
                </a:cxn>
                <a:cxn ang="0">
                  <a:pos x="0" y="23"/>
                </a:cxn>
                <a:cxn ang="0">
                  <a:pos x="23" y="0"/>
                </a:cxn>
                <a:cxn ang="0">
                  <a:pos x="83" y="0"/>
                </a:cxn>
                <a:cxn ang="0">
                  <a:pos x="106" y="23"/>
                </a:cxn>
                <a:cxn ang="0">
                  <a:pos x="106" y="129"/>
                </a:cxn>
              </a:cxnLst>
              <a:rect l="0" t="0" r="r" b="b"/>
              <a:pathLst>
                <a:path w="106" h="152">
                  <a:moveTo>
                    <a:pt x="106" y="129"/>
                  </a:moveTo>
                  <a:cubicBezTo>
                    <a:pt x="106" y="141"/>
                    <a:pt x="96" y="152"/>
                    <a:pt x="83" y="152"/>
                  </a:cubicBezTo>
                  <a:cubicBezTo>
                    <a:pt x="23" y="152"/>
                    <a:pt x="23" y="152"/>
                    <a:pt x="23" y="152"/>
                  </a:cubicBezTo>
                  <a:cubicBezTo>
                    <a:pt x="10" y="152"/>
                    <a:pt x="0" y="141"/>
                    <a:pt x="0" y="129"/>
                  </a:cubicBezTo>
                  <a:cubicBezTo>
                    <a:pt x="0" y="23"/>
                    <a:pt x="0" y="23"/>
                    <a:pt x="0" y="23"/>
                  </a:cubicBezTo>
                  <a:cubicBezTo>
                    <a:pt x="0" y="11"/>
                    <a:pt x="10" y="0"/>
                    <a:pt x="23" y="0"/>
                  </a:cubicBezTo>
                  <a:cubicBezTo>
                    <a:pt x="83" y="0"/>
                    <a:pt x="83" y="0"/>
                    <a:pt x="83" y="0"/>
                  </a:cubicBezTo>
                  <a:cubicBezTo>
                    <a:pt x="96" y="0"/>
                    <a:pt x="106" y="11"/>
                    <a:pt x="106" y="23"/>
                  </a:cubicBezTo>
                  <a:cubicBezTo>
                    <a:pt x="106" y="129"/>
                    <a:pt x="106" y="129"/>
                    <a:pt x="106" y="129"/>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605"/>
            <p:cNvSpPr>
              <a:spLocks noChangeAspect="1" noEditPoints="1"/>
            </p:cNvSpPr>
            <p:nvPr/>
          </p:nvSpPr>
          <p:spPr bwMode="auto">
            <a:xfrm>
              <a:off x="2797493" y="2799398"/>
              <a:ext cx="85725" cy="93663"/>
            </a:xfrm>
            <a:custGeom>
              <a:avLst/>
              <a:gdLst/>
              <a:ahLst/>
              <a:cxnLst>
                <a:cxn ang="0">
                  <a:pos x="0" y="59"/>
                </a:cxn>
                <a:cxn ang="0">
                  <a:pos x="54" y="59"/>
                </a:cxn>
                <a:cxn ang="0">
                  <a:pos x="0" y="39"/>
                </a:cxn>
                <a:cxn ang="0">
                  <a:pos x="54" y="39"/>
                </a:cxn>
                <a:cxn ang="0">
                  <a:pos x="0" y="19"/>
                </a:cxn>
                <a:cxn ang="0">
                  <a:pos x="18" y="19"/>
                </a:cxn>
                <a:cxn ang="0">
                  <a:pos x="0" y="0"/>
                </a:cxn>
                <a:cxn ang="0">
                  <a:pos x="18" y="0"/>
                </a:cxn>
              </a:cxnLst>
              <a:rect l="0" t="0" r="r" b="b"/>
              <a:pathLst>
                <a:path w="54" h="59">
                  <a:moveTo>
                    <a:pt x="0" y="59"/>
                  </a:moveTo>
                  <a:lnTo>
                    <a:pt x="54" y="59"/>
                  </a:lnTo>
                  <a:moveTo>
                    <a:pt x="0" y="39"/>
                  </a:moveTo>
                  <a:lnTo>
                    <a:pt x="54" y="39"/>
                  </a:lnTo>
                  <a:moveTo>
                    <a:pt x="0" y="19"/>
                  </a:moveTo>
                  <a:lnTo>
                    <a:pt x="18" y="19"/>
                  </a:lnTo>
                  <a:moveTo>
                    <a:pt x="0" y="0"/>
                  </a:moveTo>
                  <a:lnTo>
                    <a:pt x="18" y="0"/>
                  </a:lnTo>
                </a:path>
              </a:pathLst>
            </a:custGeom>
            <a:noFill/>
            <a:ln w="12700"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606"/>
            <p:cNvSpPr>
              <a:spLocks noChangeAspect="1"/>
            </p:cNvSpPr>
            <p:nvPr/>
          </p:nvSpPr>
          <p:spPr bwMode="auto">
            <a:xfrm>
              <a:off x="2841943" y="2794636"/>
              <a:ext cx="46038" cy="47625"/>
            </a:xfrm>
            <a:custGeom>
              <a:avLst/>
              <a:gdLst/>
              <a:ahLst/>
              <a:cxnLst>
                <a:cxn ang="0">
                  <a:pos x="35" y="27"/>
                </a:cxn>
                <a:cxn ang="0">
                  <a:pos x="27" y="35"/>
                </a:cxn>
                <a:cxn ang="0">
                  <a:pos x="8" y="35"/>
                </a:cxn>
                <a:cxn ang="0">
                  <a:pos x="0" y="27"/>
                </a:cxn>
                <a:cxn ang="0">
                  <a:pos x="0" y="8"/>
                </a:cxn>
                <a:cxn ang="0">
                  <a:pos x="8" y="0"/>
                </a:cxn>
                <a:cxn ang="0">
                  <a:pos x="27" y="0"/>
                </a:cxn>
                <a:cxn ang="0">
                  <a:pos x="35" y="8"/>
                </a:cxn>
                <a:cxn ang="0">
                  <a:pos x="35" y="27"/>
                </a:cxn>
              </a:cxnLst>
              <a:rect l="0" t="0" r="r" b="b"/>
              <a:pathLst>
                <a:path w="35" h="35">
                  <a:moveTo>
                    <a:pt x="35" y="27"/>
                  </a:moveTo>
                  <a:cubicBezTo>
                    <a:pt x="35" y="31"/>
                    <a:pt x="31" y="35"/>
                    <a:pt x="27" y="35"/>
                  </a:cubicBezTo>
                  <a:cubicBezTo>
                    <a:pt x="8" y="35"/>
                    <a:pt x="8" y="35"/>
                    <a:pt x="8" y="35"/>
                  </a:cubicBezTo>
                  <a:cubicBezTo>
                    <a:pt x="4" y="35"/>
                    <a:pt x="0" y="31"/>
                    <a:pt x="0" y="27"/>
                  </a:cubicBezTo>
                  <a:cubicBezTo>
                    <a:pt x="0" y="8"/>
                    <a:pt x="0" y="8"/>
                    <a:pt x="0" y="8"/>
                  </a:cubicBezTo>
                  <a:cubicBezTo>
                    <a:pt x="0" y="4"/>
                    <a:pt x="4" y="0"/>
                    <a:pt x="8" y="0"/>
                  </a:cubicBezTo>
                  <a:cubicBezTo>
                    <a:pt x="27" y="0"/>
                    <a:pt x="27" y="0"/>
                    <a:pt x="27" y="0"/>
                  </a:cubicBezTo>
                  <a:cubicBezTo>
                    <a:pt x="31" y="0"/>
                    <a:pt x="35" y="4"/>
                    <a:pt x="35" y="8"/>
                  </a:cubicBezTo>
                  <a:cubicBezTo>
                    <a:pt x="35" y="27"/>
                    <a:pt x="35" y="27"/>
                    <a:pt x="35" y="27"/>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83" name="Freeform 653"/>
          <p:cNvSpPr>
            <a:spLocks noChangeAspect="1" noEditPoints="1"/>
          </p:cNvSpPr>
          <p:nvPr/>
        </p:nvSpPr>
        <p:spPr bwMode="auto">
          <a:xfrm>
            <a:off x="5173474" y="1524179"/>
            <a:ext cx="381399" cy="540000"/>
          </a:xfrm>
          <a:custGeom>
            <a:avLst/>
            <a:gdLst/>
            <a:ahLst/>
            <a:cxnLst>
              <a:cxn ang="0">
                <a:pos x="25" y="117"/>
              </a:cxn>
              <a:cxn ang="0">
                <a:pos x="95" y="117"/>
              </a:cxn>
              <a:cxn ang="0">
                <a:pos x="25" y="92"/>
              </a:cxn>
              <a:cxn ang="0">
                <a:pos x="95" y="92"/>
              </a:cxn>
              <a:cxn ang="0">
                <a:pos x="25" y="67"/>
              </a:cxn>
              <a:cxn ang="0">
                <a:pos x="95" y="67"/>
              </a:cxn>
              <a:cxn ang="0">
                <a:pos x="25" y="41"/>
              </a:cxn>
              <a:cxn ang="0">
                <a:pos x="95" y="41"/>
              </a:cxn>
              <a:cxn ang="0">
                <a:pos x="93" y="170"/>
              </a:cxn>
              <a:cxn ang="0">
                <a:pos x="26" y="170"/>
              </a:cxn>
              <a:cxn ang="0">
                <a:pos x="0" y="144"/>
              </a:cxn>
              <a:cxn ang="0">
                <a:pos x="0" y="26"/>
              </a:cxn>
              <a:cxn ang="0">
                <a:pos x="26" y="0"/>
              </a:cxn>
              <a:cxn ang="0">
                <a:pos x="93" y="0"/>
              </a:cxn>
              <a:cxn ang="0">
                <a:pos x="120" y="26"/>
              </a:cxn>
              <a:cxn ang="0">
                <a:pos x="120" y="144"/>
              </a:cxn>
            </a:cxnLst>
            <a:rect l="0" t="0" r="r" b="b"/>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ZoneTexte 283"/>
          <p:cNvSpPr txBox="1"/>
          <p:nvPr/>
        </p:nvSpPr>
        <p:spPr>
          <a:xfrm>
            <a:off x="7567831" y="4492320"/>
            <a:ext cx="738723" cy="254067"/>
          </a:xfrm>
          <a:prstGeom prst="rect">
            <a:avLst/>
          </a:prstGeom>
          <a:noFill/>
        </p:spPr>
        <p:txBody>
          <a:bodyPr wrap="square" lIns="83969" tIns="41985" rIns="83969" bIns="41985" rtlCol="0">
            <a:spAutoFit/>
          </a:bodyPr>
          <a:lstStyle/>
          <a:p>
            <a:pPr algn="ctr"/>
            <a:r>
              <a:rPr lang="en-US" sz="1100">
                <a:solidFill>
                  <a:srgbClr val="494949"/>
                </a:solidFill>
              </a:rPr>
              <a:t>Calendar</a:t>
            </a:r>
          </a:p>
        </p:txBody>
      </p:sp>
      <p:grpSp>
        <p:nvGrpSpPr>
          <p:cNvPr id="26" name="Groupe 284"/>
          <p:cNvGrpSpPr>
            <a:grpSpLocks noChangeAspect="1"/>
          </p:cNvGrpSpPr>
          <p:nvPr/>
        </p:nvGrpSpPr>
        <p:grpSpPr>
          <a:xfrm>
            <a:off x="7677036" y="3876854"/>
            <a:ext cx="491251" cy="540000"/>
            <a:chOff x="3816668" y="2751773"/>
            <a:chExt cx="207963" cy="228600"/>
          </a:xfrm>
        </p:grpSpPr>
        <p:sp>
          <p:nvSpPr>
            <p:cNvPr id="286" name="Freeform 650"/>
            <p:cNvSpPr>
              <a:spLocks noChangeAspect="1" noEditPoints="1"/>
            </p:cNvSpPr>
            <p:nvPr/>
          </p:nvSpPr>
          <p:spPr bwMode="auto">
            <a:xfrm>
              <a:off x="3816668" y="2751773"/>
              <a:ext cx="207963" cy="228600"/>
            </a:xfrm>
            <a:custGeom>
              <a:avLst/>
              <a:gdLst/>
              <a:ahLst/>
              <a:cxnLst>
                <a:cxn ang="0">
                  <a:pos x="117" y="0"/>
                </a:cxn>
                <a:cxn ang="0">
                  <a:pos x="117" y="42"/>
                </a:cxn>
                <a:cxn ang="0">
                  <a:pos x="39" y="0"/>
                </a:cxn>
                <a:cxn ang="0">
                  <a:pos x="39" y="42"/>
                </a:cxn>
                <a:cxn ang="0">
                  <a:pos x="21" y="15"/>
                </a:cxn>
                <a:cxn ang="0">
                  <a:pos x="135" y="15"/>
                </a:cxn>
                <a:cxn ang="0">
                  <a:pos x="156" y="36"/>
                </a:cxn>
                <a:cxn ang="0">
                  <a:pos x="156" y="150"/>
                </a:cxn>
                <a:cxn ang="0">
                  <a:pos x="135" y="170"/>
                </a:cxn>
                <a:cxn ang="0">
                  <a:pos x="21" y="170"/>
                </a:cxn>
                <a:cxn ang="0">
                  <a:pos x="0" y="150"/>
                </a:cxn>
                <a:cxn ang="0">
                  <a:pos x="0" y="36"/>
                </a:cxn>
              </a:cxnLst>
              <a:rect l="0" t="0" r="r" b="b"/>
              <a:pathLst>
                <a:path w="156" h="170">
                  <a:moveTo>
                    <a:pt x="117" y="0"/>
                  </a:moveTo>
                  <a:cubicBezTo>
                    <a:pt x="117" y="42"/>
                    <a:pt x="117" y="42"/>
                    <a:pt x="117" y="42"/>
                  </a:cubicBezTo>
                  <a:moveTo>
                    <a:pt x="39" y="0"/>
                  </a:moveTo>
                  <a:cubicBezTo>
                    <a:pt x="39" y="42"/>
                    <a:pt x="39" y="42"/>
                    <a:pt x="39" y="42"/>
                  </a:cubicBezTo>
                  <a:moveTo>
                    <a:pt x="21" y="15"/>
                  </a:moveTo>
                  <a:cubicBezTo>
                    <a:pt x="135" y="15"/>
                    <a:pt x="135" y="15"/>
                    <a:pt x="135" y="15"/>
                  </a:cubicBezTo>
                  <a:cubicBezTo>
                    <a:pt x="147" y="15"/>
                    <a:pt x="156" y="24"/>
                    <a:pt x="156" y="36"/>
                  </a:cubicBezTo>
                  <a:cubicBezTo>
                    <a:pt x="156" y="150"/>
                    <a:pt x="156" y="150"/>
                    <a:pt x="156" y="150"/>
                  </a:cubicBezTo>
                  <a:cubicBezTo>
                    <a:pt x="156" y="161"/>
                    <a:pt x="147" y="170"/>
                    <a:pt x="135" y="170"/>
                  </a:cubicBezTo>
                  <a:cubicBezTo>
                    <a:pt x="21" y="170"/>
                    <a:pt x="21" y="170"/>
                    <a:pt x="21" y="170"/>
                  </a:cubicBezTo>
                  <a:cubicBezTo>
                    <a:pt x="9" y="170"/>
                    <a:pt x="0" y="161"/>
                    <a:pt x="0" y="150"/>
                  </a:cubicBezTo>
                  <a:cubicBezTo>
                    <a:pt x="0" y="36"/>
                    <a:pt x="0" y="36"/>
                    <a:pt x="0" y="3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651"/>
            <p:cNvSpPr>
              <a:spLocks noChangeAspect="1"/>
            </p:cNvSpPr>
            <p:nvPr/>
          </p:nvSpPr>
          <p:spPr bwMode="auto">
            <a:xfrm>
              <a:off x="3848418" y="2829561"/>
              <a:ext cx="47625" cy="103188"/>
            </a:xfrm>
            <a:custGeom>
              <a:avLst/>
              <a:gdLst/>
              <a:ahLst/>
              <a:cxnLst>
                <a:cxn ang="0">
                  <a:pos x="20" y="27"/>
                </a:cxn>
                <a:cxn ang="0">
                  <a:pos x="6" y="27"/>
                </a:cxn>
                <a:cxn ang="0">
                  <a:pos x="0" y="21"/>
                </a:cxn>
                <a:cxn ang="0">
                  <a:pos x="8" y="15"/>
                </a:cxn>
                <a:cxn ang="0">
                  <a:pos x="12" y="14"/>
                </a:cxn>
                <a:cxn ang="0">
                  <a:pos x="30" y="0"/>
                </a:cxn>
                <a:cxn ang="0">
                  <a:pos x="36" y="7"/>
                </a:cxn>
                <a:cxn ang="0">
                  <a:pos x="36" y="68"/>
                </a:cxn>
                <a:cxn ang="0">
                  <a:pos x="28" y="77"/>
                </a:cxn>
                <a:cxn ang="0">
                  <a:pos x="20" y="68"/>
                </a:cxn>
                <a:cxn ang="0">
                  <a:pos x="20" y="27"/>
                </a:cxn>
              </a:cxnLst>
              <a:rect l="0" t="0" r="r" b="b"/>
              <a:pathLst>
                <a:path w="36" h="77">
                  <a:moveTo>
                    <a:pt x="20" y="27"/>
                  </a:moveTo>
                  <a:cubicBezTo>
                    <a:pt x="6" y="27"/>
                    <a:pt x="6" y="27"/>
                    <a:pt x="6" y="27"/>
                  </a:cubicBezTo>
                  <a:cubicBezTo>
                    <a:pt x="2" y="27"/>
                    <a:pt x="0" y="26"/>
                    <a:pt x="0" y="21"/>
                  </a:cubicBezTo>
                  <a:cubicBezTo>
                    <a:pt x="0" y="17"/>
                    <a:pt x="3" y="16"/>
                    <a:pt x="8" y="15"/>
                  </a:cubicBezTo>
                  <a:cubicBezTo>
                    <a:pt x="12" y="14"/>
                    <a:pt x="12" y="14"/>
                    <a:pt x="12" y="14"/>
                  </a:cubicBezTo>
                  <a:cubicBezTo>
                    <a:pt x="24" y="12"/>
                    <a:pt x="21" y="0"/>
                    <a:pt x="30" y="0"/>
                  </a:cubicBezTo>
                  <a:cubicBezTo>
                    <a:pt x="33" y="0"/>
                    <a:pt x="36" y="1"/>
                    <a:pt x="36" y="7"/>
                  </a:cubicBezTo>
                  <a:cubicBezTo>
                    <a:pt x="36" y="68"/>
                    <a:pt x="36" y="68"/>
                    <a:pt x="36" y="68"/>
                  </a:cubicBezTo>
                  <a:cubicBezTo>
                    <a:pt x="36" y="73"/>
                    <a:pt x="34" y="77"/>
                    <a:pt x="28" y="77"/>
                  </a:cubicBezTo>
                  <a:cubicBezTo>
                    <a:pt x="22" y="77"/>
                    <a:pt x="20" y="73"/>
                    <a:pt x="20" y="68"/>
                  </a:cubicBezTo>
                  <a:cubicBezTo>
                    <a:pt x="20" y="27"/>
                    <a:pt x="20" y="27"/>
                    <a:pt x="20" y="27"/>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652"/>
            <p:cNvSpPr>
              <a:spLocks noChangeAspect="1" noEditPoints="1"/>
            </p:cNvSpPr>
            <p:nvPr/>
          </p:nvSpPr>
          <p:spPr bwMode="auto">
            <a:xfrm>
              <a:off x="3908743" y="2829561"/>
              <a:ext cx="82550" cy="103188"/>
            </a:xfrm>
            <a:custGeom>
              <a:avLst/>
              <a:gdLst/>
              <a:ahLst/>
              <a:cxnLst>
                <a:cxn ang="0">
                  <a:pos x="35" y="19"/>
                </a:cxn>
                <a:cxn ang="0">
                  <a:pos x="35" y="19"/>
                </a:cxn>
                <a:cxn ang="0">
                  <a:pos x="14" y="46"/>
                </a:cxn>
                <a:cxn ang="0">
                  <a:pos x="35" y="46"/>
                </a:cxn>
                <a:cxn ang="0">
                  <a:pos x="35" y="19"/>
                </a:cxn>
                <a:cxn ang="0">
                  <a:pos x="35" y="59"/>
                </a:cxn>
                <a:cxn ang="0">
                  <a:pos x="8" y="59"/>
                </a:cxn>
                <a:cxn ang="0">
                  <a:pos x="0" y="51"/>
                </a:cxn>
                <a:cxn ang="0">
                  <a:pos x="2" y="45"/>
                </a:cxn>
                <a:cxn ang="0">
                  <a:pos x="35" y="3"/>
                </a:cxn>
                <a:cxn ang="0">
                  <a:pos x="42" y="0"/>
                </a:cxn>
                <a:cxn ang="0">
                  <a:pos x="50" y="7"/>
                </a:cxn>
                <a:cxn ang="0">
                  <a:pos x="50" y="46"/>
                </a:cxn>
                <a:cxn ang="0">
                  <a:pos x="55" y="46"/>
                </a:cxn>
                <a:cxn ang="0">
                  <a:pos x="61" y="52"/>
                </a:cxn>
                <a:cxn ang="0">
                  <a:pos x="55" y="59"/>
                </a:cxn>
                <a:cxn ang="0">
                  <a:pos x="50" y="59"/>
                </a:cxn>
                <a:cxn ang="0">
                  <a:pos x="50" y="70"/>
                </a:cxn>
                <a:cxn ang="0">
                  <a:pos x="43" y="77"/>
                </a:cxn>
                <a:cxn ang="0">
                  <a:pos x="35" y="70"/>
                </a:cxn>
                <a:cxn ang="0">
                  <a:pos x="35" y="59"/>
                </a:cxn>
              </a:cxnLst>
              <a:rect l="0" t="0" r="r" b="b"/>
              <a:pathLst>
                <a:path w="61" h="77">
                  <a:moveTo>
                    <a:pt x="35" y="19"/>
                  </a:moveTo>
                  <a:cubicBezTo>
                    <a:pt x="35" y="19"/>
                    <a:pt x="35" y="19"/>
                    <a:pt x="35" y="19"/>
                  </a:cubicBezTo>
                  <a:cubicBezTo>
                    <a:pt x="14" y="46"/>
                    <a:pt x="14" y="46"/>
                    <a:pt x="14" y="46"/>
                  </a:cubicBezTo>
                  <a:cubicBezTo>
                    <a:pt x="35" y="46"/>
                    <a:pt x="35" y="46"/>
                    <a:pt x="35" y="46"/>
                  </a:cubicBezTo>
                  <a:lnTo>
                    <a:pt x="35" y="19"/>
                  </a:lnTo>
                  <a:close/>
                  <a:moveTo>
                    <a:pt x="35" y="59"/>
                  </a:moveTo>
                  <a:cubicBezTo>
                    <a:pt x="8" y="59"/>
                    <a:pt x="8" y="59"/>
                    <a:pt x="8" y="59"/>
                  </a:cubicBezTo>
                  <a:cubicBezTo>
                    <a:pt x="3" y="59"/>
                    <a:pt x="0" y="55"/>
                    <a:pt x="0" y="51"/>
                  </a:cubicBezTo>
                  <a:cubicBezTo>
                    <a:pt x="0" y="48"/>
                    <a:pt x="1" y="47"/>
                    <a:pt x="2" y="45"/>
                  </a:cubicBezTo>
                  <a:cubicBezTo>
                    <a:pt x="35" y="3"/>
                    <a:pt x="35" y="3"/>
                    <a:pt x="35" y="3"/>
                  </a:cubicBezTo>
                  <a:cubicBezTo>
                    <a:pt x="37" y="1"/>
                    <a:pt x="39" y="0"/>
                    <a:pt x="42" y="0"/>
                  </a:cubicBezTo>
                  <a:cubicBezTo>
                    <a:pt x="48" y="0"/>
                    <a:pt x="50" y="3"/>
                    <a:pt x="50" y="7"/>
                  </a:cubicBezTo>
                  <a:cubicBezTo>
                    <a:pt x="50" y="46"/>
                    <a:pt x="50" y="46"/>
                    <a:pt x="50" y="46"/>
                  </a:cubicBezTo>
                  <a:cubicBezTo>
                    <a:pt x="55" y="46"/>
                    <a:pt x="55" y="46"/>
                    <a:pt x="55" y="46"/>
                  </a:cubicBezTo>
                  <a:cubicBezTo>
                    <a:pt x="59" y="46"/>
                    <a:pt x="61" y="49"/>
                    <a:pt x="61" y="52"/>
                  </a:cubicBezTo>
                  <a:cubicBezTo>
                    <a:pt x="61" y="56"/>
                    <a:pt x="59" y="59"/>
                    <a:pt x="55" y="59"/>
                  </a:cubicBezTo>
                  <a:cubicBezTo>
                    <a:pt x="50" y="59"/>
                    <a:pt x="50" y="59"/>
                    <a:pt x="50" y="59"/>
                  </a:cubicBezTo>
                  <a:cubicBezTo>
                    <a:pt x="50" y="70"/>
                    <a:pt x="50" y="70"/>
                    <a:pt x="50" y="70"/>
                  </a:cubicBezTo>
                  <a:cubicBezTo>
                    <a:pt x="50" y="74"/>
                    <a:pt x="48" y="77"/>
                    <a:pt x="43" y="77"/>
                  </a:cubicBezTo>
                  <a:cubicBezTo>
                    <a:pt x="37" y="77"/>
                    <a:pt x="35" y="74"/>
                    <a:pt x="35" y="70"/>
                  </a:cubicBezTo>
                  <a:cubicBezTo>
                    <a:pt x="35" y="59"/>
                    <a:pt x="35" y="59"/>
                    <a:pt x="35" y="59"/>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289" name="ZoneTexte 288"/>
          <p:cNvSpPr txBox="1"/>
          <p:nvPr/>
        </p:nvSpPr>
        <p:spPr>
          <a:xfrm>
            <a:off x="8358237" y="4501844"/>
            <a:ext cx="738723" cy="423344"/>
          </a:xfrm>
          <a:prstGeom prst="rect">
            <a:avLst/>
          </a:prstGeom>
          <a:noFill/>
        </p:spPr>
        <p:txBody>
          <a:bodyPr wrap="square" lIns="83969" tIns="41985" rIns="83969" bIns="41985" rtlCol="0">
            <a:spAutoFit/>
          </a:bodyPr>
          <a:lstStyle/>
          <a:p>
            <a:pPr algn="ctr"/>
            <a:r>
              <a:rPr lang="en-US" sz="1100">
                <a:solidFill>
                  <a:srgbClr val="494949"/>
                </a:solidFill>
              </a:rPr>
              <a:t>Contact Us</a:t>
            </a:r>
          </a:p>
        </p:txBody>
      </p:sp>
      <p:sp>
        <p:nvSpPr>
          <p:cNvPr id="290" name="Freeform 778"/>
          <p:cNvSpPr>
            <a:spLocks/>
          </p:cNvSpPr>
          <p:nvPr/>
        </p:nvSpPr>
        <p:spPr bwMode="auto">
          <a:xfrm>
            <a:off x="8568445" y="3910297"/>
            <a:ext cx="399816" cy="497032"/>
          </a:xfrm>
          <a:custGeom>
            <a:avLst/>
            <a:gdLst/>
            <a:ahLst/>
            <a:cxnLst>
              <a:cxn ang="0">
                <a:pos x="47" y="119"/>
              </a:cxn>
              <a:cxn ang="0">
                <a:pos x="39" y="153"/>
              </a:cxn>
              <a:cxn ang="0">
                <a:pos x="99" y="110"/>
              </a:cxn>
              <a:cxn ang="0">
                <a:pos x="120" y="60"/>
              </a:cxn>
              <a:cxn ang="0">
                <a:pos x="60" y="0"/>
              </a:cxn>
              <a:cxn ang="0">
                <a:pos x="0" y="60"/>
              </a:cxn>
              <a:cxn ang="0">
                <a:pos x="28" y="111"/>
              </a:cxn>
            </a:cxnLst>
            <a:rect l="0" t="0" r="r" b="b"/>
            <a:pathLst>
              <a:path w="120" h="153">
                <a:moveTo>
                  <a:pt x="47" y="119"/>
                </a:moveTo>
                <a:cubicBezTo>
                  <a:pt x="39" y="153"/>
                  <a:pt x="39" y="153"/>
                  <a:pt x="39" y="153"/>
                </a:cubicBezTo>
                <a:cubicBezTo>
                  <a:pt x="39" y="153"/>
                  <a:pt x="85" y="124"/>
                  <a:pt x="99" y="110"/>
                </a:cubicBezTo>
                <a:cubicBezTo>
                  <a:pt x="108" y="100"/>
                  <a:pt x="120" y="87"/>
                  <a:pt x="120" y="60"/>
                </a:cubicBezTo>
                <a:cubicBezTo>
                  <a:pt x="120" y="27"/>
                  <a:pt x="93" y="0"/>
                  <a:pt x="60" y="0"/>
                </a:cubicBezTo>
                <a:cubicBezTo>
                  <a:pt x="27" y="0"/>
                  <a:pt x="0" y="27"/>
                  <a:pt x="0" y="60"/>
                </a:cubicBezTo>
                <a:cubicBezTo>
                  <a:pt x="0" y="82"/>
                  <a:pt x="11" y="100"/>
                  <a:pt x="28" y="111"/>
                </a:cubicBezTo>
              </a:path>
            </a:pathLst>
          </a:custGeom>
          <a:noFill/>
          <a:ln w="12700" cap="rnd">
            <a:solidFill>
              <a:srgbClr val="000000"/>
            </a:solidFill>
            <a:prstDash val="solid"/>
            <a:round/>
            <a:headEnd/>
            <a:tailEnd/>
          </a:ln>
        </p:spPr>
        <p:txBody>
          <a:bodyPr vert="horz" wrap="square" lIns="83969" tIns="41985" rIns="83969" bIns="41985" numCol="1" anchor="t" anchorCtr="0" compatLnSpc="1">
            <a:prstTxWarp prst="textNoShape">
              <a:avLst/>
            </a:prstTxWarp>
          </a:bodyPr>
          <a:lstStyle/>
          <a:p>
            <a:endParaRPr lang="en-US"/>
          </a:p>
        </p:txBody>
      </p:sp>
      <p:sp>
        <p:nvSpPr>
          <p:cNvPr id="291" name="ZoneTexte 290"/>
          <p:cNvSpPr txBox="1"/>
          <p:nvPr/>
        </p:nvSpPr>
        <p:spPr>
          <a:xfrm>
            <a:off x="9143096" y="4501845"/>
            <a:ext cx="943509" cy="254067"/>
          </a:xfrm>
          <a:prstGeom prst="rect">
            <a:avLst/>
          </a:prstGeom>
          <a:noFill/>
        </p:spPr>
        <p:txBody>
          <a:bodyPr wrap="square" lIns="83969" tIns="41985" rIns="83969" bIns="41985" rtlCol="0">
            <a:spAutoFit/>
          </a:bodyPr>
          <a:lstStyle/>
          <a:p>
            <a:pPr algn="ctr"/>
            <a:r>
              <a:rPr lang="en-US" sz="1100">
                <a:solidFill>
                  <a:srgbClr val="494949"/>
                </a:solidFill>
              </a:rPr>
              <a:t>Solutions</a:t>
            </a:r>
          </a:p>
        </p:txBody>
      </p:sp>
      <p:sp>
        <p:nvSpPr>
          <p:cNvPr id="292" name="Freeform 770"/>
          <p:cNvSpPr>
            <a:spLocks noChangeAspect="1" noEditPoints="1"/>
          </p:cNvSpPr>
          <p:nvPr/>
        </p:nvSpPr>
        <p:spPr bwMode="auto">
          <a:xfrm>
            <a:off x="9458033" y="3895904"/>
            <a:ext cx="529055" cy="540000"/>
          </a:xfrm>
          <a:custGeom>
            <a:avLst/>
            <a:gdLst/>
            <a:ahLst/>
            <a:cxnLst>
              <a:cxn ang="0">
                <a:pos x="134" y="69"/>
              </a:cxn>
              <a:cxn ang="0">
                <a:pos x="102" y="69"/>
              </a:cxn>
              <a:cxn ang="0">
                <a:pos x="102" y="37"/>
              </a:cxn>
              <a:cxn ang="0">
                <a:pos x="134" y="37"/>
              </a:cxn>
              <a:cxn ang="0">
                <a:pos x="134" y="69"/>
              </a:cxn>
              <a:cxn ang="0">
                <a:pos x="17" y="176"/>
              </a:cxn>
              <a:cxn ang="0">
                <a:pos x="53" y="139"/>
              </a:cxn>
              <a:cxn ang="0">
                <a:pos x="66" y="139"/>
              </a:cxn>
              <a:cxn ang="0">
                <a:pos x="90" y="115"/>
              </a:cxn>
              <a:cxn ang="0">
                <a:pos x="150" y="102"/>
              </a:cxn>
              <a:cxn ang="0">
                <a:pos x="150" y="22"/>
              </a:cxn>
              <a:cxn ang="0">
                <a:pos x="70" y="22"/>
              </a:cxn>
              <a:cxn ang="0">
                <a:pos x="59" y="86"/>
              </a:cxn>
              <a:cxn ang="0">
                <a:pos x="36" y="109"/>
              </a:cxn>
              <a:cxn ang="0">
                <a:pos x="36" y="131"/>
              </a:cxn>
              <a:cxn ang="0">
                <a:pos x="17" y="131"/>
              </a:cxn>
              <a:cxn ang="0">
                <a:pos x="17" y="153"/>
              </a:cxn>
              <a:cxn ang="0">
                <a:pos x="0" y="153"/>
              </a:cxn>
              <a:cxn ang="0">
                <a:pos x="0" y="176"/>
              </a:cxn>
            </a:cxnLst>
            <a:rect l="0" t="0" r="r" b="b"/>
            <a:pathLst>
              <a:path w="172" h="176">
                <a:moveTo>
                  <a:pt x="134" y="69"/>
                </a:moveTo>
                <a:cubicBezTo>
                  <a:pt x="125" y="78"/>
                  <a:pt x="111" y="78"/>
                  <a:pt x="102" y="69"/>
                </a:cubicBezTo>
                <a:cubicBezTo>
                  <a:pt x="93" y="60"/>
                  <a:pt x="93" y="46"/>
                  <a:pt x="102" y="37"/>
                </a:cubicBezTo>
                <a:cubicBezTo>
                  <a:pt x="111" y="28"/>
                  <a:pt x="125" y="28"/>
                  <a:pt x="134" y="37"/>
                </a:cubicBezTo>
                <a:cubicBezTo>
                  <a:pt x="143" y="46"/>
                  <a:pt x="143" y="60"/>
                  <a:pt x="134" y="69"/>
                </a:cubicBezTo>
                <a:close/>
                <a:moveTo>
                  <a:pt x="17" y="176"/>
                </a:moveTo>
                <a:cubicBezTo>
                  <a:pt x="53" y="139"/>
                  <a:pt x="53" y="139"/>
                  <a:pt x="53" y="139"/>
                </a:cubicBezTo>
                <a:cubicBezTo>
                  <a:pt x="66" y="139"/>
                  <a:pt x="66" y="139"/>
                  <a:pt x="66" y="139"/>
                </a:cubicBezTo>
                <a:cubicBezTo>
                  <a:pt x="90" y="115"/>
                  <a:pt x="90" y="115"/>
                  <a:pt x="90" y="115"/>
                </a:cubicBezTo>
                <a:cubicBezTo>
                  <a:pt x="110" y="122"/>
                  <a:pt x="134" y="118"/>
                  <a:pt x="150" y="102"/>
                </a:cubicBezTo>
                <a:cubicBezTo>
                  <a:pt x="172" y="80"/>
                  <a:pt x="172" y="44"/>
                  <a:pt x="150" y="22"/>
                </a:cubicBezTo>
                <a:cubicBezTo>
                  <a:pt x="128" y="0"/>
                  <a:pt x="92" y="0"/>
                  <a:pt x="70" y="22"/>
                </a:cubicBezTo>
                <a:cubicBezTo>
                  <a:pt x="53" y="40"/>
                  <a:pt x="49" y="65"/>
                  <a:pt x="59" y="86"/>
                </a:cubicBezTo>
                <a:cubicBezTo>
                  <a:pt x="36" y="109"/>
                  <a:pt x="36" y="109"/>
                  <a:pt x="36" y="109"/>
                </a:cubicBezTo>
                <a:cubicBezTo>
                  <a:pt x="36" y="131"/>
                  <a:pt x="36" y="131"/>
                  <a:pt x="36" y="131"/>
                </a:cubicBezTo>
                <a:cubicBezTo>
                  <a:pt x="17" y="131"/>
                  <a:pt x="17" y="131"/>
                  <a:pt x="17" y="131"/>
                </a:cubicBezTo>
                <a:cubicBezTo>
                  <a:pt x="17" y="153"/>
                  <a:pt x="17" y="153"/>
                  <a:pt x="17" y="153"/>
                </a:cubicBezTo>
                <a:cubicBezTo>
                  <a:pt x="0" y="153"/>
                  <a:pt x="0" y="153"/>
                  <a:pt x="0" y="153"/>
                </a:cubicBezTo>
                <a:cubicBezTo>
                  <a:pt x="0" y="176"/>
                  <a:pt x="0" y="176"/>
                  <a:pt x="0" y="17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ZoneTexte 292"/>
          <p:cNvSpPr txBox="1"/>
          <p:nvPr/>
        </p:nvSpPr>
        <p:spPr>
          <a:xfrm>
            <a:off x="3624762" y="5645535"/>
            <a:ext cx="849952" cy="254067"/>
          </a:xfrm>
          <a:prstGeom prst="rect">
            <a:avLst/>
          </a:prstGeom>
          <a:noFill/>
        </p:spPr>
        <p:txBody>
          <a:bodyPr wrap="square" lIns="83969" tIns="41985" rIns="83969" bIns="41985" rtlCol="0">
            <a:spAutoFit/>
          </a:bodyPr>
          <a:lstStyle/>
          <a:p>
            <a:pPr algn="ctr"/>
            <a:r>
              <a:rPr lang="en-US" sz="1100">
                <a:solidFill>
                  <a:srgbClr val="494949"/>
                </a:solidFill>
              </a:rPr>
              <a:t>Zoom</a:t>
            </a:r>
          </a:p>
        </p:txBody>
      </p:sp>
      <p:sp>
        <p:nvSpPr>
          <p:cNvPr id="294" name="Freeform 675"/>
          <p:cNvSpPr>
            <a:spLocks noChangeAspect="1" noEditPoints="1"/>
          </p:cNvSpPr>
          <p:nvPr/>
        </p:nvSpPr>
        <p:spPr bwMode="auto">
          <a:xfrm>
            <a:off x="3730702" y="4977369"/>
            <a:ext cx="540000" cy="540000"/>
          </a:xfrm>
          <a:custGeom>
            <a:avLst/>
            <a:gdLst/>
            <a:ahLst/>
            <a:cxnLst>
              <a:cxn ang="0">
                <a:pos x="101" y="68"/>
              </a:cxn>
              <a:cxn ang="0">
                <a:pos x="36" y="68"/>
              </a:cxn>
              <a:cxn ang="0">
                <a:pos x="69" y="36"/>
              </a:cxn>
              <a:cxn ang="0">
                <a:pos x="69" y="101"/>
              </a:cxn>
              <a:cxn ang="0">
                <a:pos x="176" y="154"/>
              </a:cxn>
              <a:cxn ang="0">
                <a:pos x="122" y="100"/>
              </a:cxn>
              <a:cxn ang="0">
                <a:pos x="113" y="24"/>
              </a:cxn>
              <a:cxn ang="0">
                <a:pos x="25" y="24"/>
              </a:cxn>
              <a:cxn ang="0">
                <a:pos x="25" y="112"/>
              </a:cxn>
              <a:cxn ang="0">
                <a:pos x="100" y="122"/>
              </a:cxn>
              <a:cxn ang="0">
                <a:pos x="154" y="176"/>
              </a:cxn>
            </a:cxnLst>
            <a:rect l="0" t="0" r="r" b="b"/>
            <a:pathLst>
              <a:path w="176" h="176">
                <a:moveTo>
                  <a:pt x="101" y="68"/>
                </a:moveTo>
                <a:cubicBezTo>
                  <a:pt x="36" y="68"/>
                  <a:pt x="36" y="68"/>
                  <a:pt x="36" y="68"/>
                </a:cubicBezTo>
                <a:moveTo>
                  <a:pt x="69" y="36"/>
                </a:moveTo>
                <a:cubicBezTo>
                  <a:pt x="69" y="101"/>
                  <a:pt x="69" y="101"/>
                  <a:pt x="69" y="101"/>
                </a:cubicBezTo>
                <a:moveTo>
                  <a:pt x="176" y="154"/>
                </a:moveTo>
                <a:cubicBezTo>
                  <a:pt x="122" y="100"/>
                  <a:pt x="122" y="100"/>
                  <a:pt x="122" y="100"/>
                </a:cubicBezTo>
                <a:cubicBezTo>
                  <a:pt x="136" y="76"/>
                  <a:pt x="133" y="45"/>
                  <a:pt x="113" y="24"/>
                </a:cubicBezTo>
                <a:cubicBezTo>
                  <a:pt x="88" y="0"/>
                  <a:pt x="49" y="0"/>
                  <a:pt x="25" y="24"/>
                </a:cubicBezTo>
                <a:cubicBezTo>
                  <a:pt x="0" y="49"/>
                  <a:pt x="0" y="88"/>
                  <a:pt x="25" y="112"/>
                </a:cubicBezTo>
                <a:cubicBezTo>
                  <a:pt x="45" y="133"/>
                  <a:pt x="76" y="136"/>
                  <a:pt x="100" y="122"/>
                </a:cubicBezTo>
                <a:cubicBezTo>
                  <a:pt x="154" y="176"/>
                  <a:pt x="154" y="176"/>
                  <a:pt x="154" y="176"/>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ZoneTexte 294"/>
          <p:cNvSpPr txBox="1"/>
          <p:nvPr/>
        </p:nvSpPr>
        <p:spPr>
          <a:xfrm>
            <a:off x="5392571" y="5645535"/>
            <a:ext cx="1209046" cy="254067"/>
          </a:xfrm>
          <a:prstGeom prst="rect">
            <a:avLst/>
          </a:prstGeom>
          <a:noFill/>
        </p:spPr>
        <p:txBody>
          <a:bodyPr wrap="square" lIns="83969" tIns="41985" rIns="83969" bIns="41985" rtlCol="0">
            <a:spAutoFit/>
          </a:bodyPr>
          <a:lstStyle/>
          <a:p>
            <a:pPr algn="ctr"/>
            <a:r>
              <a:rPr lang="en-US" sz="1100">
                <a:solidFill>
                  <a:srgbClr val="494949"/>
                </a:solidFill>
              </a:rPr>
              <a:t>Sustainability</a:t>
            </a:r>
          </a:p>
        </p:txBody>
      </p:sp>
      <p:sp>
        <p:nvSpPr>
          <p:cNvPr id="296" name="ZoneTexte 295"/>
          <p:cNvSpPr txBox="1"/>
          <p:nvPr/>
        </p:nvSpPr>
        <p:spPr>
          <a:xfrm>
            <a:off x="2451766" y="5645535"/>
            <a:ext cx="1005072" cy="254067"/>
          </a:xfrm>
          <a:prstGeom prst="rect">
            <a:avLst/>
          </a:prstGeom>
          <a:noFill/>
        </p:spPr>
        <p:txBody>
          <a:bodyPr wrap="square" lIns="83969" tIns="41985" rIns="83969" bIns="41985" rtlCol="0">
            <a:spAutoFit/>
          </a:bodyPr>
          <a:lstStyle/>
          <a:p>
            <a:pPr algn="ctr"/>
            <a:r>
              <a:rPr lang="en-US" sz="1100">
                <a:solidFill>
                  <a:srgbClr val="494949"/>
                </a:solidFill>
              </a:rPr>
              <a:t>Mail</a:t>
            </a:r>
          </a:p>
        </p:txBody>
      </p:sp>
      <p:sp>
        <p:nvSpPr>
          <p:cNvPr id="297" name="ZoneTexte 296"/>
          <p:cNvSpPr txBox="1"/>
          <p:nvPr/>
        </p:nvSpPr>
        <p:spPr>
          <a:xfrm>
            <a:off x="4670886" y="5645535"/>
            <a:ext cx="738723" cy="254067"/>
          </a:xfrm>
          <a:prstGeom prst="rect">
            <a:avLst/>
          </a:prstGeom>
          <a:noFill/>
        </p:spPr>
        <p:txBody>
          <a:bodyPr wrap="square" lIns="83969" tIns="41985" rIns="83969" bIns="41985" rtlCol="0">
            <a:spAutoFit/>
          </a:bodyPr>
          <a:lstStyle/>
          <a:p>
            <a:pPr algn="ctr"/>
            <a:r>
              <a:rPr lang="en-US" sz="1100">
                <a:solidFill>
                  <a:srgbClr val="494949"/>
                </a:solidFill>
              </a:rPr>
              <a:t>Blogs</a:t>
            </a:r>
          </a:p>
        </p:txBody>
      </p:sp>
      <p:sp>
        <p:nvSpPr>
          <p:cNvPr id="298" name="ZoneTexte 297"/>
          <p:cNvSpPr txBox="1"/>
          <p:nvPr/>
        </p:nvSpPr>
        <p:spPr>
          <a:xfrm>
            <a:off x="1421425" y="5645534"/>
            <a:ext cx="1005072" cy="423344"/>
          </a:xfrm>
          <a:prstGeom prst="rect">
            <a:avLst/>
          </a:prstGeom>
          <a:noFill/>
        </p:spPr>
        <p:txBody>
          <a:bodyPr wrap="square" lIns="83969" tIns="41985" rIns="83969" bIns="41985" rtlCol="0">
            <a:spAutoFit/>
          </a:bodyPr>
          <a:lstStyle/>
          <a:p>
            <a:pPr algn="ctr"/>
            <a:r>
              <a:rPr lang="en-US" sz="1100">
                <a:solidFill>
                  <a:srgbClr val="494949"/>
                </a:solidFill>
              </a:rPr>
              <a:t>Attached File</a:t>
            </a:r>
          </a:p>
        </p:txBody>
      </p:sp>
      <p:sp>
        <p:nvSpPr>
          <p:cNvPr id="299" name="Freeform 600"/>
          <p:cNvSpPr>
            <a:spLocks noChangeAspect="1"/>
          </p:cNvSpPr>
          <p:nvPr/>
        </p:nvSpPr>
        <p:spPr bwMode="auto">
          <a:xfrm>
            <a:off x="1675706" y="4996419"/>
            <a:ext cx="496510" cy="540000"/>
          </a:xfrm>
          <a:custGeom>
            <a:avLst/>
            <a:gdLst/>
            <a:ahLst/>
            <a:cxnLst>
              <a:cxn ang="0">
                <a:pos x="54" y="38"/>
              </a:cxn>
              <a:cxn ang="0">
                <a:pos x="116" y="101"/>
              </a:cxn>
              <a:cxn ang="0">
                <a:pos x="116" y="130"/>
              </a:cxn>
              <a:cxn ang="0">
                <a:pos x="87" y="130"/>
              </a:cxn>
              <a:cxn ang="0">
                <a:pos x="12" y="54"/>
              </a:cxn>
              <a:cxn ang="0">
                <a:pos x="12" y="11"/>
              </a:cxn>
              <a:cxn ang="0">
                <a:pos x="55" y="11"/>
              </a:cxn>
              <a:cxn ang="0">
                <a:pos x="147" y="103"/>
              </a:cxn>
              <a:cxn ang="0">
                <a:pos x="147" y="161"/>
              </a:cxn>
              <a:cxn ang="0">
                <a:pos x="89" y="161"/>
              </a:cxn>
              <a:cxn ang="0">
                <a:pos x="6" y="78"/>
              </a:cxn>
            </a:cxnLst>
            <a:rect l="0" t="0" r="r" b="b"/>
            <a:pathLst>
              <a:path w="163" h="177">
                <a:moveTo>
                  <a:pt x="54" y="38"/>
                </a:moveTo>
                <a:cubicBezTo>
                  <a:pt x="116" y="101"/>
                  <a:pt x="116" y="101"/>
                  <a:pt x="116" y="101"/>
                </a:cubicBezTo>
                <a:cubicBezTo>
                  <a:pt x="124" y="109"/>
                  <a:pt x="124" y="122"/>
                  <a:pt x="116" y="130"/>
                </a:cubicBezTo>
                <a:cubicBezTo>
                  <a:pt x="108" y="138"/>
                  <a:pt x="95" y="138"/>
                  <a:pt x="87" y="130"/>
                </a:cubicBezTo>
                <a:cubicBezTo>
                  <a:pt x="12" y="54"/>
                  <a:pt x="12" y="54"/>
                  <a:pt x="12" y="54"/>
                </a:cubicBezTo>
                <a:cubicBezTo>
                  <a:pt x="0" y="42"/>
                  <a:pt x="0" y="23"/>
                  <a:pt x="12" y="11"/>
                </a:cubicBezTo>
                <a:cubicBezTo>
                  <a:pt x="24" y="0"/>
                  <a:pt x="43" y="0"/>
                  <a:pt x="55" y="11"/>
                </a:cubicBezTo>
                <a:cubicBezTo>
                  <a:pt x="147" y="103"/>
                  <a:pt x="147" y="103"/>
                  <a:pt x="147" y="103"/>
                </a:cubicBezTo>
                <a:cubicBezTo>
                  <a:pt x="163" y="119"/>
                  <a:pt x="163" y="145"/>
                  <a:pt x="147" y="161"/>
                </a:cubicBezTo>
                <a:cubicBezTo>
                  <a:pt x="131" y="177"/>
                  <a:pt x="105" y="177"/>
                  <a:pt x="89" y="161"/>
                </a:cubicBezTo>
                <a:cubicBezTo>
                  <a:pt x="6" y="78"/>
                  <a:pt x="6" y="78"/>
                  <a:pt x="6" y="78"/>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602"/>
          <p:cNvSpPr>
            <a:spLocks noChangeAspect="1" noEditPoints="1"/>
          </p:cNvSpPr>
          <p:nvPr/>
        </p:nvSpPr>
        <p:spPr bwMode="auto">
          <a:xfrm>
            <a:off x="4807598" y="4964655"/>
            <a:ext cx="540000" cy="571764"/>
          </a:xfrm>
          <a:custGeom>
            <a:avLst/>
            <a:gdLst/>
            <a:ahLst/>
            <a:cxnLst>
              <a:cxn ang="0">
                <a:pos x="40" y="148"/>
              </a:cxn>
              <a:cxn ang="0">
                <a:pos x="40" y="152"/>
              </a:cxn>
              <a:cxn ang="0">
                <a:pos x="40" y="111"/>
              </a:cxn>
              <a:cxn ang="0">
                <a:pos x="40" y="137"/>
              </a:cxn>
              <a:cxn ang="0">
                <a:pos x="48" y="171"/>
              </a:cxn>
              <a:cxn ang="0">
                <a:pos x="53" y="193"/>
              </a:cxn>
              <a:cxn ang="0">
                <a:pos x="14" y="165"/>
              </a:cxn>
              <a:cxn ang="0">
                <a:pos x="0" y="132"/>
              </a:cxn>
              <a:cxn ang="0">
                <a:pos x="40" y="93"/>
              </a:cxn>
              <a:cxn ang="0">
                <a:pos x="79" y="132"/>
              </a:cxn>
              <a:cxn ang="0">
                <a:pos x="61" y="166"/>
              </a:cxn>
              <a:cxn ang="0">
                <a:pos x="125" y="80"/>
              </a:cxn>
              <a:cxn ang="0">
                <a:pos x="125" y="85"/>
              </a:cxn>
              <a:cxn ang="0">
                <a:pos x="125" y="26"/>
              </a:cxn>
              <a:cxn ang="0">
                <a:pos x="125" y="64"/>
              </a:cxn>
              <a:cxn ang="0">
                <a:pos x="113" y="112"/>
              </a:cxn>
              <a:cxn ang="0">
                <a:pos x="105" y="144"/>
              </a:cxn>
              <a:cxn ang="0">
                <a:pos x="162" y="103"/>
              </a:cxn>
              <a:cxn ang="0">
                <a:pos x="181" y="57"/>
              </a:cxn>
              <a:cxn ang="0">
                <a:pos x="125" y="0"/>
              </a:cxn>
              <a:cxn ang="0">
                <a:pos x="69" y="57"/>
              </a:cxn>
              <a:cxn ang="0">
                <a:pos x="95" y="104"/>
              </a:cxn>
            </a:cxnLst>
            <a:rect l="0" t="0" r="r" b="b"/>
            <a:pathLst>
              <a:path w="181" h="193">
                <a:moveTo>
                  <a:pt x="40" y="148"/>
                </a:moveTo>
                <a:cubicBezTo>
                  <a:pt x="40" y="152"/>
                  <a:pt x="40" y="152"/>
                  <a:pt x="40" y="152"/>
                </a:cubicBezTo>
                <a:moveTo>
                  <a:pt x="40" y="111"/>
                </a:moveTo>
                <a:cubicBezTo>
                  <a:pt x="40" y="137"/>
                  <a:pt x="40" y="137"/>
                  <a:pt x="40" y="137"/>
                </a:cubicBezTo>
                <a:moveTo>
                  <a:pt x="48" y="171"/>
                </a:moveTo>
                <a:cubicBezTo>
                  <a:pt x="53" y="193"/>
                  <a:pt x="53" y="193"/>
                  <a:pt x="53" y="193"/>
                </a:cubicBezTo>
                <a:cubicBezTo>
                  <a:pt x="53" y="193"/>
                  <a:pt x="23" y="174"/>
                  <a:pt x="14" y="165"/>
                </a:cubicBezTo>
                <a:cubicBezTo>
                  <a:pt x="8" y="159"/>
                  <a:pt x="0" y="149"/>
                  <a:pt x="0" y="132"/>
                </a:cubicBezTo>
                <a:cubicBezTo>
                  <a:pt x="0" y="110"/>
                  <a:pt x="18" y="93"/>
                  <a:pt x="40" y="93"/>
                </a:cubicBezTo>
                <a:cubicBezTo>
                  <a:pt x="61" y="93"/>
                  <a:pt x="79" y="110"/>
                  <a:pt x="79" y="132"/>
                </a:cubicBezTo>
                <a:cubicBezTo>
                  <a:pt x="79" y="146"/>
                  <a:pt x="72" y="159"/>
                  <a:pt x="61" y="166"/>
                </a:cubicBezTo>
                <a:moveTo>
                  <a:pt x="125" y="80"/>
                </a:moveTo>
                <a:cubicBezTo>
                  <a:pt x="125" y="85"/>
                  <a:pt x="125" y="85"/>
                  <a:pt x="125" y="85"/>
                </a:cubicBezTo>
                <a:moveTo>
                  <a:pt x="125" y="26"/>
                </a:moveTo>
                <a:cubicBezTo>
                  <a:pt x="125" y="64"/>
                  <a:pt x="125" y="64"/>
                  <a:pt x="125" y="64"/>
                </a:cubicBezTo>
                <a:moveTo>
                  <a:pt x="113" y="112"/>
                </a:moveTo>
                <a:cubicBezTo>
                  <a:pt x="105" y="144"/>
                  <a:pt x="105" y="144"/>
                  <a:pt x="105" y="144"/>
                </a:cubicBezTo>
                <a:cubicBezTo>
                  <a:pt x="105" y="144"/>
                  <a:pt x="148" y="116"/>
                  <a:pt x="162" y="103"/>
                </a:cubicBezTo>
                <a:cubicBezTo>
                  <a:pt x="171" y="94"/>
                  <a:pt x="181" y="81"/>
                  <a:pt x="181" y="57"/>
                </a:cubicBezTo>
                <a:cubicBezTo>
                  <a:pt x="181" y="26"/>
                  <a:pt x="156" y="0"/>
                  <a:pt x="125" y="0"/>
                </a:cubicBezTo>
                <a:cubicBezTo>
                  <a:pt x="94" y="0"/>
                  <a:pt x="69" y="26"/>
                  <a:pt x="69" y="57"/>
                </a:cubicBezTo>
                <a:cubicBezTo>
                  <a:pt x="69" y="77"/>
                  <a:pt x="79" y="94"/>
                  <a:pt x="95" y="104"/>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649"/>
          <p:cNvSpPr>
            <a:spLocks noChangeAspect="1" noEditPoints="1"/>
          </p:cNvSpPr>
          <p:nvPr/>
        </p:nvSpPr>
        <p:spPr bwMode="auto">
          <a:xfrm>
            <a:off x="2711628" y="5207887"/>
            <a:ext cx="540000" cy="328532"/>
          </a:xfrm>
          <a:custGeom>
            <a:avLst/>
            <a:gdLst/>
            <a:ahLst/>
            <a:cxnLst>
              <a:cxn ang="0">
                <a:pos x="120" y="87"/>
              </a:cxn>
              <a:cxn ang="0">
                <a:pos x="0" y="87"/>
              </a:cxn>
              <a:cxn ang="0">
                <a:pos x="0" y="0"/>
              </a:cxn>
              <a:cxn ang="0">
                <a:pos x="143" y="0"/>
              </a:cxn>
              <a:cxn ang="0">
                <a:pos x="143" y="87"/>
              </a:cxn>
              <a:cxn ang="0">
                <a:pos x="108" y="36"/>
              </a:cxn>
              <a:cxn ang="0">
                <a:pos x="143" y="87"/>
              </a:cxn>
              <a:cxn ang="0">
                <a:pos x="0" y="87"/>
              </a:cxn>
              <a:cxn ang="0">
                <a:pos x="36" y="36"/>
              </a:cxn>
              <a:cxn ang="0">
                <a:pos x="0" y="0"/>
              </a:cxn>
              <a:cxn ang="0">
                <a:pos x="36" y="36"/>
              </a:cxn>
              <a:cxn ang="0">
                <a:pos x="72" y="72"/>
              </a:cxn>
              <a:cxn ang="0">
                <a:pos x="108" y="36"/>
              </a:cxn>
              <a:cxn ang="0">
                <a:pos x="143" y="0"/>
              </a:cxn>
            </a:cxnLst>
            <a:rect l="0" t="0" r="r" b="b"/>
            <a:pathLst>
              <a:path w="143" h="87">
                <a:moveTo>
                  <a:pt x="120" y="87"/>
                </a:moveTo>
                <a:lnTo>
                  <a:pt x="0" y="87"/>
                </a:lnTo>
                <a:lnTo>
                  <a:pt x="0" y="0"/>
                </a:lnTo>
                <a:lnTo>
                  <a:pt x="143" y="0"/>
                </a:lnTo>
                <a:lnTo>
                  <a:pt x="143" y="87"/>
                </a:lnTo>
                <a:moveTo>
                  <a:pt x="108" y="36"/>
                </a:moveTo>
                <a:lnTo>
                  <a:pt x="143" y="87"/>
                </a:lnTo>
                <a:moveTo>
                  <a:pt x="0" y="87"/>
                </a:moveTo>
                <a:lnTo>
                  <a:pt x="36" y="36"/>
                </a:lnTo>
                <a:moveTo>
                  <a:pt x="0" y="0"/>
                </a:moveTo>
                <a:lnTo>
                  <a:pt x="36" y="36"/>
                </a:lnTo>
                <a:lnTo>
                  <a:pt x="72" y="72"/>
                </a:lnTo>
                <a:lnTo>
                  <a:pt x="108" y="36"/>
                </a:lnTo>
                <a:lnTo>
                  <a:pt x="143" y="0"/>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668"/>
          <p:cNvSpPr>
            <a:spLocks noChangeAspect="1"/>
          </p:cNvSpPr>
          <p:nvPr/>
        </p:nvSpPr>
        <p:spPr bwMode="auto">
          <a:xfrm>
            <a:off x="5852669" y="4996419"/>
            <a:ext cx="618206" cy="540000"/>
          </a:xfrm>
          <a:custGeom>
            <a:avLst/>
            <a:gdLst/>
            <a:ahLst/>
            <a:cxnLst>
              <a:cxn ang="0">
                <a:pos x="22" y="172"/>
              </a:cxn>
              <a:cxn ang="0">
                <a:pos x="55" y="47"/>
              </a:cxn>
              <a:cxn ang="0">
                <a:pos x="197" y="2"/>
              </a:cxn>
              <a:cxn ang="0">
                <a:pos x="152" y="109"/>
              </a:cxn>
              <a:cxn ang="0">
                <a:pos x="55" y="172"/>
              </a:cxn>
              <a:cxn ang="0">
                <a:pos x="89" y="84"/>
              </a:cxn>
              <a:cxn ang="0">
                <a:pos x="160" y="31"/>
              </a:cxn>
            </a:cxnLst>
            <a:rect l="0" t="0" r="r" b="b"/>
            <a:pathLst>
              <a:path w="197" h="172">
                <a:moveTo>
                  <a:pt x="22" y="172"/>
                </a:moveTo>
                <a:cubicBezTo>
                  <a:pt x="22" y="172"/>
                  <a:pt x="0" y="95"/>
                  <a:pt x="55" y="47"/>
                </a:cubicBezTo>
                <a:cubicBezTo>
                  <a:pt x="110" y="0"/>
                  <a:pt x="197" y="2"/>
                  <a:pt x="197" y="2"/>
                </a:cubicBezTo>
                <a:cubicBezTo>
                  <a:pt x="197" y="2"/>
                  <a:pt x="187" y="72"/>
                  <a:pt x="152" y="109"/>
                </a:cubicBezTo>
                <a:cubicBezTo>
                  <a:pt x="103" y="162"/>
                  <a:pt x="55" y="172"/>
                  <a:pt x="55" y="172"/>
                </a:cubicBezTo>
                <a:cubicBezTo>
                  <a:pt x="55" y="172"/>
                  <a:pt x="53" y="126"/>
                  <a:pt x="89" y="84"/>
                </a:cubicBezTo>
                <a:cubicBezTo>
                  <a:pt x="125" y="41"/>
                  <a:pt x="160" y="31"/>
                  <a:pt x="160" y="3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ZoneTexte 302"/>
          <p:cNvSpPr txBox="1"/>
          <p:nvPr/>
        </p:nvSpPr>
        <p:spPr>
          <a:xfrm>
            <a:off x="6542929" y="5645535"/>
            <a:ext cx="1155276" cy="254067"/>
          </a:xfrm>
          <a:prstGeom prst="rect">
            <a:avLst/>
          </a:prstGeom>
          <a:noFill/>
        </p:spPr>
        <p:txBody>
          <a:bodyPr wrap="square" lIns="83969" tIns="41985" rIns="83969" bIns="41985" rtlCol="0">
            <a:spAutoFit/>
          </a:bodyPr>
          <a:lstStyle/>
          <a:p>
            <a:pPr algn="ctr"/>
            <a:r>
              <a:rPr lang="en-US" sz="1100">
                <a:solidFill>
                  <a:srgbClr val="494949"/>
                </a:solidFill>
              </a:rPr>
              <a:t>Models</a:t>
            </a:r>
          </a:p>
        </p:txBody>
      </p:sp>
      <p:grpSp>
        <p:nvGrpSpPr>
          <p:cNvPr id="27" name="Groupe 303"/>
          <p:cNvGrpSpPr>
            <a:grpSpLocks noChangeAspect="1"/>
          </p:cNvGrpSpPr>
          <p:nvPr/>
        </p:nvGrpSpPr>
        <p:grpSpPr>
          <a:xfrm>
            <a:off x="6865391" y="4972229"/>
            <a:ext cx="566432" cy="540000"/>
            <a:chOff x="4859656" y="2758123"/>
            <a:chExt cx="238125" cy="227013"/>
          </a:xfrm>
        </p:grpSpPr>
        <p:sp>
          <p:nvSpPr>
            <p:cNvPr id="305" name="Freeform 638"/>
            <p:cNvSpPr>
              <a:spLocks noChangeAspect="1" noEditPoints="1"/>
            </p:cNvSpPr>
            <p:nvPr/>
          </p:nvSpPr>
          <p:spPr bwMode="auto">
            <a:xfrm>
              <a:off x="4859656" y="2758123"/>
              <a:ext cx="238125" cy="93663"/>
            </a:xfrm>
            <a:custGeom>
              <a:avLst/>
              <a:gdLst/>
              <a:ahLst/>
              <a:cxnLst>
                <a:cxn ang="0">
                  <a:pos x="178" y="55"/>
                </a:cxn>
                <a:cxn ang="0">
                  <a:pos x="163" y="70"/>
                </a:cxn>
                <a:cxn ang="0">
                  <a:pos x="126" y="70"/>
                </a:cxn>
                <a:cxn ang="0">
                  <a:pos x="111" y="55"/>
                </a:cxn>
                <a:cxn ang="0">
                  <a:pos x="111" y="15"/>
                </a:cxn>
                <a:cxn ang="0">
                  <a:pos x="126" y="0"/>
                </a:cxn>
                <a:cxn ang="0">
                  <a:pos x="163" y="0"/>
                </a:cxn>
                <a:cxn ang="0">
                  <a:pos x="178" y="15"/>
                </a:cxn>
                <a:cxn ang="0">
                  <a:pos x="178" y="55"/>
                </a:cxn>
                <a:cxn ang="0">
                  <a:pos x="67" y="55"/>
                </a:cxn>
                <a:cxn ang="0">
                  <a:pos x="53" y="70"/>
                </a:cxn>
                <a:cxn ang="0">
                  <a:pos x="15" y="70"/>
                </a:cxn>
                <a:cxn ang="0">
                  <a:pos x="0" y="55"/>
                </a:cxn>
                <a:cxn ang="0">
                  <a:pos x="0" y="15"/>
                </a:cxn>
                <a:cxn ang="0">
                  <a:pos x="15" y="0"/>
                </a:cxn>
                <a:cxn ang="0">
                  <a:pos x="53" y="0"/>
                </a:cxn>
                <a:cxn ang="0">
                  <a:pos x="67" y="15"/>
                </a:cxn>
                <a:cxn ang="0">
                  <a:pos x="67" y="55"/>
                </a:cxn>
              </a:cxnLst>
              <a:rect l="0" t="0" r="r" b="b"/>
              <a:pathLst>
                <a:path w="178" h="70">
                  <a:moveTo>
                    <a:pt x="178" y="55"/>
                  </a:moveTo>
                  <a:cubicBezTo>
                    <a:pt x="178" y="63"/>
                    <a:pt x="171" y="70"/>
                    <a:pt x="163" y="70"/>
                  </a:cubicBezTo>
                  <a:cubicBezTo>
                    <a:pt x="126" y="70"/>
                    <a:pt x="126" y="70"/>
                    <a:pt x="126" y="70"/>
                  </a:cubicBezTo>
                  <a:cubicBezTo>
                    <a:pt x="117" y="70"/>
                    <a:pt x="111" y="63"/>
                    <a:pt x="111" y="55"/>
                  </a:cubicBezTo>
                  <a:cubicBezTo>
                    <a:pt x="111" y="15"/>
                    <a:pt x="111" y="15"/>
                    <a:pt x="111" y="15"/>
                  </a:cubicBezTo>
                  <a:cubicBezTo>
                    <a:pt x="111" y="7"/>
                    <a:pt x="117" y="0"/>
                    <a:pt x="126" y="0"/>
                  </a:cubicBezTo>
                  <a:cubicBezTo>
                    <a:pt x="163" y="0"/>
                    <a:pt x="163" y="0"/>
                    <a:pt x="163" y="0"/>
                  </a:cubicBezTo>
                  <a:cubicBezTo>
                    <a:pt x="171" y="0"/>
                    <a:pt x="178" y="7"/>
                    <a:pt x="178" y="15"/>
                  </a:cubicBezTo>
                  <a:lnTo>
                    <a:pt x="178" y="55"/>
                  </a:lnTo>
                  <a:close/>
                  <a:moveTo>
                    <a:pt x="67" y="55"/>
                  </a:moveTo>
                  <a:cubicBezTo>
                    <a:pt x="67" y="63"/>
                    <a:pt x="61" y="70"/>
                    <a:pt x="53" y="70"/>
                  </a:cubicBezTo>
                  <a:cubicBezTo>
                    <a:pt x="15" y="70"/>
                    <a:pt x="15" y="70"/>
                    <a:pt x="15" y="70"/>
                  </a:cubicBezTo>
                  <a:cubicBezTo>
                    <a:pt x="7" y="70"/>
                    <a:pt x="0" y="63"/>
                    <a:pt x="0" y="55"/>
                  </a:cubicBezTo>
                  <a:cubicBezTo>
                    <a:pt x="0" y="15"/>
                    <a:pt x="0" y="15"/>
                    <a:pt x="0" y="15"/>
                  </a:cubicBezTo>
                  <a:cubicBezTo>
                    <a:pt x="0" y="7"/>
                    <a:pt x="7" y="0"/>
                    <a:pt x="15" y="0"/>
                  </a:cubicBezTo>
                  <a:cubicBezTo>
                    <a:pt x="53" y="0"/>
                    <a:pt x="53" y="0"/>
                    <a:pt x="53" y="0"/>
                  </a:cubicBezTo>
                  <a:cubicBezTo>
                    <a:pt x="61" y="0"/>
                    <a:pt x="67" y="7"/>
                    <a:pt x="67" y="15"/>
                  </a:cubicBezTo>
                  <a:cubicBezTo>
                    <a:pt x="67" y="55"/>
                    <a:pt x="67" y="55"/>
                    <a:pt x="67" y="55"/>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639"/>
            <p:cNvSpPr>
              <a:spLocks noChangeAspect="1"/>
            </p:cNvSpPr>
            <p:nvPr/>
          </p:nvSpPr>
          <p:spPr bwMode="auto">
            <a:xfrm>
              <a:off x="4931093" y="2891473"/>
              <a:ext cx="93663" cy="93663"/>
            </a:xfrm>
            <a:custGeom>
              <a:avLst/>
              <a:gdLst/>
              <a:ahLst/>
              <a:cxnLst>
                <a:cxn ang="0">
                  <a:pos x="60" y="70"/>
                </a:cxn>
                <a:cxn ang="0">
                  <a:pos x="38" y="70"/>
                </a:cxn>
                <a:cxn ang="0">
                  <a:pos x="15" y="70"/>
                </a:cxn>
                <a:cxn ang="0">
                  <a:pos x="0" y="55"/>
                </a:cxn>
                <a:cxn ang="0">
                  <a:pos x="0" y="15"/>
                </a:cxn>
                <a:cxn ang="0">
                  <a:pos x="15" y="0"/>
                </a:cxn>
                <a:cxn ang="0">
                  <a:pos x="55" y="0"/>
                </a:cxn>
                <a:cxn ang="0">
                  <a:pos x="70" y="15"/>
                </a:cxn>
                <a:cxn ang="0">
                  <a:pos x="70" y="61"/>
                </a:cxn>
              </a:cxnLst>
              <a:rect l="0" t="0" r="r" b="b"/>
              <a:pathLst>
                <a:path w="70" h="70">
                  <a:moveTo>
                    <a:pt x="60" y="70"/>
                  </a:moveTo>
                  <a:cubicBezTo>
                    <a:pt x="38" y="70"/>
                    <a:pt x="38" y="70"/>
                    <a:pt x="38" y="70"/>
                  </a:cubicBezTo>
                  <a:cubicBezTo>
                    <a:pt x="15" y="70"/>
                    <a:pt x="15" y="70"/>
                    <a:pt x="15" y="70"/>
                  </a:cubicBezTo>
                  <a:cubicBezTo>
                    <a:pt x="7" y="70"/>
                    <a:pt x="0" y="63"/>
                    <a:pt x="0" y="55"/>
                  </a:cubicBezTo>
                  <a:cubicBezTo>
                    <a:pt x="0" y="15"/>
                    <a:pt x="0" y="15"/>
                    <a:pt x="0" y="15"/>
                  </a:cubicBezTo>
                  <a:cubicBezTo>
                    <a:pt x="0" y="7"/>
                    <a:pt x="7" y="0"/>
                    <a:pt x="15" y="0"/>
                  </a:cubicBezTo>
                  <a:cubicBezTo>
                    <a:pt x="55" y="0"/>
                    <a:pt x="55" y="0"/>
                    <a:pt x="55" y="0"/>
                  </a:cubicBezTo>
                  <a:cubicBezTo>
                    <a:pt x="63" y="0"/>
                    <a:pt x="70" y="7"/>
                    <a:pt x="70" y="15"/>
                  </a:cubicBezTo>
                  <a:cubicBezTo>
                    <a:pt x="70" y="61"/>
                    <a:pt x="70" y="61"/>
                    <a:pt x="70" y="6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640"/>
            <p:cNvSpPr>
              <a:spLocks noChangeAspect="1" noEditPoints="1"/>
            </p:cNvSpPr>
            <p:nvPr/>
          </p:nvSpPr>
          <p:spPr bwMode="auto">
            <a:xfrm>
              <a:off x="4899343" y="2853373"/>
              <a:ext cx="157163" cy="34925"/>
            </a:xfrm>
            <a:custGeom>
              <a:avLst/>
              <a:gdLst/>
              <a:ahLst/>
              <a:cxnLst>
                <a:cxn ang="0">
                  <a:pos x="59" y="26"/>
                </a:cxn>
                <a:cxn ang="0">
                  <a:pos x="59" y="10"/>
                </a:cxn>
                <a:cxn ang="0">
                  <a:pos x="118" y="0"/>
                </a:cxn>
                <a:cxn ang="0">
                  <a:pos x="103" y="10"/>
                </a:cxn>
                <a:cxn ang="0">
                  <a:pos x="58" y="10"/>
                </a:cxn>
                <a:cxn ang="0">
                  <a:pos x="15" y="10"/>
                </a:cxn>
                <a:cxn ang="0">
                  <a:pos x="0" y="0"/>
                </a:cxn>
              </a:cxnLst>
              <a:rect l="0" t="0" r="r" b="b"/>
              <a:pathLst>
                <a:path w="118" h="26">
                  <a:moveTo>
                    <a:pt x="59" y="26"/>
                  </a:moveTo>
                  <a:cubicBezTo>
                    <a:pt x="59" y="10"/>
                    <a:pt x="59" y="10"/>
                    <a:pt x="59" y="10"/>
                  </a:cubicBezTo>
                  <a:moveTo>
                    <a:pt x="118" y="0"/>
                  </a:moveTo>
                  <a:cubicBezTo>
                    <a:pt x="118" y="7"/>
                    <a:pt x="112" y="10"/>
                    <a:pt x="103" y="10"/>
                  </a:cubicBezTo>
                  <a:cubicBezTo>
                    <a:pt x="58" y="10"/>
                    <a:pt x="58" y="10"/>
                    <a:pt x="58" y="10"/>
                  </a:cubicBezTo>
                  <a:cubicBezTo>
                    <a:pt x="15" y="10"/>
                    <a:pt x="15" y="10"/>
                    <a:pt x="15" y="10"/>
                  </a:cubicBezTo>
                  <a:cubicBezTo>
                    <a:pt x="7" y="10"/>
                    <a:pt x="0" y="7"/>
                    <a:pt x="0" y="0"/>
                  </a:cubicBezTo>
                </a:path>
              </a:pathLst>
            </a:custGeom>
            <a:no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B060B90-2558-4DF7-ACAD-C5A4FBEB8969}"/>
              </a:ext>
            </a:extLst>
          </p:cNvPr>
          <p:cNvSpPr>
            <a:spLocks noGrp="1"/>
          </p:cNvSpPr>
          <p:nvPr>
            <p:ph type="pic" sz="quarter" idx="10"/>
          </p:nvPr>
        </p:nvSpPr>
        <p:spPr/>
      </p:sp>
      <p:sp>
        <p:nvSpPr>
          <p:cNvPr id="3" name="Subtitle 2">
            <a:extLst>
              <a:ext uri="{FF2B5EF4-FFF2-40B4-BE49-F238E27FC236}">
                <a16:creationId xmlns:a16="http://schemas.microsoft.com/office/drawing/2014/main" id="{F2F1272E-0972-44E5-80DD-34A83D72946C}"/>
              </a:ext>
            </a:extLst>
          </p:cNvPr>
          <p:cNvSpPr>
            <a:spLocks noGrp="1"/>
          </p:cNvSpPr>
          <p:nvPr>
            <p:ph type="subTitle" idx="1"/>
          </p:nvPr>
        </p:nvSpPr>
        <p:spPr/>
        <p:txBody>
          <a:bodyPr/>
          <a:lstStyle/>
          <a:p>
            <a:endParaRPr lang="en-US"/>
          </a:p>
        </p:txBody>
      </p:sp>
      <p:sp>
        <p:nvSpPr>
          <p:cNvPr id="4" name="Title 3">
            <a:extLst>
              <a:ext uri="{FF2B5EF4-FFF2-40B4-BE49-F238E27FC236}">
                <a16:creationId xmlns:a16="http://schemas.microsoft.com/office/drawing/2014/main" id="{6FB75E03-FC35-40E4-B355-684DE070D34B}"/>
              </a:ext>
            </a:extLst>
          </p:cNvPr>
          <p:cNvSpPr>
            <a:spLocks noGrp="1"/>
          </p:cNvSpPr>
          <p:nvPr>
            <p:ph type="ctrTitle"/>
          </p:nvPr>
        </p:nvSpPr>
        <p:spPr/>
        <p:txBody>
          <a:bodyPr/>
          <a:lstStyle/>
          <a:p>
            <a:endParaRPr lang="en-US"/>
          </a:p>
        </p:txBody>
      </p:sp>
    </p:spTree>
    <p:extLst>
      <p:ext uri="{BB962C8B-B14F-4D97-AF65-F5344CB8AC3E}">
        <p14:creationId xmlns:p14="http://schemas.microsoft.com/office/powerpoint/2010/main" val="10744084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p:txBody>
          <a:bodyPr/>
          <a:lstStyle/>
          <a:p>
            <a:endParaRPr lang="en-GB"/>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a:t>Title of presentation</a:t>
            </a:r>
          </a:p>
        </p:txBody>
      </p:sp>
    </p:spTree>
    <p:extLst>
      <p:ext uri="{BB962C8B-B14F-4D97-AF65-F5344CB8AC3E}">
        <p14:creationId xmlns:p14="http://schemas.microsoft.com/office/powerpoint/2010/main" val="9674269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icture containing car, mountain, vehicle&#10;&#10;Description automatically generated">
            <a:extLst>
              <a:ext uri="{FF2B5EF4-FFF2-40B4-BE49-F238E27FC236}">
                <a16:creationId xmlns:a16="http://schemas.microsoft.com/office/drawing/2014/main" id="{6D92E4EC-3C30-4A58-8551-202BDCA77C90}"/>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a:fillRect/>
          </a:stretch>
        </p:blipFill>
        <p:spPr>
          <a:xfrm>
            <a:off x="-10634" y="0"/>
            <a:ext cx="12202633" cy="6858000"/>
          </a:xfrm>
        </p:spPr>
      </p:pic>
      <p:sp>
        <p:nvSpPr>
          <p:cNvPr id="13" name="Graphic 13">
            <a:extLst>
              <a:ext uri="{FF2B5EF4-FFF2-40B4-BE49-F238E27FC236}">
                <a16:creationId xmlns:a16="http://schemas.microsoft.com/office/drawing/2014/main" id="{142D2CEA-902B-4DBF-A65C-3D5498D4335F}"/>
              </a:ext>
            </a:extLst>
          </p:cNvPr>
          <p:cNvSpPr>
            <a:spLocks/>
          </p:cNvSpPr>
          <p:nvPr/>
        </p:nvSpPr>
        <p:spPr>
          <a:xfrm rot="21365793">
            <a:off x="3937534" y="638224"/>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12" name="Subtitle 11">
            <a:extLst>
              <a:ext uri="{FF2B5EF4-FFF2-40B4-BE49-F238E27FC236}">
                <a16:creationId xmlns:a16="http://schemas.microsoft.com/office/drawing/2014/main" id="{B28D4135-3F0B-4D5A-ADA3-87022F8C1959}"/>
              </a:ext>
            </a:extLst>
          </p:cNvPr>
          <p:cNvSpPr>
            <a:spLocks noGrp="1"/>
          </p:cNvSpPr>
          <p:nvPr>
            <p:ph type="subTitle" idx="1"/>
          </p:nvPr>
        </p:nvSpPr>
        <p:spPr/>
        <p:txBody>
          <a:bodyPr/>
          <a:lstStyle/>
          <a:p>
            <a:endParaRPr lang="en-GB"/>
          </a:p>
        </p:txBody>
      </p:sp>
      <p:sp>
        <p:nvSpPr>
          <p:cNvPr id="11" name="Title 10">
            <a:extLst>
              <a:ext uri="{FF2B5EF4-FFF2-40B4-BE49-F238E27FC236}">
                <a16:creationId xmlns:a16="http://schemas.microsoft.com/office/drawing/2014/main" id="{33940544-1F8D-47E0-8BF8-BEED038F26D9}"/>
              </a:ext>
            </a:extLst>
          </p:cNvPr>
          <p:cNvSpPr>
            <a:spLocks noGrp="1"/>
          </p:cNvSpPr>
          <p:nvPr>
            <p:ph type="ctrTitle"/>
          </p:nvPr>
        </p:nvSpPr>
        <p:spPr>
          <a:xfrm>
            <a:off x="404813" y="2265429"/>
            <a:ext cx="11386134" cy="2243691"/>
          </a:xfrm>
        </p:spPr>
        <p:txBody>
          <a:bodyPr/>
          <a:lstStyle/>
          <a:p>
            <a:r>
              <a:rPr lang="en-GB"/>
              <a:t>Title </a:t>
            </a:r>
            <a:br>
              <a:rPr lang="en-GB"/>
            </a:br>
            <a:r>
              <a:rPr lang="en-GB"/>
              <a:t>       of the</a:t>
            </a:r>
            <a:br>
              <a:rPr lang="en-GB"/>
            </a:br>
            <a:r>
              <a:rPr lang="en-GB"/>
              <a:t>presentation</a:t>
            </a:r>
          </a:p>
        </p:txBody>
      </p:sp>
    </p:spTree>
    <p:extLst>
      <p:ext uri="{BB962C8B-B14F-4D97-AF65-F5344CB8AC3E}">
        <p14:creationId xmlns:p14="http://schemas.microsoft.com/office/powerpoint/2010/main" val="28000070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a:t>SECTION TITLE ALL CAPS, LOREM IPSUM DOLOR AMET.</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a:t>1</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p:txBody>
          <a:bodyPr/>
          <a:lstStyle/>
          <a:p>
            <a:r>
              <a:rPr lang="en-GB"/>
              <a:t>SECTION TITLE</a:t>
            </a:r>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p:txBody>
          <a:body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p:txBody>
          <a:bodyPr/>
          <a:lstStyle/>
          <a:p>
            <a:r>
              <a:rPr lang="en-GB">
                <a:solidFill>
                  <a:schemeClr val="accent4"/>
                </a:solidFill>
              </a:rPr>
              <a:t>SECTION </a:t>
            </a:r>
            <a:r>
              <a:rPr lang="en-GB" err="1">
                <a:solidFill>
                  <a:schemeClr val="accent4"/>
                </a:solidFill>
              </a:rPr>
              <a:t>SubTITLE</a:t>
            </a:r>
            <a:endParaRPr lang="en-GB">
              <a:solidFill>
                <a:schemeClr val="accent4"/>
              </a:solidFill>
            </a:endParaRPr>
          </a:p>
          <a:p>
            <a:endParaRPr lang="en-GB">
              <a:solidFill>
                <a:schemeClr val="accent3"/>
              </a:solidFill>
            </a:endParaRPr>
          </a:p>
        </p:txBody>
      </p:sp>
    </p:spTree>
    <p:extLst>
      <p:ext uri="{BB962C8B-B14F-4D97-AF65-F5344CB8AC3E}">
        <p14:creationId xmlns:p14="http://schemas.microsoft.com/office/powerpoint/2010/main" val="25912999"/>
      </p:ext>
    </p:extLst>
  </p:cSld>
  <p:clrMapOvr>
    <a:masterClrMapping/>
  </p:clrMapOvr>
  <p:transition spd="slow">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a:extLst>
              <a:ext uri="{FF2B5EF4-FFF2-40B4-BE49-F238E27FC236}">
                <a16:creationId xmlns:a16="http://schemas.microsoft.com/office/drawing/2014/main" id="{927D999C-7D56-4E36-90CD-528AC36195E8}"/>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8" r="8"/>
          <a:stretch/>
        </p:blipFill>
        <p:spPr/>
      </p:pic>
      <p:sp>
        <p:nvSpPr>
          <p:cNvPr id="15" name="Titre 14">
            <a:extLst>
              <a:ext uri="{FF2B5EF4-FFF2-40B4-BE49-F238E27FC236}">
                <a16:creationId xmlns:a16="http://schemas.microsoft.com/office/drawing/2014/main" id="{D05C1A0C-BF0D-4EF2-AC55-7BC3A6A4BC8D}"/>
              </a:ext>
            </a:extLst>
          </p:cNvPr>
          <p:cNvSpPr>
            <a:spLocks noGrp="1"/>
          </p:cNvSpPr>
          <p:nvPr>
            <p:ph type="title"/>
          </p:nvPr>
        </p:nvSpPr>
        <p:spPr/>
        <p:txBody>
          <a:bodyPr/>
          <a:lstStyle/>
          <a:p>
            <a:r>
              <a:rPr lang="en-GB"/>
              <a:t>TITLE</a:t>
            </a:r>
          </a:p>
        </p:txBody>
      </p:sp>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p:txBody>
      </p:sp>
      <p:sp>
        <p:nvSpPr>
          <p:cNvPr id="17" name="Freeform: Shape 16">
            <a:extLst>
              <a:ext uri="{FF2B5EF4-FFF2-40B4-BE49-F238E27FC236}">
                <a16:creationId xmlns:a16="http://schemas.microsoft.com/office/drawing/2014/main" id="{2F1C5B2A-E6BF-4D5C-8677-0BBA6AC8C4AE}"/>
              </a:ext>
            </a:extLst>
          </p:cNvPr>
          <p:cNvSpPr>
            <a:spLocks/>
          </p:cNvSpPr>
          <p:nvPr/>
        </p:nvSpPr>
        <p:spPr>
          <a:xfrm rot="816094">
            <a:off x="1034282" y="-2514883"/>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endParaRPr lang="de-DE"/>
          </a:p>
        </p:txBody>
      </p:sp>
    </p:spTree>
    <p:extLst>
      <p:ext uri="{BB962C8B-B14F-4D97-AF65-F5344CB8AC3E}">
        <p14:creationId xmlns:p14="http://schemas.microsoft.com/office/powerpoint/2010/main" val="285599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241DAC-8B16-4858-A360-7442E1626EB0}"/>
              </a:ext>
            </a:extLst>
          </p:cNvPr>
          <p:cNvSpPr>
            <a:spLocks noGrp="1"/>
          </p:cNvSpPr>
          <p:nvPr>
            <p:ph type="title"/>
          </p:nvPr>
        </p:nvSpPr>
        <p:spPr/>
        <p:txBody>
          <a:bodyPr/>
          <a:lstStyle/>
          <a:p>
            <a:r>
              <a:rPr lang="en-US" dirty="0"/>
              <a:t>What is data governance?</a:t>
            </a:r>
          </a:p>
        </p:txBody>
      </p:sp>
      <p:sp>
        <p:nvSpPr>
          <p:cNvPr id="4" name="Freeform 5">
            <a:extLst>
              <a:ext uri="{FF2B5EF4-FFF2-40B4-BE49-F238E27FC236}">
                <a16:creationId xmlns:a16="http://schemas.microsoft.com/office/drawing/2014/main" id="{D5ACC87C-ADD9-4EE9-985F-9E0E86DE453B}"/>
              </a:ext>
            </a:extLst>
          </p:cNvPr>
          <p:cNvSpPr>
            <a:spLocks/>
          </p:cNvSpPr>
          <p:nvPr/>
        </p:nvSpPr>
        <p:spPr bwMode="auto">
          <a:xfrm>
            <a:off x="4099068" y="4093797"/>
            <a:ext cx="1234346" cy="901208"/>
          </a:xfrm>
          <a:custGeom>
            <a:avLst/>
            <a:gdLst>
              <a:gd name="T0" fmla="*/ 290 w 297"/>
              <a:gd name="T1" fmla="*/ 226 h 226"/>
              <a:gd name="T2" fmla="*/ 287 w 297"/>
              <a:gd name="T3" fmla="*/ 225 h 226"/>
              <a:gd name="T4" fmla="*/ 138 w 297"/>
              <a:gd name="T5" fmla="*/ 14 h 226"/>
              <a:gd name="T6" fmla="*/ 8 w 297"/>
              <a:gd name="T7" fmla="*/ 44 h 226"/>
              <a:gd name="T8" fmla="*/ 1 w 297"/>
              <a:gd name="T9" fmla="*/ 39 h 226"/>
              <a:gd name="T10" fmla="*/ 6 w 297"/>
              <a:gd name="T11" fmla="*/ 32 h 226"/>
              <a:gd name="T12" fmla="*/ 141 w 297"/>
              <a:gd name="T13" fmla="*/ 1 h 226"/>
              <a:gd name="T14" fmla="*/ 149 w 297"/>
              <a:gd name="T15" fmla="*/ 6 h 226"/>
              <a:gd name="T16" fmla="*/ 294 w 297"/>
              <a:gd name="T17" fmla="*/ 215 h 226"/>
              <a:gd name="T18" fmla="*/ 295 w 297"/>
              <a:gd name="T19" fmla="*/ 223 h 226"/>
              <a:gd name="T20" fmla="*/ 290 w 297"/>
              <a:gd name="T2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7" h="226">
                <a:moveTo>
                  <a:pt x="290" y="226"/>
                </a:moveTo>
                <a:cubicBezTo>
                  <a:pt x="289" y="226"/>
                  <a:pt x="288" y="226"/>
                  <a:pt x="287" y="225"/>
                </a:cubicBezTo>
                <a:cubicBezTo>
                  <a:pt x="212" y="176"/>
                  <a:pt x="160" y="101"/>
                  <a:pt x="138" y="14"/>
                </a:cubicBezTo>
                <a:cubicBezTo>
                  <a:pt x="8" y="44"/>
                  <a:pt x="8" y="44"/>
                  <a:pt x="8" y="44"/>
                </a:cubicBezTo>
                <a:cubicBezTo>
                  <a:pt x="5" y="44"/>
                  <a:pt x="2" y="42"/>
                  <a:pt x="1" y="39"/>
                </a:cubicBezTo>
                <a:cubicBezTo>
                  <a:pt x="0" y="36"/>
                  <a:pt x="2" y="33"/>
                  <a:pt x="6" y="32"/>
                </a:cubicBezTo>
                <a:cubicBezTo>
                  <a:pt x="141" y="1"/>
                  <a:pt x="141" y="1"/>
                  <a:pt x="141" y="1"/>
                </a:cubicBezTo>
                <a:cubicBezTo>
                  <a:pt x="145" y="0"/>
                  <a:pt x="148" y="2"/>
                  <a:pt x="149" y="6"/>
                </a:cubicBezTo>
                <a:cubicBezTo>
                  <a:pt x="168" y="92"/>
                  <a:pt x="220" y="166"/>
                  <a:pt x="294" y="215"/>
                </a:cubicBezTo>
                <a:cubicBezTo>
                  <a:pt x="296" y="217"/>
                  <a:pt x="297" y="221"/>
                  <a:pt x="295" y="223"/>
                </a:cubicBezTo>
                <a:cubicBezTo>
                  <a:pt x="294" y="225"/>
                  <a:pt x="292" y="226"/>
                  <a:pt x="290" y="226"/>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 name="Group 4">
            <a:extLst>
              <a:ext uri="{FF2B5EF4-FFF2-40B4-BE49-F238E27FC236}">
                <a16:creationId xmlns:a16="http://schemas.microsoft.com/office/drawing/2014/main" id="{E64CFAED-7B0F-4374-B7D9-FDF68EF64245}"/>
              </a:ext>
            </a:extLst>
          </p:cNvPr>
          <p:cNvGrpSpPr/>
          <p:nvPr/>
        </p:nvGrpSpPr>
        <p:grpSpPr>
          <a:xfrm>
            <a:off x="5197623" y="5034447"/>
            <a:ext cx="1382466" cy="554134"/>
            <a:chOff x="4025750" y="3693811"/>
            <a:chExt cx="836700" cy="349869"/>
          </a:xfrm>
          <a:solidFill>
            <a:schemeClr val="accent2">
              <a:lumMod val="50000"/>
            </a:schemeClr>
          </a:solidFill>
        </p:grpSpPr>
        <p:sp>
          <p:nvSpPr>
            <p:cNvPr id="6" name="Freeform 6">
              <a:extLst>
                <a:ext uri="{FF2B5EF4-FFF2-40B4-BE49-F238E27FC236}">
                  <a16:creationId xmlns:a16="http://schemas.microsoft.com/office/drawing/2014/main" id="{F3C4D524-40C9-4898-BC30-2020533A9039}"/>
                </a:ext>
              </a:extLst>
            </p:cNvPr>
            <p:cNvSpPr>
              <a:spLocks/>
            </p:cNvSpPr>
            <p:nvPr/>
          </p:nvSpPr>
          <p:spPr bwMode="auto">
            <a:xfrm>
              <a:off x="4025750" y="3693811"/>
              <a:ext cx="185518" cy="349869"/>
            </a:xfrm>
            <a:custGeom>
              <a:avLst/>
              <a:gdLst>
                <a:gd name="T0" fmla="*/ 7 w 74"/>
                <a:gd name="T1" fmla="*/ 139 h 139"/>
                <a:gd name="T2" fmla="*/ 4 w 74"/>
                <a:gd name="T3" fmla="*/ 138 h 139"/>
                <a:gd name="T4" fmla="*/ 1 w 74"/>
                <a:gd name="T5" fmla="*/ 130 h 139"/>
                <a:gd name="T6" fmla="*/ 62 w 74"/>
                <a:gd name="T7" fmla="*/ 5 h 139"/>
                <a:gd name="T8" fmla="*/ 70 w 74"/>
                <a:gd name="T9" fmla="*/ 2 h 139"/>
                <a:gd name="T10" fmla="*/ 73 w 74"/>
                <a:gd name="T11" fmla="*/ 10 h 139"/>
                <a:gd name="T12" fmla="*/ 12 w 74"/>
                <a:gd name="T13" fmla="*/ 135 h 139"/>
                <a:gd name="T14" fmla="*/ 7 w 74"/>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39">
                  <a:moveTo>
                    <a:pt x="7" y="139"/>
                  </a:moveTo>
                  <a:cubicBezTo>
                    <a:pt x="6" y="139"/>
                    <a:pt x="5" y="138"/>
                    <a:pt x="4" y="138"/>
                  </a:cubicBezTo>
                  <a:cubicBezTo>
                    <a:pt x="1" y="137"/>
                    <a:pt x="0" y="133"/>
                    <a:pt x="1" y="130"/>
                  </a:cubicBezTo>
                  <a:cubicBezTo>
                    <a:pt x="62" y="5"/>
                    <a:pt x="62" y="5"/>
                    <a:pt x="62" y="5"/>
                  </a:cubicBezTo>
                  <a:cubicBezTo>
                    <a:pt x="63" y="2"/>
                    <a:pt x="67" y="0"/>
                    <a:pt x="70" y="2"/>
                  </a:cubicBezTo>
                  <a:cubicBezTo>
                    <a:pt x="73" y="3"/>
                    <a:pt x="74" y="7"/>
                    <a:pt x="73" y="10"/>
                  </a:cubicBezTo>
                  <a:cubicBezTo>
                    <a:pt x="12" y="135"/>
                    <a:pt x="12" y="135"/>
                    <a:pt x="12" y="135"/>
                  </a:cubicBezTo>
                  <a:cubicBezTo>
                    <a:pt x="11" y="137"/>
                    <a:pt x="9" y="139"/>
                    <a:pt x="7" y="1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7C539B79-69C8-43AB-B810-39D8175D50A0}"/>
                </a:ext>
              </a:extLst>
            </p:cNvPr>
            <p:cNvSpPr>
              <a:spLocks/>
            </p:cNvSpPr>
            <p:nvPr/>
          </p:nvSpPr>
          <p:spPr bwMode="auto">
            <a:xfrm>
              <a:off x="4176406" y="3693811"/>
              <a:ext cx="686044" cy="120773"/>
            </a:xfrm>
            <a:custGeom>
              <a:avLst/>
              <a:gdLst>
                <a:gd name="T0" fmla="*/ 158 w 273"/>
                <a:gd name="T1" fmla="*/ 48 h 48"/>
                <a:gd name="T2" fmla="*/ 5 w 273"/>
                <a:gd name="T3" fmla="*/ 13 h 48"/>
                <a:gd name="T4" fmla="*/ 2 w 273"/>
                <a:gd name="T5" fmla="*/ 5 h 48"/>
                <a:gd name="T6" fmla="*/ 10 w 273"/>
                <a:gd name="T7" fmla="*/ 2 h 48"/>
                <a:gd name="T8" fmla="*/ 264 w 273"/>
                <a:gd name="T9" fmla="*/ 19 h 48"/>
                <a:gd name="T10" fmla="*/ 272 w 273"/>
                <a:gd name="T11" fmla="*/ 23 h 48"/>
                <a:gd name="T12" fmla="*/ 268 w 273"/>
                <a:gd name="T13" fmla="*/ 30 h 48"/>
                <a:gd name="T14" fmla="*/ 158 w 273"/>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3" h="48">
                  <a:moveTo>
                    <a:pt x="158" y="48"/>
                  </a:moveTo>
                  <a:cubicBezTo>
                    <a:pt x="106" y="48"/>
                    <a:pt x="53" y="36"/>
                    <a:pt x="5" y="13"/>
                  </a:cubicBezTo>
                  <a:cubicBezTo>
                    <a:pt x="2" y="11"/>
                    <a:pt x="0" y="8"/>
                    <a:pt x="2" y="5"/>
                  </a:cubicBezTo>
                  <a:cubicBezTo>
                    <a:pt x="3" y="2"/>
                    <a:pt x="7" y="0"/>
                    <a:pt x="10" y="2"/>
                  </a:cubicBezTo>
                  <a:cubicBezTo>
                    <a:pt x="90" y="40"/>
                    <a:pt x="180" y="46"/>
                    <a:pt x="264" y="19"/>
                  </a:cubicBezTo>
                  <a:cubicBezTo>
                    <a:pt x="267" y="18"/>
                    <a:pt x="271" y="20"/>
                    <a:pt x="272" y="23"/>
                  </a:cubicBezTo>
                  <a:cubicBezTo>
                    <a:pt x="273" y="26"/>
                    <a:pt x="271" y="29"/>
                    <a:pt x="268" y="30"/>
                  </a:cubicBezTo>
                  <a:cubicBezTo>
                    <a:pt x="232" y="42"/>
                    <a:pt x="195" y="48"/>
                    <a:pt x="15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Freeform 8">
            <a:extLst>
              <a:ext uri="{FF2B5EF4-FFF2-40B4-BE49-F238E27FC236}">
                <a16:creationId xmlns:a16="http://schemas.microsoft.com/office/drawing/2014/main" id="{B56A9206-EB38-430B-81DC-CE33A177A338}"/>
              </a:ext>
            </a:extLst>
          </p:cNvPr>
          <p:cNvSpPr>
            <a:spLocks/>
          </p:cNvSpPr>
          <p:nvPr/>
        </p:nvSpPr>
        <p:spPr bwMode="auto">
          <a:xfrm>
            <a:off x="6705595" y="4273251"/>
            <a:ext cx="781751" cy="1315329"/>
          </a:xfrm>
          <a:custGeom>
            <a:avLst/>
            <a:gdLst>
              <a:gd name="T0" fmla="*/ 67 w 188"/>
              <a:gd name="T1" fmla="*/ 330 h 330"/>
              <a:gd name="T2" fmla="*/ 62 w 188"/>
              <a:gd name="T3" fmla="*/ 326 h 330"/>
              <a:gd name="T4" fmla="*/ 1 w 188"/>
              <a:gd name="T5" fmla="*/ 201 h 330"/>
              <a:gd name="T6" fmla="*/ 4 w 188"/>
              <a:gd name="T7" fmla="*/ 193 h 330"/>
              <a:gd name="T8" fmla="*/ 176 w 188"/>
              <a:gd name="T9" fmla="*/ 5 h 330"/>
              <a:gd name="T10" fmla="*/ 184 w 188"/>
              <a:gd name="T11" fmla="*/ 1 h 330"/>
              <a:gd name="T12" fmla="*/ 187 w 188"/>
              <a:gd name="T13" fmla="*/ 9 h 330"/>
              <a:gd name="T14" fmla="*/ 15 w 188"/>
              <a:gd name="T15" fmla="*/ 201 h 330"/>
              <a:gd name="T16" fmla="*/ 72 w 188"/>
              <a:gd name="T17" fmla="*/ 321 h 330"/>
              <a:gd name="T18" fmla="*/ 70 w 188"/>
              <a:gd name="T19" fmla="*/ 329 h 330"/>
              <a:gd name="T20" fmla="*/ 67 w 188"/>
              <a:gd name="T21"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330">
                <a:moveTo>
                  <a:pt x="67" y="330"/>
                </a:moveTo>
                <a:cubicBezTo>
                  <a:pt x="65" y="330"/>
                  <a:pt x="63" y="328"/>
                  <a:pt x="62" y="326"/>
                </a:cubicBezTo>
                <a:cubicBezTo>
                  <a:pt x="1" y="201"/>
                  <a:pt x="1" y="201"/>
                  <a:pt x="1" y="201"/>
                </a:cubicBezTo>
                <a:cubicBezTo>
                  <a:pt x="0" y="198"/>
                  <a:pt x="1" y="194"/>
                  <a:pt x="4" y="193"/>
                </a:cubicBezTo>
                <a:cubicBezTo>
                  <a:pt x="84" y="154"/>
                  <a:pt x="145" y="88"/>
                  <a:pt x="176" y="5"/>
                </a:cubicBezTo>
                <a:cubicBezTo>
                  <a:pt x="177" y="2"/>
                  <a:pt x="181" y="0"/>
                  <a:pt x="184" y="1"/>
                </a:cubicBezTo>
                <a:cubicBezTo>
                  <a:pt x="187" y="2"/>
                  <a:pt x="188" y="6"/>
                  <a:pt x="187" y="9"/>
                </a:cubicBezTo>
                <a:cubicBezTo>
                  <a:pt x="156" y="93"/>
                  <a:pt x="94" y="161"/>
                  <a:pt x="15" y="201"/>
                </a:cubicBezTo>
                <a:cubicBezTo>
                  <a:pt x="72" y="321"/>
                  <a:pt x="72" y="321"/>
                  <a:pt x="72" y="321"/>
                </a:cubicBezTo>
                <a:cubicBezTo>
                  <a:pt x="74" y="324"/>
                  <a:pt x="73" y="328"/>
                  <a:pt x="70" y="329"/>
                </a:cubicBezTo>
                <a:cubicBezTo>
                  <a:pt x="69" y="329"/>
                  <a:pt x="68" y="330"/>
                  <a:pt x="67" y="3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EDEBDFD1-597B-47D7-AFCC-68BC62B67915}"/>
              </a:ext>
            </a:extLst>
          </p:cNvPr>
          <p:cNvSpPr>
            <a:spLocks/>
          </p:cNvSpPr>
          <p:nvPr/>
        </p:nvSpPr>
        <p:spPr bwMode="auto">
          <a:xfrm>
            <a:off x="7320709" y="3072296"/>
            <a:ext cx="785867" cy="1197009"/>
          </a:xfrm>
          <a:custGeom>
            <a:avLst/>
            <a:gdLst>
              <a:gd name="T0" fmla="*/ 183 w 189"/>
              <a:gd name="T1" fmla="*/ 300 h 300"/>
              <a:gd name="T2" fmla="*/ 181 w 189"/>
              <a:gd name="T3" fmla="*/ 300 h 300"/>
              <a:gd name="T4" fmla="*/ 46 w 189"/>
              <a:gd name="T5" fmla="*/ 269 h 300"/>
              <a:gd name="T6" fmla="*/ 42 w 189"/>
              <a:gd name="T7" fmla="*/ 266 h 300"/>
              <a:gd name="T8" fmla="*/ 41 w 189"/>
              <a:gd name="T9" fmla="*/ 261 h 300"/>
              <a:gd name="T10" fmla="*/ 1 w 189"/>
              <a:gd name="T11" fmla="*/ 10 h 300"/>
              <a:gd name="T12" fmla="*/ 3 w 189"/>
              <a:gd name="T13" fmla="*/ 2 h 300"/>
              <a:gd name="T14" fmla="*/ 12 w 189"/>
              <a:gd name="T15" fmla="*/ 4 h 300"/>
              <a:gd name="T16" fmla="*/ 54 w 189"/>
              <a:gd name="T17" fmla="*/ 258 h 300"/>
              <a:gd name="T18" fmla="*/ 184 w 189"/>
              <a:gd name="T19" fmla="*/ 288 h 300"/>
              <a:gd name="T20" fmla="*/ 189 w 189"/>
              <a:gd name="T21" fmla="*/ 295 h 300"/>
              <a:gd name="T22" fmla="*/ 183 w 189"/>
              <a:gd name="T23"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300">
                <a:moveTo>
                  <a:pt x="183" y="300"/>
                </a:moveTo>
                <a:cubicBezTo>
                  <a:pt x="182" y="300"/>
                  <a:pt x="182" y="300"/>
                  <a:pt x="181" y="300"/>
                </a:cubicBezTo>
                <a:cubicBezTo>
                  <a:pt x="46" y="269"/>
                  <a:pt x="46" y="269"/>
                  <a:pt x="46" y="269"/>
                </a:cubicBezTo>
                <a:cubicBezTo>
                  <a:pt x="44" y="268"/>
                  <a:pt x="43" y="267"/>
                  <a:pt x="42" y="266"/>
                </a:cubicBezTo>
                <a:cubicBezTo>
                  <a:pt x="41" y="265"/>
                  <a:pt x="41" y="263"/>
                  <a:pt x="41" y="261"/>
                </a:cubicBezTo>
                <a:cubicBezTo>
                  <a:pt x="61" y="175"/>
                  <a:pt x="47" y="86"/>
                  <a:pt x="1" y="10"/>
                </a:cubicBezTo>
                <a:cubicBezTo>
                  <a:pt x="0" y="7"/>
                  <a:pt x="1" y="3"/>
                  <a:pt x="3" y="2"/>
                </a:cubicBezTo>
                <a:cubicBezTo>
                  <a:pt x="6" y="0"/>
                  <a:pt x="10" y="1"/>
                  <a:pt x="12" y="4"/>
                </a:cubicBezTo>
                <a:cubicBezTo>
                  <a:pt x="58" y="81"/>
                  <a:pt x="73" y="171"/>
                  <a:pt x="54" y="258"/>
                </a:cubicBezTo>
                <a:cubicBezTo>
                  <a:pt x="184" y="288"/>
                  <a:pt x="184" y="288"/>
                  <a:pt x="184" y="288"/>
                </a:cubicBezTo>
                <a:cubicBezTo>
                  <a:pt x="187" y="289"/>
                  <a:pt x="189" y="292"/>
                  <a:pt x="189" y="295"/>
                </a:cubicBezTo>
                <a:cubicBezTo>
                  <a:pt x="188" y="298"/>
                  <a:pt x="186" y="300"/>
                  <a:pt x="183" y="30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7FF9BAC8-526E-4C31-9C02-CDDBE39C1E40}"/>
              </a:ext>
            </a:extLst>
          </p:cNvPr>
          <p:cNvSpPr>
            <a:spLocks/>
          </p:cNvSpPr>
          <p:nvPr/>
        </p:nvSpPr>
        <p:spPr bwMode="auto">
          <a:xfrm>
            <a:off x="6273573" y="2409701"/>
            <a:ext cx="1442128" cy="558079"/>
          </a:xfrm>
          <a:custGeom>
            <a:avLst/>
            <a:gdLst>
              <a:gd name="T0" fmla="*/ 232 w 347"/>
              <a:gd name="T1" fmla="*/ 140 h 140"/>
              <a:gd name="T2" fmla="*/ 231 w 347"/>
              <a:gd name="T3" fmla="*/ 140 h 140"/>
              <a:gd name="T4" fmla="*/ 227 w 347"/>
              <a:gd name="T5" fmla="*/ 138 h 140"/>
              <a:gd name="T6" fmla="*/ 5 w 347"/>
              <a:gd name="T7" fmla="*/ 12 h 140"/>
              <a:gd name="T8" fmla="*/ 0 w 347"/>
              <a:gd name="T9" fmla="*/ 5 h 140"/>
              <a:gd name="T10" fmla="*/ 7 w 347"/>
              <a:gd name="T11" fmla="*/ 0 h 140"/>
              <a:gd name="T12" fmla="*/ 233 w 347"/>
              <a:gd name="T13" fmla="*/ 126 h 140"/>
              <a:gd name="T14" fmla="*/ 337 w 347"/>
              <a:gd name="T15" fmla="*/ 43 h 140"/>
              <a:gd name="T16" fmla="*/ 345 w 347"/>
              <a:gd name="T17" fmla="*/ 43 h 140"/>
              <a:gd name="T18" fmla="*/ 344 w 347"/>
              <a:gd name="T19" fmla="*/ 52 h 140"/>
              <a:gd name="T20" fmla="*/ 235 w 347"/>
              <a:gd name="T21" fmla="*/ 139 h 140"/>
              <a:gd name="T22" fmla="*/ 232 w 347"/>
              <a:gd name="T2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7" h="140">
                <a:moveTo>
                  <a:pt x="232" y="140"/>
                </a:moveTo>
                <a:cubicBezTo>
                  <a:pt x="231" y="140"/>
                  <a:pt x="231" y="140"/>
                  <a:pt x="231" y="140"/>
                </a:cubicBezTo>
                <a:cubicBezTo>
                  <a:pt x="229" y="140"/>
                  <a:pt x="228" y="139"/>
                  <a:pt x="227" y="138"/>
                </a:cubicBezTo>
                <a:cubicBezTo>
                  <a:pt x="172" y="69"/>
                  <a:pt x="93" y="24"/>
                  <a:pt x="5" y="12"/>
                </a:cubicBezTo>
                <a:cubicBezTo>
                  <a:pt x="2" y="12"/>
                  <a:pt x="0" y="9"/>
                  <a:pt x="0" y="5"/>
                </a:cubicBezTo>
                <a:cubicBezTo>
                  <a:pt x="1" y="2"/>
                  <a:pt x="4" y="0"/>
                  <a:pt x="7" y="0"/>
                </a:cubicBezTo>
                <a:cubicBezTo>
                  <a:pt x="96" y="12"/>
                  <a:pt x="176" y="57"/>
                  <a:pt x="233" y="126"/>
                </a:cubicBezTo>
                <a:cubicBezTo>
                  <a:pt x="337" y="43"/>
                  <a:pt x="337" y="43"/>
                  <a:pt x="337" y="43"/>
                </a:cubicBezTo>
                <a:cubicBezTo>
                  <a:pt x="339" y="40"/>
                  <a:pt x="343" y="41"/>
                  <a:pt x="345" y="43"/>
                </a:cubicBezTo>
                <a:cubicBezTo>
                  <a:pt x="347" y="46"/>
                  <a:pt x="347" y="50"/>
                  <a:pt x="344" y="52"/>
                </a:cubicBezTo>
                <a:cubicBezTo>
                  <a:pt x="235" y="139"/>
                  <a:pt x="235" y="139"/>
                  <a:pt x="235" y="139"/>
                </a:cubicBezTo>
                <a:cubicBezTo>
                  <a:pt x="234" y="140"/>
                  <a:pt x="233" y="140"/>
                  <a:pt x="232" y="140"/>
                </a:cubicBezTo>
                <a:close/>
              </a:path>
            </a:pathLst>
          </a:custGeom>
          <a:solidFill>
            <a:schemeClr val="accent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B40133D2-F081-4E6F-AE7A-7D0C6FC55911}"/>
              </a:ext>
            </a:extLst>
          </p:cNvPr>
          <p:cNvSpPr>
            <a:spLocks/>
          </p:cNvSpPr>
          <p:nvPr/>
        </p:nvSpPr>
        <p:spPr bwMode="auto">
          <a:xfrm>
            <a:off x="5076258" y="1843734"/>
            <a:ext cx="1051251" cy="989949"/>
          </a:xfrm>
          <a:custGeom>
            <a:avLst/>
            <a:gdLst>
              <a:gd name="T0" fmla="*/ 7 w 253"/>
              <a:gd name="T1" fmla="*/ 248 h 248"/>
              <a:gd name="T2" fmla="*/ 2 w 253"/>
              <a:gd name="T3" fmla="*/ 246 h 248"/>
              <a:gd name="T4" fmla="*/ 3 w 253"/>
              <a:gd name="T5" fmla="*/ 237 h 248"/>
              <a:gd name="T6" fmla="*/ 241 w 253"/>
              <a:gd name="T7" fmla="*/ 139 h 248"/>
              <a:gd name="T8" fmla="*/ 241 w 253"/>
              <a:gd name="T9" fmla="*/ 6 h 248"/>
              <a:gd name="T10" fmla="*/ 247 w 253"/>
              <a:gd name="T11" fmla="*/ 0 h 248"/>
              <a:gd name="T12" fmla="*/ 253 w 253"/>
              <a:gd name="T13" fmla="*/ 6 h 248"/>
              <a:gd name="T14" fmla="*/ 253 w 253"/>
              <a:gd name="T15" fmla="*/ 145 h 248"/>
              <a:gd name="T16" fmla="*/ 252 w 253"/>
              <a:gd name="T17" fmla="*/ 149 h 248"/>
              <a:gd name="T18" fmla="*/ 247 w 253"/>
              <a:gd name="T19" fmla="*/ 151 h 248"/>
              <a:gd name="T20" fmla="*/ 11 w 253"/>
              <a:gd name="T21" fmla="*/ 246 h 248"/>
              <a:gd name="T22" fmla="*/ 7 w 253"/>
              <a:gd name="T23"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3" h="248">
                <a:moveTo>
                  <a:pt x="7" y="248"/>
                </a:moveTo>
                <a:cubicBezTo>
                  <a:pt x="5" y="248"/>
                  <a:pt x="4" y="247"/>
                  <a:pt x="2" y="246"/>
                </a:cubicBezTo>
                <a:cubicBezTo>
                  <a:pt x="0" y="243"/>
                  <a:pt x="0" y="239"/>
                  <a:pt x="3" y="237"/>
                </a:cubicBezTo>
                <a:cubicBezTo>
                  <a:pt x="67" y="175"/>
                  <a:pt x="152" y="141"/>
                  <a:pt x="241" y="139"/>
                </a:cubicBezTo>
                <a:cubicBezTo>
                  <a:pt x="241" y="6"/>
                  <a:pt x="241" y="6"/>
                  <a:pt x="241" y="6"/>
                </a:cubicBezTo>
                <a:cubicBezTo>
                  <a:pt x="241" y="2"/>
                  <a:pt x="244" y="0"/>
                  <a:pt x="247" y="0"/>
                </a:cubicBezTo>
                <a:cubicBezTo>
                  <a:pt x="251" y="0"/>
                  <a:pt x="253" y="2"/>
                  <a:pt x="253" y="6"/>
                </a:cubicBezTo>
                <a:cubicBezTo>
                  <a:pt x="253" y="145"/>
                  <a:pt x="253" y="145"/>
                  <a:pt x="253" y="145"/>
                </a:cubicBezTo>
                <a:cubicBezTo>
                  <a:pt x="253" y="147"/>
                  <a:pt x="253" y="148"/>
                  <a:pt x="252" y="149"/>
                </a:cubicBezTo>
                <a:cubicBezTo>
                  <a:pt x="250" y="150"/>
                  <a:pt x="249" y="151"/>
                  <a:pt x="247" y="151"/>
                </a:cubicBezTo>
                <a:cubicBezTo>
                  <a:pt x="159" y="151"/>
                  <a:pt x="75" y="185"/>
                  <a:pt x="11" y="246"/>
                </a:cubicBezTo>
                <a:cubicBezTo>
                  <a:pt x="10" y="247"/>
                  <a:pt x="8" y="248"/>
                  <a:pt x="7" y="2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8CB4F488-F08C-4E17-8BAD-442029A2F9CF}"/>
              </a:ext>
            </a:extLst>
          </p:cNvPr>
          <p:cNvSpPr>
            <a:spLocks/>
          </p:cNvSpPr>
          <p:nvPr/>
        </p:nvSpPr>
        <p:spPr bwMode="auto">
          <a:xfrm>
            <a:off x="4489944" y="2573379"/>
            <a:ext cx="508140" cy="1388296"/>
          </a:xfrm>
          <a:custGeom>
            <a:avLst/>
            <a:gdLst>
              <a:gd name="T0" fmla="*/ 41 w 122"/>
              <a:gd name="T1" fmla="*/ 348 h 348"/>
              <a:gd name="T2" fmla="*/ 35 w 122"/>
              <a:gd name="T3" fmla="*/ 342 h 348"/>
              <a:gd name="T4" fmla="*/ 108 w 122"/>
              <a:gd name="T5" fmla="*/ 94 h 348"/>
              <a:gd name="T6" fmla="*/ 3 w 122"/>
              <a:gd name="T7" fmla="*/ 11 h 348"/>
              <a:gd name="T8" fmla="*/ 2 w 122"/>
              <a:gd name="T9" fmla="*/ 3 h 348"/>
              <a:gd name="T10" fmla="*/ 11 w 122"/>
              <a:gd name="T11" fmla="*/ 2 h 348"/>
              <a:gd name="T12" fmla="*/ 120 w 122"/>
              <a:gd name="T13" fmla="*/ 88 h 348"/>
              <a:gd name="T14" fmla="*/ 122 w 122"/>
              <a:gd name="T15" fmla="*/ 93 h 348"/>
              <a:gd name="T16" fmla="*/ 121 w 122"/>
              <a:gd name="T17" fmla="*/ 97 h 348"/>
              <a:gd name="T18" fmla="*/ 47 w 122"/>
              <a:gd name="T19" fmla="*/ 341 h 348"/>
              <a:gd name="T20" fmla="*/ 42 w 122"/>
              <a:gd name="T21" fmla="*/ 347 h 348"/>
              <a:gd name="T22" fmla="*/ 41 w 122"/>
              <a:gd name="T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348">
                <a:moveTo>
                  <a:pt x="41" y="348"/>
                </a:moveTo>
                <a:cubicBezTo>
                  <a:pt x="38" y="348"/>
                  <a:pt x="36" y="345"/>
                  <a:pt x="35" y="342"/>
                </a:cubicBezTo>
                <a:cubicBezTo>
                  <a:pt x="27" y="253"/>
                  <a:pt x="53" y="165"/>
                  <a:pt x="108" y="94"/>
                </a:cubicBezTo>
                <a:cubicBezTo>
                  <a:pt x="3" y="11"/>
                  <a:pt x="3" y="11"/>
                  <a:pt x="3" y="11"/>
                </a:cubicBezTo>
                <a:cubicBezTo>
                  <a:pt x="1" y="9"/>
                  <a:pt x="0" y="5"/>
                  <a:pt x="2" y="3"/>
                </a:cubicBezTo>
                <a:cubicBezTo>
                  <a:pt x="4" y="0"/>
                  <a:pt x="8" y="0"/>
                  <a:pt x="11" y="2"/>
                </a:cubicBezTo>
                <a:cubicBezTo>
                  <a:pt x="120" y="88"/>
                  <a:pt x="120" y="88"/>
                  <a:pt x="120" y="88"/>
                </a:cubicBezTo>
                <a:cubicBezTo>
                  <a:pt x="121" y="89"/>
                  <a:pt x="122" y="91"/>
                  <a:pt x="122" y="93"/>
                </a:cubicBezTo>
                <a:cubicBezTo>
                  <a:pt x="122" y="94"/>
                  <a:pt x="122" y="96"/>
                  <a:pt x="121" y="97"/>
                </a:cubicBezTo>
                <a:cubicBezTo>
                  <a:pt x="65" y="166"/>
                  <a:pt x="39" y="253"/>
                  <a:pt x="47" y="341"/>
                </a:cubicBezTo>
                <a:cubicBezTo>
                  <a:pt x="48" y="344"/>
                  <a:pt x="45" y="347"/>
                  <a:pt x="42" y="347"/>
                </a:cubicBezTo>
                <a:cubicBezTo>
                  <a:pt x="42" y="348"/>
                  <a:pt x="42" y="348"/>
                  <a:pt x="41" y="3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3">
            <a:extLst>
              <a:ext uri="{FF2B5EF4-FFF2-40B4-BE49-F238E27FC236}">
                <a16:creationId xmlns:a16="http://schemas.microsoft.com/office/drawing/2014/main" id="{2B79395B-1A24-4095-A1C3-180F7CE03DA5}"/>
              </a:ext>
            </a:extLst>
          </p:cNvPr>
          <p:cNvSpPr>
            <a:spLocks/>
          </p:cNvSpPr>
          <p:nvPr/>
        </p:nvSpPr>
        <p:spPr bwMode="auto">
          <a:xfrm>
            <a:off x="4103181" y="4113517"/>
            <a:ext cx="224240" cy="191284"/>
          </a:xfrm>
          <a:custGeom>
            <a:avLst/>
            <a:gdLst>
              <a:gd name="T0" fmla="*/ 47 w 54"/>
              <a:gd name="T1" fmla="*/ 48 h 48"/>
              <a:gd name="T2" fmla="*/ 46 w 54"/>
              <a:gd name="T3" fmla="*/ 48 h 48"/>
              <a:gd name="T4" fmla="*/ 5 w 54"/>
              <a:gd name="T5" fmla="*/ 39 h 48"/>
              <a:gd name="T6" fmla="*/ 0 w 54"/>
              <a:gd name="T7" fmla="*/ 34 h 48"/>
              <a:gd name="T8" fmla="*/ 2 w 54"/>
              <a:gd name="T9" fmla="*/ 28 h 48"/>
              <a:gd name="T10" fmla="*/ 36 w 54"/>
              <a:gd name="T11" fmla="*/ 2 h 48"/>
              <a:gd name="T12" fmla="*/ 44 w 54"/>
              <a:gd name="T13" fmla="*/ 3 h 48"/>
              <a:gd name="T14" fmla="*/ 43 w 54"/>
              <a:gd name="T15" fmla="*/ 11 h 48"/>
              <a:gd name="T16" fmla="*/ 20 w 54"/>
              <a:gd name="T17" fmla="*/ 30 h 48"/>
              <a:gd name="T18" fmla="*/ 49 w 54"/>
              <a:gd name="T19" fmla="*/ 36 h 48"/>
              <a:gd name="T20" fmla="*/ 53 w 54"/>
              <a:gd name="T21" fmla="*/ 43 h 48"/>
              <a:gd name="T22" fmla="*/ 47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47" y="48"/>
                </a:moveTo>
                <a:cubicBezTo>
                  <a:pt x="47" y="48"/>
                  <a:pt x="47" y="48"/>
                  <a:pt x="46" y="48"/>
                </a:cubicBezTo>
                <a:cubicBezTo>
                  <a:pt x="5" y="39"/>
                  <a:pt x="5" y="39"/>
                  <a:pt x="5" y="39"/>
                </a:cubicBezTo>
                <a:cubicBezTo>
                  <a:pt x="2" y="38"/>
                  <a:pt x="1" y="36"/>
                  <a:pt x="0" y="34"/>
                </a:cubicBezTo>
                <a:cubicBezTo>
                  <a:pt x="0" y="32"/>
                  <a:pt x="0" y="30"/>
                  <a:pt x="2" y="28"/>
                </a:cubicBezTo>
                <a:cubicBezTo>
                  <a:pt x="36" y="2"/>
                  <a:pt x="36" y="2"/>
                  <a:pt x="36" y="2"/>
                </a:cubicBezTo>
                <a:cubicBezTo>
                  <a:pt x="38" y="0"/>
                  <a:pt x="42" y="0"/>
                  <a:pt x="44" y="3"/>
                </a:cubicBezTo>
                <a:cubicBezTo>
                  <a:pt x="46" y="6"/>
                  <a:pt x="46" y="9"/>
                  <a:pt x="43" y="11"/>
                </a:cubicBezTo>
                <a:cubicBezTo>
                  <a:pt x="20" y="30"/>
                  <a:pt x="20" y="30"/>
                  <a:pt x="20" y="30"/>
                </a:cubicBezTo>
                <a:cubicBezTo>
                  <a:pt x="49" y="36"/>
                  <a:pt x="49" y="36"/>
                  <a:pt x="49" y="36"/>
                </a:cubicBezTo>
                <a:cubicBezTo>
                  <a:pt x="52" y="37"/>
                  <a:pt x="54" y="40"/>
                  <a:pt x="53" y="43"/>
                </a:cubicBezTo>
                <a:cubicBezTo>
                  <a:pt x="53" y="46"/>
                  <a:pt x="50" y="48"/>
                  <a:pt x="47"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4">
            <a:extLst>
              <a:ext uri="{FF2B5EF4-FFF2-40B4-BE49-F238E27FC236}">
                <a16:creationId xmlns:a16="http://schemas.microsoft.com/office/drawing/2014/main" id="{96235668-C2C4-47AF-B529-4A7F85BA4021}"/>
              </a:ext>
            </a:extLst>
          </p:cNvPr>
          <p:cNvSpPr>
            <a:spLocks/>
          </p:cNvSpPr>
          <p:nvPr/>
        </p:nvSpPr>
        <p:spPr bwMode="auto">
          <a:xfrm>
            <a:off x="5201749" y="5369689"/>
            <a:ext cx="189266" cy="218892"/>
          </a:xfrm>
          <a:custGeom>
            <a:avLst/>
            <a:gdLst>
              <a:gd name="T0" fmla="*/ 6 w 46"/>
              <a:gd name="T1" fmla="*/ 55 h 55"/>
              <a:gd name="T2" fmla="*/ 3 w 46"/>
              <a:gd name="T3" fmla="*/ 54 h 55"/>
              <a:gd name="T4" fmla="*/ 0 w 46"/>
              <a:gd name="T5" fmla="*/ 49 h 55"/>
              <a:gd name="T6" fmla="*/ 0 w 46"/>
              <a:gd name="T7" fmla="*/ 6 h 55"/>
              <a:gd name="T8" fmla="*/ 6 w 46"/>
              <a:gd name="T9" fmla="*/ 0 h 55"/>
              <a:gd name="T10" fmla="*/ 6 w 46"/>
              <a:gd name="T11" fmla="*/ 0 h 55"/>
              <a:gd name="T12" fmla="*/ 12 w 46"/>
              <a:gd name="T13" fmla="*/ 6 h 55"/>
              <a:gd name="T14" fmla="*/ 12 w 46"/>
              <a:gd name="T15" fmla="*/ 36 h 55"/>
              <a:gd name="T16" fmla="*/ 35 w 46"/>
              <a:gd name="T17" fmla="*/ 17 h 55"/>
              <a:gd name="T18" fmla="*/ 43 w 46"/>
              <a:gd name="T19" fmla="*/ 18 h 55"/>
              <a:gd name="T20" fmla="*/ 43 w 46"/>
              <a:gd name="T21" fmla="*/ 27 h 55"/>
              <a:gd name="T22" fmla="*/ 10 w 46"/>
              <a:gd name="T23" fmla="*/ 53 h 55"/>
              <a:gd name="T24" fmla="*/ 6 w 46"/>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5">
                <a:moveTo>
                  <a:pt x="6" y="55"/>
                </a:moveTo>
                <a:cubicBezTo>
                  <a:pt x="5" y="55"/>
                  <a:pt x="4" y="54"/>
                  <a:pt x="3" y="54"/>
                </a:cubicBezTo>
                <a:cubicBezTo>
                  <a:pt x="1" y="53"/>
                  <a:pt x="0" y="51"/>
                  <a:pt x="0" y="49"/>
                </a:cubicBezTo>
                <a:cubicBezTo>
                  <a:pt x="0" y="6"/>
                  <a:pt x="0" y="6"/>
                  <a:pt x="0" y="6"/>
                </a:cubicBezTo>
                <a:cubicBezTo>
                  <a:pt x="0" y="3"/>
                  <a:pt x="3" y="0"/>
                  <a:pt x="6" y="0"/>
                </a:cubicBezTo>
                <a:cubicBezTo>
                  <a:pt x="6" y="0"/>
                  <a:pt x="6" y="0"/>
                  <a:pt x="6" y="0"/>
                </a:cubicBezTo>
                <a:cubicBezTo>
                  <a:pt x="9" y="0"/>
                  <a:pt x="12" y="3"/>
                  <a:pt x="12" y="6"/>
                </a:cubicBezTo>
                <a:cubicBezTo>
                  <a:pt x="12" y="36"/>
                  <a:pt x="12" y="36"/>
                  <a:pt x="12" y="36"/>
                </a:cubicBezTo>
                <a:cubicBezTo>
                  <a:pt x="35" y="17"/>
                  <a:pt x="35" y="17"/>
                  <a:pt x="35" y="17"/>
                </a:cubicBezTo>
                <a:cubicBezTo>
                  <a:pt x="38" y="15"/>
                  <a:pt x="41" y="16"/>
                  <a:pt x="43" y="18"/>
                </a:cubicBezTo>
                <a:cubicBezTo>
                  <a:pt x="46" y="21"/>
                  <a:pt x="45" y="25"/>
                  <a:pt x="43" y="27"/>
                </a:cubicBezTo>
                <a:cubicBezTo>
                  <a:pt x="10" y="53"/>
                  <a:pt x="10" y="53"/>
                  <a:pt x="10" y="53"/>
                </a:cubicBezTo>
                <a:cubicBezTo>
                  <a:pt x="9" y="54"/>
                  <a:pt x="7" y="55"/>
                  <a:pt x="6" y="5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6">
            <a:extLst>
              <a:ext uri="{FF2B5EF4-FFF2-40B4-BE49-F238E27FC236}">
                <a16:creationId xmlns:a16="http://schemas.microsoft.com/office/drawing/2014/main" id="{A5F50408-C5BB-4E21-A69A-417ED4D7FEAB}"/>
              </a:ext>
            </a:extLst>
          </p:cNvPr>
          <p:cNvSpPr>
            <a:spLocks/>
          </p:cNvSpPr>
          <p:nvPr/>
        </p:nvSpPr>
        <p:spPr bwMode="auto">
          <a:xfrm>
            <a:off x="7882337" y="4113517"/>
            <a:ext cx="224240" cy="191284"/>
          </a:xfrm>
          <a:custGeom>
            <a:avLst/>
            <a:gdLst>
              <a:gd name="T0" fmla="*/ 6 w 54"/>
              <a:gd name="T1" fmla="*/ 48 h 48"/>
              <a:gd name="T2" fmla="*/ 1 w 54"/>
              <a:gd name="T3" fmla="*/ 43 h 48"/>
              <a:gd name="T4" fmla="*/ 5 w 54"/>
              <a:gd name="T5" fmla="*/ 36 h 48"/>
              <a:gd name="T6" fmla="*/ 34 w 54"/>
              <a:gd name="T7" fmla="*/ 30 h 48"/>
              <a:gd name="T8" fmla="*/ 11 w 54"/>
              <a:gd name="T9" fmla="*/ 11 h 48"/>
              <a:gd name="T10" fmla="*/ 10 w 54"/>
              <a:gd name="T11" fmla="*/ 3 h 48"/>
              <a:gd name="T12" fmla="*/ 18 w 54"/>
              <a:gd name="T13" fmla="*/ 2 h 48"/>
              <a:gd name="T14" fmla="*/ 52 w 54"/>
              <a:gd name="T15" fmla="*/ 28 h 48"/>
              <a:gd name="T16" fmla="*/ 54 w 54"/>
              <a:gd name="T17" fmla="*/ 34 h 48"/>
              <a:gd name="T18" fmla="*/ 49 w 54"/>
              <a:gd name="T19" fmla="*/ 39 h 48"/>
              <a:gd name="T20" fmla="*/ 8 w 54"/>
              <a:gd name="T21" fmla="*/ 48 h 48"/>
              <a:gd name="T22" fmla="*/ 6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6" y="48"/>
                </a:moveTo>
                <a:cubicBezTo>
                  <a:pt x="4" y="48"/>
                  <a:pt x="1" y="46"/>
                  <a:pt x="1" y="43"/>
                </a:cubicBezTo>
                <a:cubicBezTo>
                  <a:pt x="0" y="40"/>
                  <a:pt x="2" y="37"/>
                  <a:pt x="5" y="36"/>
                </a:cubicBezTo>
                <a:cubicBezTo>
                  <a:pt x="34" y="30"/>
                  <a:pt x="34" y="30"/>
                  <a:pt x="34" y="30"/>
                </a:cubicBezTo>
                <a:cubicBezTo>
                  <a:pt x="11" y="11"/>
                  <a:pt x="11" y="11"/>
                  <a:pt x="11" y="11"/>
                </a:cubicBezTo>
                <a:cubicBezTo>
                  <a:pt x="8" y="9"/>
                  <a:pt x="8" y="5"/>
                  <a:pt x="10" y="3"/>
                </a:cubicBezTo>
                <a:cubicBezTo>
                  <a:pt x="12" y="0"/>
                  <a:pt x="16" y="0"/>
                  <a:pt x="18" y="2"/>
                </a:cubicBezTo>
                <a:cubicBezTo>
                  <a:pt x="52" y="28"/>
                  <a:pt x="52" y="28"/>
                  <a:pt x="52" y="28"/>
                </a:cubicBezTo>
                <a:cubicBezTo>
                  <a:pt x="53" y="29"/>
                  <a:pt x="54" y="32"/>
                  <a:pt x="54" y="34"/>
                </a:cubicBezTo>
                <a:cubicBezTo>
                  <a:pt x="53" y="36"/>
                  <a:pt x="51" y="38"/>
                  <a:pt x="49" y="39"/>
                </a:cubicBezTo>
                <a:cubicBezTo>
                  <a:pt x="8" y="48"/>
                  <a:pt x="8" y="48"/>
                  <a:pt x="8" y="48"/>
                </a:cubicBezTo>
                <a:cubicBezTo>
                  <a:pt x="7" y="48"/>
                  <a:pt x="7" y="48"/>
                  <a:pt x="6"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7">
            <a:extLst>
              <a:ext uri="{FF2B5EF4-FFF2-40B4-BE49-F238E27FC236}">
                <a16:creationId xmlns:a16="http://schemas.microsoft.com/office/drawing/2014/main" id="{3738B4F9-0124-46A0-853E-9F72C3BC3170}"/>
              </a:ext>
            </a:extLst>
          </p:cNvPr>
          <p:cNvSpPr>
            <a:spLocks/>
          </p:cNvSpPr>
          <p:nvPr/>
        </p:nvSpPr>
        <p:spPr bwMode="auto">
          <a:xfrm>
            <a:off x="7491460" y="2573379"/>
            <a:ext cx="224240" cy="199173"/>
          </a:xfrm>
          <a:custGeom>
            <a:avLst/>
            <a:gdLst>
              <a:gd name="T0" fmla="*/ 29 w 54"/>
              <a:gd name="T1" fmla="*/ 50 h 50"/>
              <a:gd name="T2" fmla="*/ 26 w 54"/>
              <a:gd name="T3" fmla="*/ 50 h 50"/>
              <a:gd name="T4" fmla="*/ 24 w 54"/>
              <a:gd name="T5" fmla="*/ 42 h 50"/>
              <a:gd name="T6" fmla="*/ 37 w 54"/>
              <a:gd name="T7" fmla="*/ 15 h 50"/>
              <a:gd name="T8" fmla="*/ 8 w 54"/>
              <a:gd name="T9" fmla="*/ 22 h 50"/>
              <a:gd name="T10" fmla="*/ 0 w 54"/>
              <a:gd name="T11" fmla="*/ 17 h 50"/>
              <a:gd name="T12" fmla="*/ 5 w 54"/>
              <a:gd name="T13" fmla="*/ 10 h 50"/>
              <a:gd name="T14" fmla="*/ 46 w 54"/>
              <a:gd name="T15" fmla="*/ 0 h 50"/>
              <a:gd name="T16" fmla="*/ 52 w 54"/>
              <a:gd name="T17" fmla="*/ 2 h 50"/>
              <a:gd name="T18" fmla="*/ 53 w 54"/>
              <a:gd name="T19" fmla="*/ 9 h 50"/>
              <a:gd name="T20" fmla="*/ 34 w 54"/>
              <a:gd name="T21" fmla="*/ 47 h 50"/>
              <a:gd name="T22" fmla="*/ 29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9" y="50"/>
                </a:moveTo>
                <a:cubicBezTo>
                  <a:pt x="28" y="50"/>
                  <a:pt x="27" y="50"/>
                  <a:pt x="26" y="50"/>
                </a:cubicBezTo>
                <a:cubicBezTo>
                  <a:pt x="23" y="48"/>
                  <a:pt x="22" y="45"/>
                  <a:pt x="24" y="42"/>
                </a:cubicBezTo>
                <a:cubicBezTo>
                  <a:pt x="37" y="15"/>
                  <a:pt x="37" y="15"/>
                  <a:pt x="37" y="15"/>
                </a:cubicBezTo>
                <a:cubicBezTo>
                  <a:pt x="8" y="22"/>
                  <a:pt x="8" y="22"/>
                  <a:pt x="8" y="22"/>
                </a:cubicBezTo>
                <a:cubicBezTo>
                  <a:pt x="4" y="23"/>
                  <a:pt x="1" y="21"/>
                  <a:pt x="0" y="17"/>
                </a:cubicBezTo>
                <a:cubicBezTo>
                  <a:pt x="0" y="14"/>
                  <a:pt x="2" y="11"/>
                  <a:pt x="5" y="10"/>
                </a:cubicBezTo>
                <a:cubicBezTo>
                  <a:pt x="46" y="0"/>
                  <a:pt x="46" y="0"/>
                  <a:pt x="46" y="0"/>
                </a:cubicBezTo>
                <a:cubicBezTo>
                  <a:pt x="48" y="0"/>
                  <a:pt x="51" y="1"/>
                  <a:pt x="52" y="2"/>
                </a:cubicBezTo>
                <a:cubicBezTo>
                  <a:pt x="54" y="4"/>
                  <a:pt x="54" y="7"/>
                  <a:pt x="53" y="9"/>
                </a:cubicBezTo>
                <a:cubicBezTo>
                  <a:pt x="34" y="47"/>
                  <a:pt x="34" y="47"/>
                  <a:pt x="34" y="47"/>
                </a:cubicBezTo>
                <a:cubicBezTo>
                  <a:pt x="33" y="49"/>
                  <a:pt x="31" y="50"/>
                  <a:pt x="29" y="5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8">
            <a:extLst>
              <a:ext uri="{FF2B5EF4-FFF2-40B4-BE49-F238E27FC236}">
                <a16:creationId xmlns:a16="http://schemas.microsoft.com/office/drawing/2014/main" id="{2BD0D3FB-88AB-4397-A897-BCA37ECE6052}"/>
              </a:ext>
            </a:extLst>
          </p:cNvPr>
          <p:cNvSpPr>
            <a:spLocks/>
          </p:cNvSpPr>
          <p:nvPr/>
        </p:nvSpPr>
        <p:spPr bwMode="auto">
          <a:xfrm>
            <a:off x="5997904" y="1843734"/>
            <a:ext cx="209838" cy="203117"/>
          </a:xfrm>
          <a:custGeom>
            <a:avLst/>
            <a:gdLst>
              <a:gd name="T0" fmla="*/ 7 w 50"/>
              <a:gd name="T1" fmla="*/ 50 h 51"/>
              <a:gd name="T2" fmla="*/ 5 w 50"/>
              <a:gd name="T3" fmla="*/ 49 h 51"/>
              <a:gd name="T4" fmla="*/ 2 w 50"/>
              <a:gd name="T5" fmla="*/ 41 h 51"/>
              <a:gd name="T6" fmla="*/ 20 w 50"/>
              <a:gd name="T7" fmla="*/ 3 h 51"/>
              <a:gd name="T8" fmla="*/ 25 w 50"/>
              <a:gd name="T9" fmla="*/ 0 h 51"/>
              <a:gd name="T10" fmla="*/ 31 w 50"/>
              <a:gd name="T11" fmla="*/ 3 h 51"/>
              <a:gd name="T12" fmla="*/ 49 w 50"/>
              <a:gd name="T13" fmla="*/ 41 h 51"/>
              <a:gd name="T14" fmla="*/ 46 w 50"/>
              <a:gd name="T15" fmla="*/ 49 h 51"/>
              <a:gd name="T16" fmla="*/ 38 w 50"/>
              <a:gd name="T17" fmla="*/ 47 h 51"/>
              <a:gd name="T18" fmla="*/ 25 w 50"/>
              <a:gd name="T19" fmla="*/ 20 h 51"/>
              <a:gd name="T20" fmla="*/ 13 w 50"/>
              <a:gd name="T21" fmla="*/ 47 h 51"/>
              <a:gd name="T22" fmla="*/ 7 w 50"/>
              <a:gd name="T23"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1">
                <a:moveTo>
                  <a:pt x="7" y="50"/>
                </a:moveTo>
                <a:cubicBezTo>
                  <a:pt x="6" y="50"/>
                  <a:pt x="5" y="50"/>
                  <a:pt x="5" y="49"/>
                </a:cubicBezTo>
                <a:cubicBezTo>
                  <a:pt x="2" y="48"/>
                  <a:pt x="0" y="44"/>
                  <a:pt x="2" y="41"/>
                </a:cubicBezTo>
                <a:cubicBezTo>
                  <a:pt x="20" y="3"/>
                  <a:pt x="20" y="3"/>
                  <a:pt x="20" y="3"/>
                </a:cubicBezTo>
                <a:cubicBezTo>
                  <a:pt x="21" y="1"/>
                  <a:pt x="23" y="0"/>
                  <a:pt x="25" y="0"/>
                </a:cubicBezTo>
                <a:cubicBezTo>
                  <a:pt x="28" y="0"/>
                  <a:pt x="30" y="1"/>
                  <a:pt x="31" y="3"/>
                </a:cubicBezTo>
                <a:cubicBezTo>
                  <a:pt x="49" y="41"/>
                  <a:pt x="49" y="41"/>
                  <a:pt x="49" y="41"/>
                </a:cubicBezTo>
                <a:cubicBezTo>
                  <a:pt x="50" y="44"/>
                  <a:pt x="49" y="48"/>
                  <a:pt x="46" y="49"/>
                </a:cubicBezTo>
                <a:cubicBezTo>
                  <a:pt x="43" y="51"/>
                  <a:pt x="39" y="50"/>
                  <a:pt x="38" y="47"/>
                </a:cubicBezTo>
                <a:cubicBezTo>
                  <a:pt x="25" y="20"/>
                  <a:pt x="25" y="20"/>
                  <a:pt x="25" y="20"/>
                </a:cubicBezTo>
                <a:cubicBezTo>
                  <a:pt x="13" y="47"/>
                  <a:pt x="13" y="47"/>
                  <a:pt x="13" y="47"/>
                </a:cubicBezTo>
                <a:cubicBezTo>
                  <a:pt x="12" y="49"/>
                  <a:pt x="9" y="50"/>
                  <a:pt x="7" y="5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9">
            <a:extLst>
              <a:ext uri="{FF2B5EF4-FFF2-40B4-BE49-F238E27FC236}">
                <a16:creationId xmlns:a16="http://schemas.microsoft.com/office/drawing/2014/main" id="{0FE27C37-CA88-443D-848B-BAE25BFB3356}"/>
              </a:ext>
            </a:extLst>
          </p:cNvPr>
          <p:cNvSpPr>
            <a:spLocks/>
          </p:cNvSpPr>
          <p:nvPr/>
        </p:nvSpPr>
        <p:spPr bwMode="auto">
          <a:xfrm>
            <a:off x="4494058" y="2573379"/>
            <a:ext cx="224240" cy="199173"/>
          </a:xfrm>
          <a:custGeom>
            <a:avLst/>
            <a:gdLst>
              <a:gd name="T0" fmla="*/ 25 w 54"/>
              <a:gd name="T1" fmla="*/ 50 h 50"/>
              <a:gd name="T2" fmla="*/ 19 w 54"/>
              <a:gd name="T3" fmla="*/ 47 h 50"/>
              <a:gd name="T4" fmla="*/ 1 w 54"/>
              <a:gd name="T5" fmla="*/ 9 h 50"/>
              <a:gd name="T6" fmla="*/ 1 w 54"/>
              <a:gd name="T7" fmla="*/ 3 h 50"/>
              <a:gd name="T8" fmla="*/ 7 w 54"/>
              <a:gd name="T9" fmla="*/ 1 h 50"/>
              <a:gd name="T10" fmla="*/ 49 w 54"/>
              <a:gd name="T11" fmla="*/ 10 h 50"/>
              <a:gd name="T12" fmla="*/ 53 w 54"/>
              <a:gd name="T13" fmla="*/ 17 h 50"/>
              <a:gd name="T14" fmla="*/ 46 w 54"/>
              <a:gd name="T15" fmla="*/ 22 h 50"/>
              <a:gd name="T16" fmla="*/ 17 w 54"/>
              <a:gd name="T17" fmla="*/ 15 h 50"/>
              <a:gd name="T18" fmla="*/ 30 w 54"/>
              <a:gd name="T19" fmla="*/ 42 h 50"/>
              <a:gd name="T20" fmla="*/ 27 w 54"/>
              <a:gd name="T21" fmla="*/ 50 h 50"/>
              <a:gd name="T22" fmla="*/ 25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5" y="50"/>
                </a:moveTo>
                <a:cubicBezTo>
                  <a:pt x="23" y="50"/>
                  <a:pt x="20" y="49"/>
                  <a:pt x="19" y="47"/>
                </a:cubicBezTo>
                <a:cubicBezTo>
                  <a:pt x="1" y="9"/>
                  <a:pt x="1" y="9"/>
                  <a:pt x="1" y="9"/>
                </a:cubicBezTo>
                <a:cubicBezTo>
                  <a:pt x="0" y="7"/>
                  <a:pt x="0" y="4"/>
                  <a:pt x="1" y="3"/>
                </a:cubicBezTo>
                <a:cubicBezTo>
                  <a:pt x="3" y="1"/>
                  <a:pt x="5" y="0"/>
                  <a:pt x="7" y="1"/>
                </a:cubicBezTo>
                <a:cubicBezTo>
                  <a:pt x="49" y="10"/>
                  <a:pt x="49" y="10"/>
                  <a:pt x="49" y="10"/>
                </a:cubicBezTo>
                <a:cubicBezTo>
                  <a:pt x="52" y="11"/>
                  <a:pt x="54" y="14"/>
                  <a:pt x="53" y="17"/>
                </a:cubicBezTo>
                <a:cubicBezTo>
                  <a:pt x="52" y="21"/>
                  <a:pt x="49" y="23"/>
                  <a:pt x="46" y="22"/>
                </a:cubicBezTo>
                <a:cubicBezTo>
                  <a:pt x="17" y="15"/>
                  <a:pt x="17" y="15"/>
                  <a:pt x="17" y="15"/>
                </a:cubicBezTo>
                <a:cubicBezTo>
                  <a:pt x="30" y="42"/>
                  <a:pt x="30" y="42"/>
                  <a:pt x="30" y="42"/>
                </a:cubicBezTo>
                <a:cubicBezTo>
                  <a:pt x="32" y="45"/>
                  <a:pt x="30" y="48"/>
                  <a:pt x="27" y="50"/>
                </a:cubicBezTo>
                <a:cubicBezTo>
                  <a:pt x="27" y="50"/>
                  <a:pt x="26" y="50"/>
                  <a:pt x="25"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2">
            <a:extLst>
              <a:ext uri="{FF2B5EF4-FFF2-40B4-BE49-F238E27FC236}">
                <a16:creationId xmlns:a16="http://schemas.microsoft.com/office/drawing/2014/main" id="{6E19C658-9EC2-40C2-B241-23248250FFAC}"/>
              </a:ext>
            </a:extLst>
          </p:cNvPr>
          <p:cNvSpPr>
            <a:spLocks/>
          </p:cNvSpPr>
          <p:nvPr/>
        </p:nvSpPr>
        <p:spPr bwMode="auto">
          <a:xfrm>
            <a:off x="4818690" y="2573589"/>
            <a:ext cx="2596814" cy="2491527"/>
          </a:xfrm>
          <a:custGeom>
            <a:avLst/>
            <a:gdLst>
              <a:gd name="T0" fmla="*/ 909 w 3233"/>
              <a:gd name="T1" fmla="*/ 391 h 3233"/>
              <a:gd name="T2" fmla="*/ 2843 w 3233"/>
              <a:gd name="T3" fmla="*/ 909 h 3233"/>
              <a:gd name="T4" fmla="*/ 2325 w 3233"/>
              <a:gd name="T5" fmla="*/ 2842 h 3233"/>
              <a:gd name="T6" fmla="*/ 391 w 3233"/>
              <a:gd name="T7" fmla="*/ 2324 h 3233"/>
              <a:gd name="T8" fmla="*/ 909 w 3233"/>
              <a:gd name="T9" fmla="*/ 391 h 3233"/>
            </a:gdLst>
            <a:ahLst/>
            <a:cxnLst>
              <a:cxn ang="0">
                <a:pos x="T0" y="T1"/>
              </a:cxn>
              <a:cxn ang="0">
                <a:pos x="T2" y="T3"/>
              </a:cxn>
              <a:cxn ang="0">
                <a:pos x="T4" y="T5"/>
              </a:cxn>
              <a:cxn ang="0">
                <a:pos x="T6" y="T7"/>
              </a:cxn>
              <a:cxn ang="0">
                <a:pos x="T8" y="T9"/>
              </a:cxn>
            </a:cxnLst>
            <a:rect l="0" t="0" r="r" b="b"/>
            <a:pathLst>
              <a:path w="3233" h="3233">
                <a:moveTo>
                  <a:pt x="909" y="391"/>
                </a:moveTo>
                <a:cubicBezTo>
                  <a:pt x="1586" y="0"/>
                  <a:pt x="2452" y="232"/>
                  <a:pt x="2843" y="909"/>
                </a:cubicBezTo>
                <a:cubicBezTo>
                  <a:pt x="3233" y="1586"/>
                  <a:pt x="3001" y="2452"/>
                  <a:pt x="2325" y="2842"/>
                </a:cubicBezTo>
                <a:cubicBezTo>
                  <a:pt x="1648" y="3233"/>
                  <a:pt x="782" y="3001"/>
                  <a:pt x="391" y="2324"/>
                </a:cubicBezTo>
                <a:cubicBezTo>
                  <a:pt x="0" y="1648"/>
                  <a:pt x="232" y="782"/>
                  <a:pt x="909" y="391"/>
                </a:cubicBezTo>
                <a:close/>
              </a:path>
            </a:pathLst>
          </a:custGeom>
          <a:solidFill>
            <a:schemeClr val="bg1"/>
          </a:solidFill>
          <a:ln>
            <a:noFill/>
          </a:ln>
          <a:effectLst/>
        </p:spPr>
        <p:txBody>
          <a:bodyPr vert="horz" wrap="square" lIns="91440" tIns="45720" rIns="91440" bIns="45720" numCol="1" anchor="ctr" anchorCtr="0" compatLnSpc="1">
            <a:prstTxWarp prst="textNoShape">
              <a:avLst/>
            </a:prstTxWarp>
          </a:bodyPr>
          <a:lstStyle/>
          <a:p>
            <a:pPr algn="ctr"/>
            <a:endParaRPr lang="en-US" b="1">
              <a:solidFill>
                <a:schemeClr val="accent1"/>
              </a:solidFill>
            </a:endParaRPr>
          </a:p>
        </p:txBody>
      </p:sp>
      <p:sp>
        <p:nvSpPr>
          <p:cNvPr id="20" name="Oval 19">
            <a:extLst>
              <a:ext uri="{FF2B5EF4-FFF2-40B4-BE49-F238E27FC236}">
                <a16:creationId xmlns:a16="http://schemas.microsoft.com/office/drawing/2014/main" id="{92EF6745-8D81-45CC-B19E-40AEA3189173}"/>
              </a:ext>
            </a:extLst>
          </p:cNvPr>
          <p:cNvSpPr/>
          <p:nvPr/>
        </p:nvSpPr>
        <p:spPr bwMode="auto">
          <a:xfrm>
            <a:off x="5672122" y="1412776"/>
            <a:ext cx="788999" cy="756311"/>
          </a:xfrm>
          <a:prstGeom prst="ellipse">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1" name="Oval 20">
            <a:extLst>
              <a:ext uri="{FF2B5EF4-FFF2-40B4-BE49-F238E27FC236}">
                <a16:creationId xmlns:a16="http://schemas.microsoft.com/office/drawing/2014/main" id="{60D72E11-FD56-4294-8267-E0CF3FD70572}"/>
              </a:ext>
            </a:extLst>
          </p:cNvPr>
          <p:cNvSpPr/>
          <p:nvPr/>
        </p:nvSpPr>
        <p:spPr bwMode="auto">
          <a:xfrm>
            <a:off x="7409600" y="2177134"/>
            <a:ext cx="788999" cy="756311"/>
          </a:xfrm>
          <a:prstGeom prst="ellipse">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2" name="Oval 21">
            <a:extLst>
              <a:ext uri="{FF2B5EF4-FFF2-40B4-BE49-F238E27FC236}">
                <a16:creationId xmlns:a16="http://schemas.microsoft.com/office/drawing/2014/main" id="{CB952DC0-AD87-4599-9508-78635B9310C0}"/>
              </a:ext>
            </a:extLst>
          </p:cNvPr>
          <p:cNvSpPr/>
          <p:nvPr/>
        </p:nvSpPr>
        <p:spPr bwMode="auto">
          <a:xfrm>
            <a:off x="7795707" y="3882857"/>
            <a:ext cx="788999" cy="756311"/>
          </a:xfrm>
          <a:prstGeom prst="ellipse">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3" name="Oval 22">
            <a:extLst>
              <a:ext uri="{FF2B5EF4-FFF2-40B4-BE49-F238E27FC236}">
                <a16:creationId xmlns:a16="http://schemas.microsoft.com/office/drawing/2014/main" id="{124A0628-2086-4535-B0FB-A28D70B6A068}"/>
              </a:ext>
            </a:extLst>
          </p:cNvPr>
          <p:cNvSpPr/>
          <p:nvPr/>
        </p:nvSpPr>
        <p:spPr bwMode="auto">
          <a:xfrm>
            <a:off x="6628995" y="5290884"/>
            <a:ext cx="788999" cy="756311"/>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4" name="Oval 23">
            <a:extLst>
              <a:ext uri="{FF2B5EF4-FFF2-40B4-BE49-F238E27FC236}">
                <a16:creationId xmlns:a16="http://schemas.microsoft.com/office/drawing/2014/main" id="{8AA786AD-3DC8-473C-BC6C-3090A2DE1239}"/>
              </a:ext>
            </a:extLst>
          </p:cNvPr>
          <p:cNvSpPr/>
          <p:nvPr/>
        </p:nvSpPr>
        <p:spPr bwMode="auto">
          <a:xfrm>
            <a:off x="4790793" y="5274792"/>
            <a:ext cx="788999" cy="756311"/>
          </a:xfrm>
          <a:prstGeom prst="ellipse">
            <a:avLst/>
          </a:prstGeom>
          <a:solidFill>
            <a:schemeClr val="accent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5" name="Oval 24">
            <a:extLst>
              <a:ext uri="{FF2B5EF4-FFF2-40B4-BE49-F238E27FC236}">
                <a16:creationId xmlns:a16="http://schemas.microsoft.com/office/drawing/2014/main" id="{152D96B1-75BB-4CD9-AC7B-F009641CCDFC}"/>
              </a:ext>
            </a:extLst>
          </p:cNvPr>
          <p:cNvSpPr/>
          <p:nvPr/>
        </p:nvSpPr>
        <p:spPr bwMode="auto">
          <a:xfrm>
            <a:off x="3607293" y="3898949"/>
            <a:ext cx="788999" cy="756311"/>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6" name="Oval 25">
            <a:extLst>
              <a:ext uri="{FF2B5EF4-FFF2-40B4-BE49-F238E27FC236}">
                <a16:creationId xmlns:a16="http://schemas.microsoft.com/office/drawing/2014/main" id="{E5EB8978-5638-48D6-B978-0A0B7FFE5012}"/>
              </a:ext>
            </a:extLst>
          </p:cNvPr>
          <p:cNvSpPr/>
          <p:nvPr/>
        </p:nvSpPr>
        <p:spPr bwMode="auto">
          <a:xfrm>
            <a:off x="4001792" y="2161042"/>
            <a:ext cx="788999" cy="756311"/>
          </a:xfrm>
          <a:prstGeom prst="ellipse">
            <a:avLst/>
          </a:prstGeom>
          <a:solidFill>
            <a:schemeClr val="tx2">
              <a:lumMod val="90000"/>
              <a:lumOff val="1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grpSp>
        <p:nvGrpSpPr>
          <p:cNvPr id="117" name="Groupe 299">
            <a:extLst>
              <a:ext uri="{FF2B5EF4-FFF2-40B4-BE49-F238E27FC236}">
                <a16:creationId xmlns:a16="http://schemas.microsoft.com/office/drawing/2014/main" id="{C8352A97-FB98-461A-BFA1-ACA381450628}"/>
              </a:ext>
            </a:extLst>
          </p:cNvPr>
          <p:cNvGrpSpPr/>
          <p:nvPr/>
        </p:nvGrpSpPr>
        <p:grpSpPr>
          <a:xfrm>
            <a:off x="4158739" y="2394984"/>
            <a:ext cx="490466" cy="282474"/>
            <a:chOff x="4572000" y="4300538"/>
            <a:chExt cx="385763" cy="231775"/>
          </a:xfrm>
        </p:grpSpPr>
        <p:sp>
          <p:nvSpPr>
            <p:cNvPr id="118" name="Freeform 828">
              <a:extLst>
                <a:ext uri="{FF2B5EF4-FFF2-40B4-BE49-F238E27FC236}">
                  <a16:creationId xmlns:a16="http://schemas.microsoft.com/office/drawing/2014/main" id="{34186393-10F4-403C-B8B7-6CBE10ED2F62}"/>
                </a:ext>
              </a:extLst>
            </p:cNvPr>
            <p:cNvSpPr>
              <a:spLocks/>
            </p:cNvSpPr>
            <p:nvPr/>
          </p:nvSpPr>
          <p:spPr bwMode="auto">
            <a:xfrm>
              <a:off x="4572000" y="4306888"/>
              <a:ext cx="385763" cy="225425"/>
            </a:xfrm>
            <a:custGeom>
              <a:avLst/>
              <a:gdLst/>
              <a:ahLst/>
              <a:cxnLst>
                <a:cxn ang="0">
                  <a:pos x="0" y="0"/>
                </a:cxn>
                <a:cxn ang="0">
                  <a:pos x="0" y="142"/>
                </a:cxn>
                <a:cxn ang="0">
                  <a:pos x="243" y="142"/>
                </a:cxn>
              </a:cxnLst>
              <a:rect l="0" t="0" r="r" b="b"/>
              <a:pathLst>
                <a:path w="243" h="142">
                  <a:moveTo>
                    <a:pt x="0" y="0"/>
                  </a:moveTo>
                  <a:lnTo>
                    <a:pt x="0" y="142"/>
                  </a:lnTo>
                  <a:lnTo>
                    <a:pt x="243" y="142"/>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19" name="Freeform 829">
              <a:extLst>
                <a:ext uri="{FF2B5EF4-FFF2-40B4-BE49-F238E27FC236}">
                  <a16:creationId xmlns:a16="http://schemas.microsoft.com/office/drawing/2014/main" id="{BE280F3F-94BC-4C1B-9D1C-A06B62D47BD7}"/>
                </a:ext>
              </a:extLst>
            </p:cNvPr>
            <p:cNvSpPr>
              <a:spLocks/>
            </p:cNvSpPr>
            <p:nvPr/>
          </p:nvSpPr>
          <p:spPr bwMode="auto">
            <a:xfrm>
              <a:off x="4611688" y="4337051"/>
              <a:ext cx="260350" cy="168275"/>
            </a:xfrm>
            <a:custGeom>
              <a:avLst/>
              <a:gdLst/>
              <a:ahLst/>
              <a:cxnLst>
                <a:cxn ang="0">
                  <a:pos x="0" y="106"/>
                </a:cxn>
                <a:cxn ang="0">
                  <a:pos x="48" y="57"/>
                </a:cxn>
                <a:cxn ang="0">
                  <a:pos x="77" y="86"/>
                </a:cxn>
                <a:cxn ang="0">
                  <a:pos x="164" y="0"/>
                </a:cxn>
              </a:cxnLst>
              <a:rect l="0" t="0" r="r" b="b"/>
              <a:pathLst>
                <a:path w="164" h="106">
                  <a:moveTo>
                    <a:pt x="0" y="106"/>
                  </a:moveTo>
                  <a:lnTo>
                    <a:pt x="48" y="57"/>
                  </a:lnTo>
                  <a:lnTo>
                    <a:pt x="77" y="86"/>
                  </a:lnTo>
                  <a:lnTo>
                    <a:pt x="164" y="0"/>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20" name="Freeform 831">
              <a:extLst>
                <a:ext uri="{FF2B5EF4-FFF2-40B4-BE49-F238E27FC236}">
                  <a16:creationId xmlns:a16="http://schemas.microsoft.com/office/drawing/2014/main" id="{7A7BBAE7-7208-4B9A-B4D4-63541770FD3E}"/>
                </a:ext>
              </a:extLst>
            </p:cNvPr>
            <p:cNvSpPr>
              <a:spLocks/>
            </p:cNvSpPr>
            <p:nvPr/>
          </p:nvSpPr>
          <p:spPr bwMode="auto">
            <a:xfrm>
              <a:off x="4829175" y="4300538"/>
              <a:ext cx="74613" cy="77788"/>
            </a:xfrm>
            <a:custGeom>
              <a:avLst/>
              <a:gdLst/>
              <a:ahLst/>
              <a:cxnLst>
                <a:cxn ang="0">
                  <a:pos x="0" y="0"/>
                </a:cxn>
                <a:cxn ang="0">
                  <a:pos x="47" y="0"/>
                </a:cxn>
                <a:cxn ang="0">
                  <a:pos x="47" y="49"/>
                </a:cxn>
              </a:cxnLst>
              <a:rect l="0" t="0" r="r" b="b"/>
              <a:pathLst>
                <a:path w="47" h="49">
                  <a:moveTo>
                    <a:pt x="0" y="0"/>
                  </a:moveTo>
                  <a:lnTo>
                    <a:pt x="47" y="0"/>
                  </a:lnTo>
                  <a:lnTo>
                    <a:pt x="47" y="49"/>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sp>
        <p:nvSpPr>
          <p:cNvPr id="129" name="Text Placeholder 2">
            <a:extLst>
              <a:ext uri="{FF2B5EF4-FFF2-40B4-BE49-F238E27FC236}">
                <a16:creationId xmlns:a16="http://schemas.microsoft.com/office/drawing/2014/main" id="{B37FDAB7-8D97-47E1-BF0B-3131104836E3}"/>
              </a:ext>
            </a:extLst>
          </p:cNvPr>
          <p:cNvSpPr>
            <a:spLocks noGrp="1"/>
          </p:cNvSpPr>
          <p:nvPr>
            <p:ph type="body" sz="quarter" idx="10"/>
          </p:nvPr>
        </p:nvSpPr>
        <p:spPr>
          <a:xfrm>
            <a:off x="5177352" y="1090089"/>
            <a:ext cx="4464496" cy="379884"/>
          </a:xfrm>
        </p:spPr>
        <p:txBody>
          <a:bodyPr>
            <a:normAutofit/>
          </a:bodyPr>
          <a:lstStyle/>
          <a:p>
            <a:r>
              <a:rPr lang="nb-NO" sz="1800" dirty="0"/>
              <a:t>Data Management</a:t>
            </a:r>
          </a:p>
          <a:p>
            <a:endParaRPr lang="nb-NO" sz="1800" dirty="0"/>
          </a:p>
        </p:txBody>
      </p:sp>
      <p:sp>
        <p:nvSpPr>
          <p:cNvPr id="134" name="TextBox 133">
            <a:extLst>
              <a:ext uri="{FF2B5EF4-FFF2-40B4-BE49-F238E27FC236}">
                <a16:creationId xmlns:a16="http://schemas.microsoft.com/office/drawing/2014/main" id="{065B4607-6A64-4F40-872A-6FC523FB5AF2}"/>
              </a:ext>
            </a:extLst>
          </p:cNvPr>
          <p:cNvSpPr txBox="1"/>
          <p:nvPr/>
        </p:nvSpPr>
        <p:spPr>
          <a:xfrm>
            <a:off x="2511173" y="2267691"/>
            <a:ext cx="2592288" cy="369332"/>
          </a:xfrm>
          <a:prstGeom prst="rect">
            <a:avLst/>
          </a:prstGeom>
          <a:noFill/>
        </p:spPr>
        <p:txBody>
          <a:bodyPr wrap="square" rtlCol="0">
            <a:spAutoFit/>
          </a:bodyPr>
          <a:lstStyle/>
          <a:p>
            <a:r>
              <a:rPr lang="nb-NO"/>
              <a:t>Data Quality</a:t>
            </a:r>
          </a:p>
        </p:txBody>
      </p:sp>
      <p:sp>
        <p:nvSpPr>
          <p:cNvPr id="138" name="TextBox 137">
            <a:extLst>
              <a:ext uri="{FF2B5EF4-FFF2-40B4-BE49-F238E27FC236}">
                <a16:creationId xmlns:a16="http://schemas.microsoft.com/office/drawing/2014/main" id="{90380516-9C9C-4176-88A2-225F3967286A}"/>
              </a:ext>
            </a:extLst>
          </p:cNvPr>
          <p:cNvSpPr txBox="1"/>
          <p:nvPr/>
        </p:nvSpPr>
        <p:spPr>
          <a:xfrm>
            <a:off x="8584706" y="4092438"/>
            <a:ext cx="3024336" cy="369332"/>
          </a:xfrm>
          <a:prstGeom prst="rect">
            <a:avLst/>
          </a:prstGeom>
          <a:noFill/>
        </p:spPr>
        <p:txBody>
          <a:bodyPr wrap="square" rtlCol="0">
            <a:spAutoFit/>
          </a:bodyPr>
          <a:lstStyle/>
          <a:p>
            <a:r>
              <a:rPr lang="nb-NO"/>
              <a:t>Data </a:t>
            </a:r>
            <a:r>
              <a:rPr lang="nb-NO" err="1"/>
              <a:t>Privacy</a:t>
            </a:r>
            <a:endParaRPr lang="nb-NO"/>
          </a:p>
        </p:txBody>
      </p:sp>
      <p:sp>
        <p:nvSpPr>
          <p:cNvPr id="141" name="Text Placeholder 2">
            <a:extLst>
              <a:ext uri="{FF2B5EF4-FFF2-40B4-BE49-F238E27FC236}">
                <a16:creationId xmlns:a16="http://schemas.microsoft.com/office/drawing/2014/main" id="{C2CCBCE7-0B5E-4C89-BD9D-3C8C28A3B29E}"/>
              </a:ext>
            </a:extLst>
          </p:cNvPr>
          <p:cNvSpPr txBox="1">
            <a:spLocks/>
          </p:cNvSpPr>
          <p:nvPr/>
        </p:nvSpPr>
        <p:spPr>
          <a:xfrm>
            <a:off x="8274555" y="2372938"/>
            <a:ext cx="4464496"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a:t>Data Architecture</a:t>
            </a:r>
          </a:p>
          <a:p>
            <a:endParaRPr lang="nb-NO" sz="1800"/>
          </a:p>
        </p:txBody>
      </p:sp>
      <p:sp>
        <p:nvSpPr>
          <p:cNvPr id="143" name="Text Placeholder 2">
            <a:extLst>
              <a:ext uri="{FF2B5EF4-FFF2-40B4-BE49-F238E27FC236}">
                <a16:creationId xmlns:a16="http://schemas.microsoft.com/office/drawing/2014/main" id="{603A37C6-02A0-46D9-ADFF-9687AC583F38}"/>
              </a:ext>
            </a:extLst>
          </p:cNvPr>
          <p:cNvSpPr txBox="1">
            <a:spLocks/>
          </p:cNvSpPr>
          <p:nvPr/>
        </p:nvSpPr>
        <p:spPr>
          <a:xfrm>
            <a:off x="1908260" y="4113517"/>
            <a:ext cx="4464496"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a:t>Data </a:t>
            </a:r>
            <a:r>
              <a:rPr lang="nb-NO" sz="1800" err="1"/>
              <a:t>Modelling</a:t>
            </a:r>
            <a:endParaRPr lang="nb-NO" sz="1800"/>
          </a:p>
          <a:p>
            <a:endParaRPr lang="nb-NO" sz="1800"/>
          </a:p>
        </p:txBody>
      </p:sp>
      <p:sp>
        <p:nvSpPr>
          <p:cNvPr id="144" name="TextBox 143">
            <a:extLst>
              <a:ext uri="{FF2B5EF4-FFF2-40B4-BE49-F238E27FC236}">
                <a16:creationId xmlns:a16="http://schemas.microsoft.com/office/drawing/2014/main" id="{62DB5779-885E-4C34-BAA4-94F35CC481CE}"/>
              </a:ext>
            </a:extLst>
          </p:cNvPr>
          <p:cNvSpPr txBox="1"/>
          <p:nvPr/>
        </p:nvSpPr>
        <p:spPr>
          <a:xfrm>
            <a:off x="7409600" y="5703780"/>
            <a:ext cx="2880320" cy="369332"/>
          </a:xfrm>
          <a:prstGeom prst="rect">
            <a:avLst/>
          </a:prstGeom>
          <a:noFill/>
        </p:spPr>
        <p:txBody>
          <a:bodyPr wrap="square" rtlCol="0">
            <a:spAutoFit/>
          </a:bodyPr>
          <a:lstStyle/>
          <a:p>
            <a:r>
              <a:rPr lang="nb-NO"/>
              <a:t>Metadata</a:t>
            </a:r>
          </a:p>
        </p:txBody>
      </p:sp>
      <p:sp>
        <p:nvSpPr>
          <p:cNvPr id="145" name="TextBox 144">
            <a:extLst>
              <a:ext uri="{FF2B5EF4-FFF2-40B4-BE49-F238E27FC236}">
                <a16:creationId xmlns:a16="http://schemas.microsoft.com/office/drawing/2014/main" id="{0830D84A-6645-4A0C-8472-0630991843CE}"/>
              </a:ext>
            </a:extLst>
          </p:cNvPr>
          <p:cNvSpPr txBox="1"/>
          <p:nvPr/>
        </p:nvSpPr>
        <p:spPr>
          <a:xfrm>
            <a:off x="3097511" y="5745666"/>
            <a:ext cx="2085995" cy="369332"/>
          </a:xfrm>
          <a:prstGeom prst="rect">
            <a:avLst/>
          </a:prstGeom>
          <a:noFill/>
        </p:spPr>
        <p:txBody>
          <a:bodyPr wrap="square" rtlCol="0">
            <a:spAutoFit/>
          </a:bodyPr>
          <a:lstStyle/>
          <a:p>
            <a:r>
              <a:rPr lang="nb-NO" err="1"/>
              <a:t>Documentation</a:t>
            </a:r>
            <a:endParaRPr lang="nb-NO"/>
          </a:p>
        </p:txBody>
      </p:sp>
      <p:pic>
        <p:nvPicPr>
          <p:cNvPr id="122" name="Graphic 121" descr="Label with solid fill">
            <a:extLst>
              <a:ext uri="{FF2B5EF4-FFF2-40B4-BE49-F238E27FC236}">
                <a16:creationId xmlns:a16="http://schemas.microsoft.com/office/drawing/2014/main" id="{265EA163-75B5-418B-A8D1-0BC40BB752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26020" y="5392412"/>
            <a:ext cx="610338" cy="610338"/>
          </a:xfrm>
          <a:prstGeom prst="rect">
            <a:avLst/>
          </a:prstGeom>
        </p:spPr>
      </p:pic>
      <p:pic>
        <p:nvPicPr>
          <p:cNvPr id="146" name="Graphic 145" descr="Blockchain with solid fill">
            <a:extLst>
              <a:ext uri="{FF2B5EF4-FFF2-40B4-BE49-F238E27FC236}">
                <a16:creationId xmlns:a16="http://schemas.microsoft.com/office/drawing/2014/main" id="{2D57AD4C-A153-44E3-89F5-E4AF840186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04360" y="3926049"/>
            <a:ext cx="610338" cy="610338"/>
          </a:xfrm>
          <a:prstGeom prst="rect">
            <a:avLst/>
          </a:prstGeom>
        </p:spPr>
      </p:pic>
      <p:pic>
        <p:nvPicPr>
          <p:cNvPr id="148" name="Graphic 147" descr="Drawing compass with solid fill">
            <a:extLst>
              <a:ext uri="{FF2B5EF4-FFF2-40B4-BE49-F238E27FC236}">
                <a16:creationId xmlns:a16="http://schemas.microsoft.com/office/drawing/2014/main" id="{94A47B4E-A779-4279-936A-AFD045537C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21844" y="2253212"/>
            <a:ext cx="610338" cy="610338"/>
          </a:xfrm>
          <a:prstGeom prst="rect">
            <a:avLst/>
          </a:prstGeom>
        </p:spPr>
      </p:pic>
      <p:pic>
        <p:nvPicPr>
          <p:cNvPr id="150" name="Graphic 149" descr="Board Of Directors with solid fill">
            <a:extLst>
              <a:ext uri="{FF2B5EF4-FFF2-40B4-BE49-F238E27FC236}">
                <a16:creationId xmlns:a16="http://schemas.microsoft.com/office/drawing/2014/main" id="{FFD7AD13-770B-43E5-8B7E-907AA0BAA96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74739" y="1462162"/>
            <a:ext cx="610338" cy="610338"/>
          </a:xfrm>
          <a:prstGeom prst="rect">
            <a:avLst/>
          </a:prstGeom>
        </p:spPr>
      </p:pic>
      <p:pic>
        <p:nvPicPr>
          <p:cNvPr id="154" name="Graphic 153" descr="Folder Search with solid fill">
            <a:extLst>
              <a:ext uri="{FF2B5EF4-FFF2-40B4-BE49-F238E27FC236}">
                <a16:creationId xmlns:a16="http://schemas.microsoft.com/office/drawing/2014/main" id="{C359D303-3C1A-4207-AA46-BF1CF727666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07493" y="5341152"/>
            <a:ext cx="599452" cy="599452"/>
          </a:xfrm>
          <a:prstGeom prst="rect">
            <a:avLst/>
          </a:prstGeom>
        </p:spPr>
      </p:pic>
      <p:sp>
        <p:nvSpPr>
          <p:cNvPr id="52" name="Text Placeholder 2">
            <a:extLst>
              <a:ext uri="{FF2B5EF4-FFF2-40B4-BE49-F238E27FC236}">
                <a16:creationId xmlns:a16="http://schemas.microsoft.com/office/drawing/2014/main" id="{AA4A6385-DEB8-4F1E-B148-26F78DB92D6F}"/>
              </a:ext>
            </a:extLst>
          </p:cNvPr>
          <p:cNvSpPr txBox="1">
            <a:spLocks/>
          </p:cNvSpPr>
          <p:nvPr/>
        </p:nvSpPr>
        <p:spPr>
          <a:xfrm>
            <a:off x="5207219" y="3496493"/>
            <a:ext cx="1833445" cy="74104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nb-NO" sz="1800" dirty="0"/>
              <a:t>DATA GOVERNANCE</a:t>
            </a:r>
          </a:p>
          <a:p>
            <a:pPr algn="ctr"/>
            <a:endParaRPr lang="nb-NO" sz="1800" dirty="0"/>
          </a:p>
        </p:txBody>
      </p:sp>
      <p:pic>
        <p:nvPicPr>
          <p:cNvPr id="44" name="Graphic 43" descr="Police female outline">
            <a:extLst>
              <a:ext uri="{FF2B5EF4-FFF2-40B4-BE49-F238E27FC236}">
                <a16:creationId xmlns:a16="http://schemas.microsoft.com/office/drawing/2014/main" id="{A8E6E0FD-4B66-47D2-9696-E370FBAC756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31437" y="4025305"/>
            <a:ext cx="517537" cy="517537"/>
          </a:xfrm>
          <a:prstGeom prst="rect">
            <a:avLst/>
          </a:prstGeom>
        </p:spPr>
      </p:pic>
    </p:spTree>
    <p:extLst>
      <p:ext uri="{BB962C8B-B14F-4D97-AF65-F5344CB8AC3E}">
        <p14:creationId xmlns:p14="http://schemas.microsoft.com/office/powerpoint/2010/main" val="840542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1">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3">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build="p"/>
      <p:bldP spid="134" grpId="0"/>
      <p:bldP spid="138" grpId="0"/>
      <p:bldP spid="141" grpId="0" build="p"/>
      <p:bldP spid="143" grpId="0" build="p"/>
      <p:bldP spid="144" grpId="0"/>
      <p:bldP spid="145" grpId="0"/>
      <p:bldP spid="52"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a:t>It captures the spirit </a:t>
            </a:r>
            <a:br>
              <a:rPr lang="en-GB"/>
            </a:br>
            <a:r>
              <a:rPr lang="en-GB"/>
              <a:t>&amp; energy of Capgemini</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404813" y="2924944"/>
            <a:ext cx="5784850" cy="2304255"/>
          </a:xfrm>
        </p:spPr>
        <p:txBody>
          <a:body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icture containing car, mountain, vehicle&#10;&#10;Description automatically generated">
            <a:extLst>
              <a:ext uri="{FF2B5EF4-FFF2-40B4-BE49-F238E27FC236}">
                <a16:creationId xmlns:a16="http://schemas.microsoft.com/office/drawing/2014/main" id="{72224F0B-F616-4C74-92B0-3888FF771B8A}"/>
              </a:ext>
            </a:extLst>
          </p:cNvPr>
          <p:cNvPicPr>
            <a:picLocks noGrp="1" noChangeAspect="1"/>
          </p:cNvPicPr>
          <p:nvPr>
            <p:ph type="pic" sz="quarter" idx="13"/>
          </p:nvPr>
        </p:nvPicPr>
        <p:blipFill>
          <a:blip r:embed="rId2">
            <a:alphaModFix amt="70000"/>
            <a:extLst>
              <a:ext uri="{28A0092B-C50C-407E-A947-70E740481C1C}">
                <a14:useLocalDpi xmlns:a14="http://schemas.microsoft.com/office/drawing/2010/main" val="0"/>
              </a:ext>
            </a:extLst>
          </a:blip>
          <a:srcRect/>
          <a:stretch>
            <a:fillRect/>
          </a:stretch>
        </p:blipFill>
        <p:spPr/>
      </p:pic>
      <p:sp>
        <p:nvSpPr>
          <p:cNvPr id="10" name="Graphic 1">
            <a:extLst>
              <a:ext uri="{FF2B5EF4-FFF2-40B4-BE49-F238E27FC236}">
                <a16:creationId xmlns:a16="http://schemas.microsoft.com/office/drawing/2014/main" id="{51F26A1E-B972-4E1E-8F40-2AEF4E906C2B}"/>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a:latin typeface="Ubuntu" panose="020B0504030602030204" pitchFamily="34" charset="0"/>
              </a:rPr>
              <a:t>Short chapter description lorem ipsum </a:t>
            </a:r>
            <a:r>
              <a:rPr lang="en-GB" sz="2000" err="1">
                <a:latin typeface="Ubuntu" panose="020B0504030602030204" pitchFamily="34" charset="0"/>
              </a:rPr>
              <a:t>dolor</a:t>
            </a:r>
            <a:r>
              <a:rPr lang="en-GB" sz="2000">
                <a:latin typeface="Ubuntu" panose="020B0504030602030204" pitchFamily="34" charset="0"/>
              </a:rPr>
              <a:t> sit </a:t>
            </a:r>
            <a:r>
              <a:rPr lang="en-GB" sz="2000" err="1">
                <a:latin typeface="Ubuntu" panose="020B0504030602030204" pitchFamily="34" charset="0"/>
              </a:rPr>
              <a:t>amet</a:t>
            </a:r>
            <a:r>
              <a:rPr lang="en-GB" sz="2000">
                <a:latin typeface="Ubuntu" panose="020B0504030602030204" pitchFamily="34" charset="0"/>
              </a:rPr>
              <a:t>, </a:t>
            </a:r>
            <a:r>
              <a:rPr lang="en-GB" sz="2000" err="1">
                <a:latin typeface="Ubuntu" panose="020B0504030602030204" pitchFamily="34" charset="0"/>
              </a:rPr>
              <a:t>consectetur</a:t>
            </a:r>
            <a:r>
              <a:rPr lang="en-GB" sz="2000">
                <a:latin typeface="Ubuntu" panose="020B0504030602030204" pitchFamily="34" charset="0"/>
              </a:rPr>
              <a:t> </a:t>
            </a:r>
            <a:r>
              <a:rPr lang="en-GB" sz="2000" err="1">
                <a:latin typeface="Ubuntu" panose="020B0504030602030204" pitchFamily="34" charset="0"/>
              </a:rPr>
              <a:t>adipiscing</a:t>
            </a:r>
            <a:r>
              <a:rPr lang="en-GB" sz="2000">
                <a:latin typeface="Ubuntu" panose="020B0504030602030204" pitchFamily="34" charset="0"/>
              </a:rPr>
              <a:t> </a:t>
            </a:r>
            <a:r>
              <a:rPr lang="en-GB" sz="2000" err="1">
                <a:latin typeface="Ubuntu" panose="020B0504030602030204" pitchFamily="34" charset="0"/>
              </a:rPr>
              <a:t>elit</a:t>
            </a:r>
            <a:r>
              <a:rPr lang="en-GB" sz="2000">
                <a:latin typeface="Ubuntu" panose="020B0504030602030204" pitchFamily="34" charset="0"/>
              </a:rPr>
              <a:t>, </a:t>
            </a:r>
            <a:r>
              <a:rPr lang="en-GB" sz="2000" err="1">
                <a:latin typeface="Ubuntu" panose="020B0504030602030204" pitchFamily="34" charset="0"/>
              </a:rPr>
              <a:t>sed</a:t>
            </a:r>
            <a:r>
              <a:rPr lang="en-GB" sz="2000">
                <a:latin typeface="Ubuntu" panose="020B0504030602030204" pitchFamily="34" charset="0"/>
              </a:rPr>
              <a:t> do </a:t>
            </a:r>
            <a:r>
              <a:rPr lang="en-GB" sz="2000" err="1">
                <a:latin typeface="Ubuntu" panose="020B0504030602030204" pitchFamily="34" charset="0"/>
              </a:rPr>
              <a:t>eiusmod</a:t>
            </a:r>
            <a:r>
              <a:rPr lang="en-GB" sz="2000">
                <a:latin typeface="Ubuntu" panose="020B0504030602030204" pitchFamily="34" charset="0"/>
              </a:rPr>
              <a:t> </a:t>
            </a:r>
            <a:r>
              <a:rPr lang="en-GB" sz="2000" err="1">
                <a:latin typeface="Ubuntu" panose="020B0504030602030204" pitchFamily="34" charset="0"/>
              </a:rPr>
              <a:t>tempor</a:t>
            </a:r>
            <a:r>
              <a:rPr lang="en-GB" sz="2000">
                <a:latin typeface="Ubuntu" panose="020B0504030602030204" pitchFamily="34" charset="0"/>
              </a:rPr>
              <a:t> </a:t>
            </a:r>
            <a:r>
              <a:rPr lang="en-GB" sz="2000" err="1">
                <a:latin typeface="Ubuntu" panose="020B0504030602030204" pitchFamily="34" charset="0"/>
              </a:rPr>
              <a:t>incididunt</a:t>
            </a:r>
            <a:r>
              <a:rPr lang="en-GB" sz="2000">
                <a:latin typeface="Ubuntu" panose="020B0504030602030204" pitchFamily="34" charset="0"/>
              </a:rPr>
              <a:t> </a:t>
            </a:r>
            <a:r>
              <a:rPr lang="en-GB" sz="2000" err="1">
                <a:latin typeface="Ubuntu" panose="020B0504030602030204" pitchFamily="34" charset="0"/>
              </a:rPr>
              <a:t>ut</a:t>
            </a:r>
            <a:r>
              <a:rPr lang="en-GB" sz="2000">
                <a:latin typeface="Ubuntu" panose="020B0504030602030204" pitchFamily="34" charset="0"/>
              </a:rPr>
              <a:t> </a:t>
            </a:r>
            <a:r>
              <a:rPr lang="en-GB" sz="2000" err="1">
                <a:latin typeface="Ubuntu" panose="020B0504030602030204" pitchFamily="34" charset="0"/>
              </a:rPr>
              <a:t>labore</a:t>
            </a:r>
            <a:r>
              <a:rPr lang="en-GB" sz="2000">
                <a:latin typeface="Ubuntu" panose="020B0504030602030204" pitchFamily="34" charset="0"/>
              </a:rPr>
              <a:t> et dolore magna </a:t>
            </a:r>
            <a:r>
              <a:rPr lang="en-GB" sz="2000" err="1">
                <a:latin typeface="Ubuntu" panose="020B0504030602030204" pitchFamily="34" charset="0"/>
              </a:rPr>
              <a:t>aliqua</a:t>
            </a:r>
            <a:r>
              <a:rPr lang="en-GB" sz="2000">
                <a:latin typeface="Ubuntu" panose="020B0504030602030204" pitchFamily="34" charset="0"/>
              </a:rPr>
              <a:t>.</a:t>
            </a:r>
          </a:p>
        </p:txBody>
      </p:sp>
      <p:sp>
        <p:nvSpPr>
          <p:cNvPr id="8" name="Title 3">
            <a:extLst>
              <a:ext uri="{FF2B5EF4-FFF2-40B4-BE49-F238E27FC236}">
                <a16:creationId xmlns:a16="http://schemas.microsoft.com/office/drawing/2014/main" id="{41A2EA20-9ECC-49E3-9F6F-A1C8AFEF2D29}"/>
              </a:ext>
            </a:extLst>
          </p:cNvPr>
          <p:cNvSpPr txBox="1">
            <a:spLocks/>
          </p:cNvSpPr>
          <p:nvPr/>
        </p:nvSpPr>
        <p:spPr>
          <a:xfrm flipH="1">
            <a:off x="-1" y="899060"/>
            <a:ext cx="12191999" cy="2215991"/>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8000" b="1">
                <a:latin typeface="Ubuntu" panose="020B0504030602030204" pitchFamily="34" charset="0"/>
              </a:rPr>
              <a:t> HEADLINE</a:t>
            </a:r>
            <a:br>
              <a:rPr lang="en-GB" sz="8000" b="1">
                <a:latin typeface="Ubuntu" panose="020B0504030602030204" pitchFamily="34" charset="0"/>
              </a:rPr>
            </a:br>
            <a:r>
              <a:rPr lang="en-GB" sz="8000" b="1">
                <a:latin typeface="Ubuntu" panose="020B0504030602030204" pitchFamily="34" charset="0"/>
              </a:rPr>
              <a:t>UBUNTU BOLD</a:t>
            </a:r>
          </a:p>
        </p:txBody>
      </p:sp>
    </p:spTree>
    <p:extLst>
      <p:ext uri="{BB962C8B-B14F-4D97-AF65-F5344CB8AC3E}">
        <p14:creationId xmlns:p14="http://schemas.microsoft.com/office/powerpoint/2010/main" val="15975559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outdoor, tree, sky, water&#10;&#10;Description automatically generated">
            <a:extLst>
              <a:ext uri="{FF2B5EF4-FFF2-40B4-BE49-F238E27FC236}">
                <a16:creationId xmlns:a16="http://schemas.microsoft.com/office/drawing/2014/main" id="{7B4224E4-95EA-4DE2-B734-333DC4BF7A4F}"/>
              </a:ext>
            </a:extLst>
          </p:cNvPr>
          <p:cNvPicPr>
            <a:picLocks noGrp="1" noChangeAspect="1"/>
          </p:cNvPicPr>
          <p:nvPr>
            <p:ph type="pic" sz="quarter" idx="13"/>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p:pic>
      <p:sp>
        <p:nvSpPr>
          <p:cNvPr id="10" name="Graphic 1">
            <a:extLst>
              <a:ext uri="{FF2B5EF4-FFF2-40B4-BE49-F238E27FC236}">
                <a16:creationId xmlns:a16="http://schemas.microsoft.com/office/drawing/2014/main" id="{51F26A1E-B972-4E1E-8F40-2AEF4E906C2B}"/>
              </a:ext>
            </a:extLst>
          </p:cNvPr>
          <p:cNvSpPr/>
          <p:nvPr/>
        </p:nvSpPr>
        <p:spPr>
          <a:xfrm rot="15197740">
            <a:off x="2781372" y="1836649"/>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8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EE4498CF-5315-4C96-A765-67CDCF1E984F}"/>
              </a:ext>
            </a:extLst>
          </p:cNvPr>
          <p:cNvSpPr txBox="1"/>
          <p:nvPr/>
        </p:nvSpPr>
        <p:spPr>
          <a:xfrm>
            <a:off x="2882086" y="5337458"/>
            <a:ext cx="6564352" cy="1015663"/>
          </a:xfrm>
          <a:prstGeom prst="rect">
            <a:avLst/>
          </a:prstGeom>
          <a:noFill/>
        </p:spPr>
        <p:txBody>
          <a:bodyPr wrap="square" rtlCol="0">
            <a:spAutoFit/>
          </a:bodyPr>
          <a:lstStyle/>
          <a:p>
            <a:pPr lvl="0" algn="ctr"/>
            <a:r>
              <a:rPr lang="en-GB" sz="2000">
                <a:solidFill>
                  <a:schemeClr val="bg1"/>
                </a:solidFill>
                <a:latin typeface="Ubuntu" panose="020B0504030602030204" pitchFamily="34" charset="0"/>
              </a:rPr>
              <a:t>Short chapter description lorem ipsum </a:t>
            </a:r>
            <a:r>
              <a:rPr lang="en-GB" sz="2000" err="1">
                <a:solidFill>
                  <a:schemeClr val="bg1"/>
                </a:solidFill>
                <a:latin typeface="Ubuntu" panose="020B0504030602030204" pitchFamily="34" charset="0"/>
              </a:rPr>
              <a:t>dolor</a:t>
            </a:r>
            <a:r>
              <a:rPr lang="en-GB" sz="2000">
                <a:solidFill>
                  <a:schemeClr val="bg1"/>
                </a:solidFill>
                <a:latin typeface="Ubuntu" panose="020B0504030602030204" pitchFamily="34" charset="0"/>
              </a:rPr>
              <a:t> sit </a:t>
            </a:r>
            <a:r>
              <a:rPr lang="en-GB" sz="2000" err="1">
                <a:solidFill>
                  <a:schemeClr val="bg1"/>
                </a:solidFill>
                <a:latin typeface="Ubuntu" panose="020B0504030602030204" pitchFamily="34" charset="0"/>
              </a:rPr>
              <a:t>ame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consectetur</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adipiscing</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eli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sed</a:t>
            </a:r>
            <a:r>
              <a:rPr lang="en-GB" sz="2000">
                <a:solidFill>
                  <a:schemeClr val="bg1"/>
                </a:solidFill>
                <a:latin typeface="Ubuntu" panose="020B0504030602030204" pitchFamily="34" charset="0"/>
              </a:rPr>
              <a:t> do </a:t>
            </a:r>
            <a:r>
              <a:rPr lang="en-GB" sz="2000" err="1">
                <a:solidFill>
                  <a:schemeClr val="bg1"/>
                </a:solidFill>
                <a:latin typeface="Ubuntu" panose="020B0504030602030204" pitchFamily="34" charset="0"/>
              </a:rPr>
              <a:t>eiusmod</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tempor</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incididun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ut</a:t>
            </a:r>
            <a:r>
              <a:rPr lang="en-GB" sz="2000">
                <a:solidFill>
                  <a:schemeClr val="bg1"/>
                </a:solidFill>
                <a:latin typeface="Ubuntu" panose="020B0504030602030204" pitchFamily="34" charset="0"/>
              </a:rPr>
              <a:t> </a:t>
            </a:r>
            <a:r>
              <a:rPr lang="en-GB" sz="2000" err="1">
                <a:solidFill>
                  <a:schemeClr val="bg1"/>
                </a:solidFill>
                <a:latin typeface="Ubuntu" panose="020B0504030602030204" pitchFamily="34" charset="0"/>
              </a:rPr>
              <a:t>labore</a:t>
            </a:r>
            <a:r>
              <a:rPr lang="en-GB" sz="2000">
                <a:solidFill>
                  <a:schemeClr val="bg1"/>
                </a:solidFill>
                <a:latin typeface="Ubuntu" panose="020B0504030602030204" pitchFamily="34" charset="0"/>
              </a:rPr>
              <a:t> et dolore magna </a:t>
            </a:r>
            <a:r>
              <a:rPr lang="en-GB" sz="2000" err="1">
                <a:solidFill>
                  <a:schemeClr val="bg1"/>
                </a:solidFill>
                <a:latin typeface="Ubuntu" panose="020B0504030602030204" pitchFamily="34" charset="0"/>
              </a:rPr>
              <a:t>aliqua</a:t>
            </a:r>
            <a:r>
              <a:rPr lang="en-GB" sz="2000">
                <a:solidFill>
                  <a:schemeClr val="bg1"/>
                </a:solidFill>
                <a:latin typeface="Ubuntu" panose="020B0504030602030204" pitchFamily="34" charset="0"/>
              </a:rPr>
              <a:t>.</a:t>
            </a:r>
          </a:p>
        </p:txBody>
      </p:sp>
      <p:sp>
        <p:nvSpPr>
          <p:cNvPr id="8" name="Title 3">
            <a:extLst>
              <a:ext uri="{FF2B5EF4-FFF2-40B4-BE49-F238E27FC236}">
                <a16:creationId xmlns:a16="http://schemas.microsoft.com/office/drawing/2014/main" id="{41A2EA20-9ECC-49E3-9F6F-A1C8AFEF2D29}"/>
              </a:ext>
            </a:extLst>
          </p:cNvPr>
          <p:cNvSpPr txBox="1">
            <a:spLocks/>
          </p:cNvSpPr>
          <p:nvPr/>
        </p:nvSpPr>
        <p:spPr>
          <a:xfrm flipH="1">
            <a:off x="-1" y="899060"/>
            <a:ext cx="12191999" cy="2215991"/>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8000" b="1">
                <a:solidFill>
                  <a:schemeClr val="bg1"/>
                </a:solidFill>
                <a:latin typeface="Ubuntu" panose="020B0504030602030204" pitchFamily="34" charset="0"/>
              </a:rPr>
              <a:t> HEADLINE</a:t>
            </a:r>
            <a:br>
              <a:rPr lang="en-GB" sz="8000" b="1">
                <a:solidFill>
                  <a:schemeClr val="bg1"/>
                </a:solidFill>
                <a:latin typeface="Ubuntu" panose="020B0504030602030204" pitchFamily="34" charset="0"/>
              </a:rPr>
            </a:br>
            <a:r>
              <a:rPr lang="en-GB" sz="8000" b="1">
                <a:solidFill>
                  <a:schemeClr val="bg1"/>
                </a:solidFill>
                <a:latin typeface="Ubuntu" panose="020B0504030602030204" pitchFamily="34" charset="0"/>
              </a:rPr>
              <a:t>UBUNTU BOLD</a:t>
            </a:r>
          </a:p>
        </p:txBody>
      </p:sp>
    </p:spTree>
    <p:extLst>
      <p:ext uri="{BB962C8B-B14F-4D97-AF65-F5344CB8AC3E}">
        <p14:creationId xmlns:p14="http://schemas.microsoft.com/office/powerpoint/2010/main" val="11705951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r>
              <a:rPr lang="en-GB"/>
              <a:t>First level – Body Ubuntu regular</a:t>
            </a:r>
          </a:p>
          <a:p>
            <a:pPr lvl="1"/>
            <a:r>
              <a:rPr lang="en-GB"/>
              <a:t>Second level</a:t>
            </a:r>
          </a:p>
          <a:p>
            <a:pPr lvl="2"/>
            <a:r>
              <a:rPr lang="en-GB"/>
              <a:t>Third level</a:t>
            </a:r>
          </a:p>
          <a:p>
            <a:pPr lvl="3"/>
            <a:r>
              <a:rPr lang="en-GB"/>
              <a:t>Fourth level</a:t>
            </a:r>
          </a:p>
          <a:p>
            <a:pPr lvl="4"/>
            <a:r>
              <a:rPr lang="en-GB"/>
              <a:t>Fifth level</a:t>
            </a:r>
          </a:p>
          <a:p>
            <a:pPr lvl="1"/>
            <a:endParaRPr lang="en-GB"/>
          </a:p>
          <a:p>
            <a:endParaRPr lang="en-GB"/>
          </a:p>
          <a:p>
            <a:endParaRPr lang="en-GB"/>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a:t>TITLE UBUNTU CAPS</a:t>
            </a:r>
            <a:br>
              <a:rPr lang="en-GB"/>
            </a:br>
            <a:r>
              <a:rPr lang="en-GB"/>
              <a:t>(WORK FOR 1 OR 2 LINES OF TITLE)</a:t>
            </a:r>
          </a:p>
        </p:txBody>
      </p:sp>
    </p:spTree>
    <p:extLst>
      <p:ext uri="{BB962C8B-B14F-4D97-AF65-F5344CB8AC3E}">
        <p14:creationId xmlns:p14="http://schemas.microsoft.com/office/powerpoint/2010/main" val="26638867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9DE5022-8AB1-4A66-A518-29859891238E}"/>
              </a:ext>
            </a:extLst>
          </p:cNvPr>
          <p:cNvSpPr>
            <a:spLocks noGrp="1"/>
          </p:cNvSpPr>
          <p:nvPr>
            <p:ph type="body" sz="quarter" idx="10"/>
          </p:nvPr>
        </p:nvSpPr>
        <p:spPr/>
        <p:txBody>
          <a:bodyPr/>
          <a:lstStyle/>
          <a:p>
            <a:r>
              <a:rPr lang="en-GB"/>
              <a:t>First level – Body Ubuntu regular</a:t>
            </a:r>
          </a:p>
          <a:p>
            <a:pPr lvl="1"/>
            <a:r>
              <a:rPr lang="en-GB"/>
              <a:t>Second level</a:t>
            </a:r>
          </a:p>
          <a:p>
            <a:pPr lvl="2"/>
            <a:r>
              <a:rPr lang="en-GB"/>
              <a:t>Third level</a:t>
            </a:r>
          </a:p>
          <a:p>
            <a:pPr lvl="3"/>
            <a:r>
              <a:rPr lang="en-GB"/>
              <a:t>Fourth level</a:t>
            </a:r>
          </a:p>
          <a:p>
            <a:pPr lvl="4"/>
            <a:r>
              <a:rPr lang="en-GB"/>
              <a:t>Fifth level</a:t>
            </a:r>
          </a:p>
          <a:p>
            <a:endParaRPr lang="en-GB"/>
          </a:p>
        </p:txBody>
      </p:sp>
      <p:sp>
        <p:nvSpPr>
          <p:cNvPr id="2" name="Titre 1">
            <a:extLst>
              <a:ext uri="{FF2B5EF4-FFF2-40B4-BE49-F238E27FC236}">
                <a16:creationId xmlns:a16="http://schemas.microsoft.com/office/drawing/2014/main" id="{5F8C6948-1A1E-45FF-83AE-95F699C903D6}"/>
              </a:ext>
            </a:extLst>
          </p:cNvPr>
          <p:cNvSpPr>
            <a:spLocks noGrp="1"/>
          </p:cNvSpPr>
          <p:nvPr>
            <p:ph type="title"/>
          </p:nvPr>
        </p:nvSpPr>
        <p:spPr/>
        <p:txBody>
          <a:bodyPr/>
          <a:lstStyle/>
          <a:p>
            <a:r>
              <a:rPr lang="en-GB"/>
              <a:t>TITLE UBUNTU CAPS</a:t>
            </a:r>
            <a:br>
              <a:rPr lang="en-GB"/>
            </a:br>
            <a:r>
              <a:rPr lang="en-GB"/>
              <a:t>(WORK FOR 1 OR 2 LINES OF TITLE)</a:t>
            </a:r>
          </a:p>
        </p:txBody>
      </p:sp>
    </p:spTree>
    <p:extLst>
      <p:ext uri="{BB962C8B-B14F-4D97-AF65-F5344CB8AC3E}">
        <p14:creationId xmlns:p14="http://schemas.microsoft.com/office/powerpoint/2010/main" val="9987459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GB"/>
              <a:t>First level – Body Ubuntu regular</a:t>
            </a:r>
          </a:p>
          <a:p>
            <a:pPr lvl="1"/>
            <a:r>
              <a:rPr lang="en-GB"/>
              <a:t>Second level</a:t>
            </a:r>
          </a:p>
          <a:p>
            <a:pPr lvl="2"/>
            <a:r>
              <a:rPr lang="en-GB"/>
              <a:t>Third level</a:t>
            </a:r>
          </a:p>
          <a:p>
            <a:pPr lvl="3"/>
            <a:r>
              <a:rPr lang="en-GB"/>
              <a:t>Fourth level</a:t>
            </a:r>
          </a:p>
          <a:p>
            <a:pPr lvl="4"/>
            <a:r>
              <a:rPr lang="en-GB"/>
              <a:t>Fifth level</a:t>
            </a:r>
          </a:p>
          <a:p>
            <a:pPr lvl="1"/>
            <a:endParaRPr lang="en-GB"/>
          </a:p>
          <a:p>
            <a:endParaRPr lang="en-GB"/>
          </a:p>
        </p:txBody>
      </p:sp>
      <p:sp>
        <p:nvSpPr>
          <p:cNvPr id="6" name="Text Placeholder 5"/>
          <p:cNvSpPr>
            <a:spLocks noGrp="1"/>
          </p:cNvSpPr>
          <p:nvPr>
            <p:ph type="body" sz="quarter" idx="11"/>
          </p:nvPr>
        </p:nvSpPr>
        <p:spPr/>
        <p:txBody>
          <a:bodyPr/>
          <a:lstStyle/>
          <a:p>
            <a:r>
              <a:rPr lang="en-GB"/>
              <a:t>Subtitle Ubuntu regular</a:t>
            </a:r>
          </a:p>
        </p:txBody>
      </p:sp>
      <p:sp>
        <p:nvSpPr>
          <p:cNvPr id="4" name="Title 3"/>
          <p:cNvSpPr>
            <a:spLocks noGrp="1"/>
          </p:cNvSpPr>
          <p:nvPr>
            <p:ph type="title"/>
          </p:nvPr>
        </p:nvSpPr>
        <p:spPr/>
        <p:txBody>
          <a:bodyPr/>
          <a:lstStyle/>
          <a:p>
            <a:r>
              <a:rPr lang="en-GB"/>
              <a:t>Title Ubuntu CAPS</a:t>
            </a:r>
            <a:br>
              <a:rPr lang="en-GB"/>
            </a:br>
            <a:r>
              <a:rPr lang="en-GB"/>
              <a:t>(Work for 1 or 2 lines of title)</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a:xfrm>
            <a:off x="404813" y="388188"/>
            <a:ext cx="10947772" cy="716711"/>
          </a:xfrm>
        </p:spPr>
        <p:txBody>
          <a:bodyPr/>
          <a:lstStyle/>
          <a:p>
            <a:r>
              <a:rPr lang="en-GB"/>
              <a:t>TITLE UBUNTU CAPS</a:t>
            </a:r>
            <a:br>
              <a:rPr lang="en-GB"/>
            </a:br>
            <a:r>
              <a:rPr lang="en-GB"/>
              <a:t>(WORK FOR 1 OR 2 LINES OF TITLE)</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p:txBody>
          <a:bodyPr/>
          <a:lstStyle/>
          <a:p>
            <a:r>
              <a:rPr lang="en-GB"/>
              <a:t>First level – Body text Ubuntu regular</a:t>
            </a:r>
          </a:p>
          <a:p>
            <a:pPr lvl="1"/>
            <a:r>
              <a:rPr lang="en-GB"/>
              <a:t>Second level</a:t>
            </a:r>
          </a:p>
          <a:p>
            <a:pPr lvl="2"/>
            <a:r>
              <a:rPr lang="en-GB"/>
              <a:t>Third level</a:t>
            </a:r>
          </a:p>
          <a:p>
            <a:pPr lvl="3"/>
            <a:r>
              <a:rPr lang="en-GB"/>
              <a:t>Fourth level</a:t>
            </a:r>
          </a:p>
          <a:p>
            <a:pPr lvl="4"/>
            <a:r>
              <a:rPr lang="en-GB"/>
              <a:t>Fifth level</a:t>
            </a:r>
          </a:p>
          <a:p>
            <a:endParaRPr lang="en-GB"/>
          </a:p>
        </p:txBody>
      </p:sp>
    </p:spTree>
    <p:extLst>
      <p:ext uri="{BB962C8B-B14F-4D97-AF65-F5344CB8AC3E}">
        <p14:creationId xmlns:p14="http://schemas.microsoft.com/office/powerpoint/2010/main" val="18317044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97E0179-E525-4405-BDCD-7801877E0A51}"/>
              </a:ext>
            </a:extLst>
          </p:cNvPr>
          <p:cNvSpPr txBox="1"/>
          <p:nvPr/>
        </p:nvSpPr>
        <p:spPr>
          <a:xfrm>
            <a:off x="-40301" y="274290"/>
            <a:ext cx="6696075" cy="3154710"/>
          </a:xfrm>
          <a:prstGeom prst="rect">
            <a:avLst/>
          </a:prstGeom>
          <a:noFill/>
        </p:spPr>
        <p:txBody>
          <a:bodyPr wrap="square">
            <a:spAutoFit/>
          </a:bodyPr>
          <a:lstStyle/>
          <a:p>
            <a:pPr algn="ctr"/>
            <a:r>
              <a:rPr lang="en-GB" sz="19900" b="1" i="0" u="none" strike="noStrike" baseline="0">
                <a:solidFill>
                  <a:srgbClr val="12ACDC"/>
                </a:solidFill>
                <a:latin typeface="Ubuntu" panose="020B0504030602030204" pitchFamily="34" charset="0"/>
              </a:rPr>
              <a:t>98%</a:t>
            </a:r>
            <a:endParaRPr lang="en-GB" sz="3200" b="1">
              <a:latin typeface="Ubuntu" panose="020B0504030602030204" pitchFamily="34" charset="0"/>
            </a:endParaRPr>
          </a:p>
        </p:txBody>
      </p:sp>
      <p:sp>
        <p:nvSpPr>
          <p:cNvPr id="9" name="TextBox 8">
            <a:extLst>
              <a:ext uri="{FF2B5EF4-FFF2-40B4-BE49-F238E27FC236}">
                <a16:creationId xmlns:a16="http://schemas.microsoft.com/office/drawing/2014/main" id="{81A790AD-9AC6-45A8-A6F4-7CC5EC9D86BF}"/>
              </a:ext>
            </a:extLst>
          </p:cNvPr>
          <p:cNvSpPr txBox="1"/>
          <p:nvPr/>
        </p:nvSpPr>
        <p:spPr>
          <a:xfrm>
            <a:off x="1051899" y="3272771"/>
            <a:ext cx="4511675" cy="1938992"/>
          </a:xfrm>
          <a:prstGeom prst="rect">
            <a:avLst/>
          </a:prstGeom>
          <a:noFill/>
        </p:spPr>
        <p:txBody>
          <a:bodyPr wrap="square" rtlCol="0">
            <a:spAutoFit/>
          </a:bodyPr>
          <a:lstStyle/>
          <a:p>
            <a:pPr algn="ctr"/>
            <a:r>
              <a:rPr lang="en-GB" sz="2400" b="0" i="0" u="none" strike="noStrike" baseline="0">
                <a:solidFill>
                  <a:schemeClr val="bg1"/>
                </a:solidFill>
                <a:latin typeface="Ubuntu" panose="020B0504030602030204" pitchFamily="34" charset="0"/>
              </a:rPr>
              <a:t>Ubuntu regular for body copy, lorem ipsum </a:t>
            </a:r>
            <a:r>
              <a:rPr lang="en-GB" sz="2400" b="0" i="0" u="none" strike="noStrike" baseline="0" err="1">
                <a:solidFill>
                  <a:schemeClr val="bg1"/>
                </a:solidFill>
                <a:latin typeface="Ubuntu" panose="020B0504030602030204" pitchFamily="34" charset="0"/>
              </a:rPr>
              <a:t>dolor</a:t>
            </a:r>
            <a:r>
              <a:rPr lang="en-GB" sz="2400" b="0" i="0" u="none" strike="noStrike" baseline="0">
                <a:solidFill>
                  <a:schemeClr val="bg1"/>
                </a:solidFill>
                <a:latin typeface="Ubuntu" panose="020B0504030602030204" pitchFamily="34" charset="0"/>
              </a:rPr>
              <a:t> sit </a:t>
            </a:r>
            <a:r>
              <a:rPr lang="en-GB" sz="2400" b="0" i="0" u="none" strike="noStrike" baseline="0" err="1">
                <a:solidFill>
                  <a:schemeClr val="bg1"/>
                </a:solidFill>
                <a:latin typeface="Ubuntu" panose="020B0504030602030204" pitchFamily="34" charset="0"/>
              </a:rPr>
              <a:t>amet</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consectetur</a:t>
            </a:r>
            <a:r>
              <a:rPr lang="en-GB" sz="240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adipiscing</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elit</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Nullam</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tristique</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elit</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quis</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tortor</a:t>
            </a:r>
            <a:r>
              <a:rPr lang="en-GB" sz="2400" b="0" i="0" u="none" strike="noStrike" baseline="0">
                <a:solidFill>
                  <a:schemeClr val="bg1"/>
                </a:solidFill>
                <a:latin typeface="Ubuntu" panose="020B0504030602030204" pitchFamily="34" charset="0"/>
              </a:rPr>
              <a:t> </a:t>
            </a:r>
            <a:r>
              <a:rPr lang="en-GB" sz="2400" b="0" i="0" u="none" strike="noStrike" baseline="0" err="1">
                <a:solidFill>
                  <a:schemeClr val="bg1"/>
                </a:solidFill>
                <a:latin typeface="Ubuntu" panose="020B0504030602030204" pitchFamily="34" charset="0"/>
              </a:rPr>
              <a:t>ultricies</a:t>
            </a:r>
            <a:r>
              <a:rPr lang="en-GB" sz="2400" b="0" i="0" u="none" strike="noStrike" baseline="0">
                <a:solidFill>
                  <a:schemeClr val="bg1"/>
                </a:solidFill>
                <a:latin typeface="Ubuntu" panose="020B0504030602030204" pitchFamily="34" charset="0"/>
              </a:rPr>
              <a:t> temp</a:t>
            </a:r>
            <a:endParaRPr lang="en-GB" sz="2400">
              <a:solidFill>
                <a:schemeClr val="bg1"/>
              </a:solidFill>
            </a:endParaRPr>
          </a:p>
        </p:txBody>
      </p:sp>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32572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3">
            <a:extLst>
              <a:ext uri="{FF2B5EF4-FFF2-40B4-BE49-F238E27FC236}">
                <a16:creationId xmlns:a16="http://schemas.microsoft.com/office/drawing/2014/main" id="{02040C53-ED37-4428-B080-CB8FB9D79065}"/>
              </a:ext>
            </a:extLst>
          </p:cNvPr>
          <p:cNvSpPr txBox="1">
            <a:spLocks/>
          </p:cNvSpPr>
          <p:nvPr/>
        </p:nvSpPr>
        <p:spPr>
          <a:xfrm>
            <a:off x="404813" y="4149080"/>
            <a:ext cx="11379201" cy="369332"/>
          </a:xfrm>
          <a:prstGeom prst="rect">
            <a:avLst/>
          </a:prstGeom>
          <a:ln>
            <a:noFill/>
          </a:ln>
        </p:spPr>
        <p:txBody>
          <a:bodyPr wrap="square">
            <a:sp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r>
              <a:rPr lang="en-GB" sz="1800">
                <a:solidFill>
                  <a:schemeClr val="bg1"/>
                </a:solidFill>
                <a:latin typeface="Ubuntu" panose="020B0504030602030204" pitchFamily="34" charset="0"/>
              </a:rPr>
              <a:t>Short description lorem ipsum </a:t>
            </a:r>
            <a:r>
              <a:rPr lang="en-GB" sz="1800" err="1">
                <a:solidFill>
                  <a:schemeClr val="bg1"/>
                </a:solidFill>
                <a:latin typeface="Ubuntu" panose="020B0504030602030204" pitchFamily="34" charset="0"/>
              </a:rPr>
              <a:t>dolor</a:t>
            </a:r>
            <a:r>
              <a:rPr lang="en-GB" sz="1800">
                <a:solidFill>
                  <a:schemeClr val="bg1"/>
                </a:solidFill>
                <a:latin typeface="Ubuntu" panose="020B0504030602030204" pitchFamily="34" charset="0"/>
              </a:rPr>
              <a:t> sit </a:t>
            </a:r>
            <a:r>
              <a:rPr lang="en-GB" sz="1800" err="1">
                <a:solidFill>
                  <a:schemeClr val="bg1"/>
                </a:solidFill>
                <a:latin typeface="Ubuntu" panose="020B0504030602030204" pitchFamily="34" charset="0"/>
              </a:rPr>
              <a:t>amet</a:t>
            </a:r>
            <a:endParaRPr lang="en-GB" sz="1800">
              <a:solidFill>
                <a:schemeClr val="bg1"/>
              </a:solidFill>
              <a:latin typeface="Ubuntu" panose="020B0504030602030204" pitchFamily="34" charset="0"/>
            </a:endParaRPr>
          </a:p>
        </p:txBody>
      </p:sp>
      <p:sp>
        <p:nvSpPr>
          <p:cNvPr id="11" name="TextBox 10">
            <a:extLst>
              <a:ext uri="{FF2B5EF4-FFF2-40B4-BE49-F238E27FC236}">
                <a16:creationId xmlns:a16="http://schemas.microsoft.com/office/drawing/2014/main" id="{8756FDC3-830C-4455-A30E-79EA2ACE9DB8}"/>
              </a:ext>
            </a:extLst>
          </p:cNvPr>
          <p:cNvSpPr txBox="1"/>
          <p:nvPr/>
        </p:nvSpPr>
        <p:spPr>
          <a:xfrm>
            <a:off x="404814" y="1475504"/>
            <a:ext cx="11379200" cy="2646878"/>
          </a:xfrm>
          <a:prstGeom prst="rect">
            <a:avLst/>
          </a:prstGeom>
          <a:noFill/>
        </p:spPr>
        <p:txBody>
          <a:bodyPr wrap="square" rtlCol="0">
            <a:spAutoFit/>
          </a:bodyPr>
          <a:lstStyle/>
          <a:p>
            <a:pPr algn="ctr"/>
            <a:r>
              <a:rPr lang="en-GB" sz="16600" b="1">
                <a:solidFill>
                  <a:schemeClr val="bg1"/>
                </a:solidFill>
                <a:latin typeface="Ubuntu" panose="020B0504030602030204" pitchFamily="34" charset="0"/>
              </a:rPr>
              <a:t>8.000.000</a:t>
            </a:r>
          </a:p>
        </p:txBody>
      </p:sp>
    </p:spTree>
    <p:extLst>
      <p:ext uri="{BB962C8B-B14F-4D97-AF65-F5344CB8AC3E}">
        <p14:creationId xmlns:p14="http://schemas.microsoft.com/office/powerpoint/2010/main" val="24246369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raphic 1">
            <a:extLst>
              <a:ext uri="{FF2B5EF4-FFF2-40B4-BE49-F238E27FC236}">
                <a16:creationId xmlns:a16="http://schemas.microsoft.com/office/drawing/2014/main" id="{82061998-26CF-4661-942D-AAB70015F353}"/>
              </a:ext>
            </a:extLst>
          </p:cNvPr>
          <p:cNvSpPr/>
          <p:nvPr/>
        </p:nvSpPr>
        <p:spPr>
          <a:xfrm rot="20354984">
            <a:off x="3664018" y="1890732"/>
            <a:ext cx="9380047" cy="42482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78000">
                <a:schemeClr val="accent1">
                  <a:alpha val="0"/>
                </a:schemeClr>
              </a:gs>
              <a:gs pos="16000">
                <a:schemeClr val="accent1">
                  <a:alpha val="0"/>
                </a:schemeClr>
              </a:gs>
              <a:gs pos="49000">
                <a:schemeClr val="accent1"/>
              </a:gs>
              <a:gs pos="31000">
                <a:schemeClr val="accent1"/>
              </a:gs>
            </a:gsLst>
            <a:lin ang="1200000" scaled="0"/>
          </a:gradFill>
          <a:ln w="9525" cap="flat">
            <a:noFill/>
            <a:prstDash val="solid"/>
            <a:miter/>
          </a:ln>
        </p:spPr>
        <p:txBody>
          <a:bodyPr rtlCol="0" anchor="ctr"/>
          <a:lstStyle/>
          <a:p>
            <a:endParaRPr lang="en-GB"/>
          </a:p>
        </p:txBody>
      </p:sp>
      <p:sp>
        <p:nvSpPr>
          <p:cNvPr id="5" name="Subtitle 4">
            <a:extLst>
              <a:ext uri="{FF2B5EF4-FFF2-40B4-BE49-F238E27FC236}">
                <a16:creationId xmlns:a16="http://schemas.microsoft.com/office/drawing/2014/main" id="{72AC82FB-76BF-425C-A684-E4467DC5D1E3}"/>
              </a:ext>
            </a:extLst>
          </p:cNvPr>
          <p:cNvSpPr>
            <a:spLocks noGrp="1"/>
          </p:cNvSpPr>
          <p:nvPr>
            <p:ph type="subTitle" idx="1"/>
          </p:nvPr>
        </p:nvSpPr>
        <p:spPr>
          <a:xfrm>
            <a:off x="4367808" y="3772800"/>
            <a:ext cx="7366992" cy="307777"/>
          </a:xfrm>
        </p:spPr>
        <p:txBody>
          <a:bodyPr/>
          <a:lstStyle/>
          <a:p>
            <a:r>
              <a:rPr lang="en-GB" err="1"/>
              <a:t>First_last</a:t>
            </a:r>
            <a:r>
              <a:rPr lang="en-GB"/>
              <a:t> name</a:t>
            </a:r>
          </a:p>
        </p:txBody>
      </p:sp>
      <p:sp>
        <p:nvSpPr>
          <p:cNvPr id="4" name="Title 3">
            <a:extLst>
              <a:ext uri="{FF2B5EF4-FFF2-40B4-BE49-F238E27FC236}">
                <a16:creationId xmlns:a16="http://schemas.microsoft.com/office/drawing/2014/main" id="{3021435A-28A1-4C25-94C6-62FFBDD5FF9E}"/>
              </a:ext>
            </a:extLst>
          </p:cNvPr>
          <p:cNvSpPr>
            <a:spLocks noGrp="1"/>
          </p:cNvSpPr>
          <p:nvPr>
            <p:ph type="ctrTitle"/>
          </p:nvPr>
        </p:nvSpPr>
        <p:spPr>
          <a:xfrm>
            <a:off x="404813" y="1526298"/>
            <a:ext cx="11329987" cy="2215991"/>
          </a:xfrm>
        </p:spPr>
        <p:txBody>
          <a:bodyPr/>
          <a:lstStyle/>
          <a:p>
            <a:r>
              <a:rPr lang="en-GB"/>
              <a:t>“This is a VERY</a:t>
            </a:r>
            <a:br>
              <a:rPr lang="en-GB"/>
            </a:br>
            <a:r>
              <a:rPr lang="en-GB"/>
              <a:t>          IMPORTANT AND </a:t>
            </a:r>
            <a:br>
              <a:rPr lang="en-GB"/>
            </a:br>
            <a:r>
              <a:rPr lang="en-GB"/>
              <a:t>CLEAR QUOTE”</a:t>
            </a:r>
          </a:p>
        </p:txBody>
      </p:sp>
    </p:spTree>
    <p:extLst>
      <p:ext uri="{BB962C8B-B14F-4D97-AF65-F5344CB8AC3E}">
        <p14:creationId xmlns:p14="http://schemas.microsoft.com/office/powerpoint/2010/main" val="371912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241DAC-8B16-4858-A360-7442E1626EB0}"/>
              </a:ext>
            </a:extLst>
          </p:cNvPr>
          <p:cNvSpPr>
            <a:spLocks noGrp="1"/>
          </p:cNvSpPr>
          <p:nvPr>
            <p:ph type="title"/>
          </p:nvPr>
        </p:nvSpPr>
        <p:spPr/>
        <p:txBody>
          <a:bodyPr/>
          <a:lstStyle/>
          <a:p>
            <a:r>
              <a:rPr lang="en-US"/>
              <a:t>What is data governance?</a:t>
            </a:r>
          </a:p>
        </p:txBody>
      </p:sp>
      <p:sp>
        <p:nvSpPr>
          <p:cNvPr id="4" name="Freeform 5">
            <a:extLst>
              <a:ext uri="{FF2B5EF4-FFF2-40B4-BE49-F238E27FC236}">
                <a16:creationId xmlns:a16="http://schemas.microsoft.com/office/drawing/2014/main" id="{D5ACC87C-ADD9-4EE9-985F-9E0E86DE453B}"/>
              </a:ext>
            </a:extLst>
          </p:cNvPr>
          <p:cNvSpPr>
            <a:spLocks/>
          </p:cNvSpPr>
          <p:nvPr/>
        </p:nvSpPr>
        <p:spPr bwMode="auto">
          <a:xfrm>
            <a:off x="4099068" y="4093797"/>
            <a:ext cx="1234346" cy="901208"/>
          </a:xfrm>
          <a:custGeom>
            <a:avLst/>
            <a:gdLst>
              <a:gd name="T0" fmla="*/ 290 w 297"/>
              <a:gd name="T1" fmla="*/ 226 h 226"/>
              <a:gd name="T2" fmla="*/ 287 w 297"/>
              <a:gd name="T3" fmla="*/ 225 h 226"/>
              <a:gd name="T4" fmla="*/ 138 w 297"/>
              <a:gd name="T5" fmla="*/ 14 h 226"/>
              <a:gd name="T6" fmla="*/ 8 w 297"/>
              <a:gd name="T7" fmla="*/ 44 h 226"/>
              <a:gd name="T8" fmla="*/ 1 w 297"/>
              <a:gd name="T9" fmla="*/ 39 h 226"/>
              <a:gd name="T10" fmla="*/ 6 w 297"/>
              <a:gd name="T11" fmla="*/ 32 h 226"/>
              <a:gd name="T12" fmla="*/ 141 w 297"/>
              <a:gd name="T13" fmla="*/ 1 h 226"/>
              <a:gd name="T14" fmla="*/ 149 w 297"/>
              <a:gd name="T15" fmla="*/ 6 h 226"/>
              <a:gd name="T16" fmla="*/ 294 w 297"/>
              <a:gd name="T17" fmla="*/ 215 h 226"/>
              <a:gd name="T18" fmla="*/ 295 w 297"/>
              <a:gd name="T19" fmla="*/ 223 h 226"/>
              <a:gd name="T20" fmla="*/ 290 w 297"/>
              <a:gd name="T2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7" h="226">
                <a:moveTo>
                  <a:pt x="290" y="226"/>
                </a:moveTo>
                <a:cubicBezTo>
                  <a:pt x="289" y="226"/>
                  <a:pt x="288" y="226"/>
                  <a:pt x="287" y="225"/>
                </a:cubicBezTo>
                <a:cubicBezTo>
                  <a:pt x="212" y="176"/>
                  <a:pt x="160" y="101"/>
                  <a:pt x="138" y="14"/>
                </a:cubicBezTo>
                <a:cubicBezTo>
                  <a:pt x="8" y="44"/>
                  <a:pt x="8" y="44"/>
                  <a:pt x="8" y="44"/>
                </a:cubicBezTo>
                <a:cubicBezTo>
                  <a:pt x="5" y="44"/>
                  <a:pt x="2" y="42"/>
                  <a:pt x="1" y="39"/>
                </a:cubicBezTo>
                <a:cubicBezTo>
                  <a:pt x="0" y="36"/>
                  <a:pt x="2" y="33"/>
                  <a:pt x="6" y="32"/>
                </a:cubicBezTo>
                <a:cubicBezTo>
                  <a:pt x="141" y="1"/>
                  <a:pt x="141" y="1"/>
                  <a:pt x="141" y="1"/>
                </a:cubicBezTo>
                <a:cubicBezTo>
                  <a:pt x="145" y="0"/>
                  <a:pt x="148" y="2"/>
                  <a:pt x="149" y="6"/>
                </a:cubicBezTo>
                <a:cubicBezTo>
                  <a:pt x="168" y="92"/>
                  <a:pt x="220" y="166"/>
                  <a:pt x="294" y="215"/>
                </a:cubicBezTo>
                <a:cubicBezTo>
                  <a:pt x="296" y="217"/>
                  <a:pt x="297" y="221"/>
                  <a:pt x="295" y="223"/>
                </a:cubicBezTo>
                <a:cubicBezTo>
                  <a:pt x="294" y="225"/>
                  <a:pt x="292" y="226"/>
                  <a:pt x="290" y="226"/>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 name="Group 4">
            <a:extLst>
              <a:ext uri="{FF2B5EF4-FFF2-40B4-BE49-F238E27FC236}">
                <a16:creationId xmlns:a16="http://schemas.microsoft.com/office/drawing/2014/main" id="{E64CFAED-7B0F-4374-B7D9-FDF68EF64245}"/>
              </a:ext>
            </a:extLst>
          </p:cNvPr>
          <p:cNvGrpSpPr/>
          <p:nvPr/>
        </p:nvGrpSpPr>
        <p:grpSpPr>
          <a:xfrm>
            <a:off x="5197623" y="5034447"/>
            <a:ext cx="1382466" cy="554134"/>
            <a:chOff x="4025750" y="3693811"/>
            <a:chExt cx="836700" cy="349869"/>
          </a:xfrm>
          <a:solidFill>
            <a:schemeClr val="accent2">
              <a:lumMod val="50000"/>
            </a:schemeClr>
          </a:solidFill>
        </p:grpSpPr>
        <p:sp>
          <p:nvSpPr>
            <p:cNvPr id="6" name="Freeform 6">
              <a:extLst>
                <a:ext uri="{FF2B5EF4-FFF2-40B4-BE49-F238E27FC236}">
                  <a16:creationId xmlns:a16="http://schemas.microsoft.com/office/drawing/2014/main" id="{F3C4D524-40C9-4898-BC30-2020533A9039}"/>
                </a:ext>
              </a:extLst>
            </p:cNvPr>
            <p:cNvSpPr>
              <a:spLocks/>
            </p:cNvSpPr>
            <p:nvPr/>
          </p:nvSpPr>
          <p:spPr bwMode="auto">
            <a:xfrm>
              <a:off x="4025750" y="3693811"/>
              <a:ext cx="185518" cy="349869"/>
            </a:xfrm>
            <a:custGeom>
              <a:avLst/>
              <a:gdLst>
                <a:gd name="T0" fmla="*/ 7 w 74"/>
                <a:gd name="T1" fmla="*/ 139 h 139"/>
                <a:gd name="T2" fmla="*/ 4 w 74"/>
                <a:gd name="T3" fmla="*/ 138 h 139"/>
                <a:gd name="T4" fmla="*/ 1 w 74"/>
                <a:gd name="T5" fmla="*/ 130 h 139"/>
                <a:gd name="T6" fmla="*/ 62 w 74"/>
                <a:gd name="T7" fmla="*/ 5 h 139"/>
                <a:gd name="T8" fmla="*/ 70 w 74"/>
                <a:gd name="T9" fmla="*/ 2 h 139"/>
                <a:gd name="T10" fmla="*/ 73 w 74"/>
                <a:gd name="T11" fmla="*/ 10 h 139"/>
                <a:gd name="T12" fmla="*/ 12 w 74"/>
                <a:gd name="T13" fmla="*/ 135 h 139"/>
                <a:gd name="T14" fmla="*/ 7 w 74"/>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39">
                  <a:moveTo>
                    <a:pt x="7" y="139"/>
                  </a:moveTo>
                  <a:cubicBezTo>
                    <a:pt x="6" y="139"/>
                    <a:pt x="5" y="138"/>
                    <a:pt x="4" y="138"/>
                  </a:cubicBezTo>
                  <a:cubicBezTo>
                    <a:pt x="1" y="137"/>
                    <a:pt x="0" y="133"/>
                    <a:pt x="1" y="130"/>
                  </a:cubicBezTo>
                  <a:cubicBezTo>
                    <a:pt x="62" y="5"/>
                    <a:pt x="62" y="5"/>
                    <a:pt x="62" y="5"/>
                  </a:cubicBezTo>
                  <a:cubicBezTo>
                    <a:pt x="63" y="2"/>
                    <a:pt x="67" y="0"/>
                    <a:pt x="70" y="2"/>
                  </a:cubicBezTo>
                  <a:cubicBezTo>
                    <a:pt x="73" y="3"/>
                    <a:pt x="74" y="7"/>
                    <a:pt x="73" y="10"/>
                  </a:cubicBezTo>
                  <a:cubicBezTo>
                    <a:pt x="12" y="135"/>
                    <a:pt x="12" y="135"/>
                    <a:pt x="12" y="135"/>
                  </a:cubicBezTo>
                  <a:cubicBezTo>
                    <a:pt x="11" y="137"/>
                    <a:pt x="9" y="139"/>
                    <a:pt x="7" y="1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7C539B79-69C8-43AB-B810-39D8175D50A0}"/>
                </a:ext>
              </a:extLst>
            </p:cNvPr>
            <p:cNvSpPr>
              <a:spLocks/>
            </p:cNvSpPr>
            <p:nvPr/>
          </p:nvSpPr>
          <p:spPr bwMode="auto">
            <a:xfrm>
              <a:off x="4176406" y="3693811"/>
              <a:ext cx="686044" cy="120773"/>
            </a:xfrm>
            <a:custGeom>
              <a:avLst/>
              <a:gdLst>
                <a:gd name="T0" fmla="*/ 158 w 273"/>
                <a:gd name="T1" fmla="*/ 48 h 48"/>
                <a:gd name="T2" fmla="*/ 5 w 273"/>
                <a:gd name="T3" fmla="*/ 13 h 48"/>
                <a:gd name="T4" fmla="*/ 2 w 273"/>
                <a:gd name="T5" fmla="*/ 5 h 48"/>
                <a:gd name="T6" fmla="*/ 10 w 273"/>
                <a:gd name="T7" fmla="*/ 2 h 48"/>
                <a:gd name="T8" fmla="*/ 264 w 273"/>
                <a:gd name="T9" fmla="*/ 19 h 48"/>
                <a:gd name="T10" fmla="*/ 272 w 273"/>
                <a:gd name="T11" fmla="*/ 23 h 48"/>
                <a:gd name="T12" fmla="*/ 268 w 273"/>
                <a:gd name="T13" fmla="*/ 30 h 48"/>
                <a:gd name="T14" fmla="*/ 158 w 273"/>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3" h="48">
                  <a:moveTo>
                    <a:pt x="158" y="48"/>
                  </a:moveTo>
                  <a:cubicBezTo>
                    <a:pt x="106" y="48"/>
                    <a:pt x="53" y="36"/>
                    <a:pt x="5" y="13"/>
                  </a:cubicBezTo>
                  <a:cubicBezTo>
                    <a:pt x="2" y="11"/>
                    <a:pt x="0" y="8"/>
                    <a:pt x="2" y="5"/>
                  </a:cubicBezTo>
                  <a:cubicBezTo>
                    <a:pt x="3" y="2"/>
                    <a:pt x="7" y="0"/>
                    <a:pt x="10" y="2"/>
                  </a:cubicBezTo>
                  <a:cubicBezTo>
                    <a:pt x="90" y="40"/>
                    <a:pt x="180" y="46"/>
                    <a:pt x="264" y="19"/>
                  </a:cubicBezTo>
                  <a:cubicBezTo>
                    <a:pt x="267" y="18"/>
                    <a:pt x="271" y="20"/>
                    <a:pt x="272" y="23"/>
                  </a:cubicBezTo>
                  <a:cubicBezTo>
                    <a:pt x="273" y="26"/>
                    <a:pt x="271" y="29"/>
                    <a:pt x="268" y="30"/>
                  </a:cubicBezTo>
                  <a:cubicBezTo>
                    <a:pt x="232" y="42"/>
                    <a:pt x="195" y="48"/>
                    <a:pt x="15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Freeform 8">
            <a:extLst>
              <a:ext uri="{FF2B5EF4-FFF2-40B4-BE49-F238E27FC236}">
                <a16:creationId xmlns:a16="http://schemas.microsoft.com/office/drawing/2014/main" id="{B56A9206-EB38-430B-81DC-CE33A177A338}"/>
              </a:ext>
            </a:extLst>
          </p:cNvPr>
          <p:cNvSpPr>
            <a:spLocks/>
          </p:cNvSpPr>
          <p:nvPr/>
        </p:nvSpPr>
        <p:spPr bwMode="auto">
          <a:xfrm>
            <a:off x="6705595" y="4273251"/>
            <a:ext cx="781751" cy="1315329"/>
          </a:xfrm>
          <a:custGeom>
            <a:avLst/>
            <a:gdLst>
              <a:gd name="T0" fmla="*/ 67 w 188"/>
              <a:gd name="T1" fmla="*/ 330 h 330"/>
              <a:gd name="T2" fmla="*/ 62 w 188"/>
              <a:gd name="T3" fmla="*/ 326 h 330"/>
              <a:gd name="T4" fmla="*/ 1 w 188"/>
              <a:gd name="T5" fmla="*/ 201 h 330"/>
              <a:gd name="T6" fmla="*/ 4 w 188"/>
              <a:gd name="T7" fmla="*/ 193 h 330"/>
              <a:gd name="T8" fmla="*/ 176 w 188"/>
              <a:gd name="T9" fmla="*/ 5 h 330"/>
              <a:gd name="T10" fmla="*/ 184 w 188"/>
              <a:gd name="T11" fmla="*/ 1 h 330"/>
              <a:gd name="T12" fmla="*/ 187 w 188"/>
              <a:gd name="T13" fmla="*/ 9 h 330"/>
              <a:gd name="T14" fmla="*/ 15 w 188"/>
              <a:gd name="T15" fmla="*/ 201 h 330"/>
              <a:gd name="T16" fmla="*/ 72 w 188"/>
              <a:gd name="T17" fmla="*/ 321 h 330"/>
              <a:gd name="T18" fmla="*/ 70 w 188"/>
              <a:gd name="T19" fmla="*/ 329 h 330"/>
              <a:gd name="T20" fmla="*/ 67 w 188"/>
              <a:gd name="T21"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330">
                <a:moveTo>
                  <a:pt x="67" y="330"/>
                </a:moveTo>
                <a:cubicBezTo>
                  <a:pt x="65" y="330"/>
                  <a:pt x="63" y="328"/>
                  <a:pt x="62" y="326"/>
                </a:cubicBezTo>
                <a:cubicBezTo>
                  <a:pt x="1" y="201"/>
                  <a:pt x="1" y="201"/>
                  <a:pt x="1" y="201"/>
                </a:cubicBezTo>
                <a:cubicBezTo>
                  <a:pt x="0" y="198"/>
                  <a:pt x="1" y="194"/>
                  <a:pt x="4" y="193"/>
                </a:cubicBezTo>
                <a:cubicBezTo>
                  <a:pt x="84" y="154"/>
                  <a:pt x="145" y="88"/>
                  <a:pt x="176" y="5"/>
                </a:cubicBezTo>
                <a:cubicBezTo>
                  <a:pt x="177" y="2"/>
                  <a:pt x="181" y="0"/>
                  <a:pt x="184" y="1"/>
                </a:cubicBezTo>
                <a:cubicBezTo>
                  <a:pt x="187" y="2"/>
                  <a:pt x="188" y="6"/>
                  <a:pt x="187" y="9"/>
                </a:cubicBezTo>
                <a:cubicBezTo>
                  <a:pt x="156" y="93"/>
                  <a:pt x="94" y="161"/>
                  <a:pt x="15" y="201"/>
                </a:cubicBezTo>
                <a:cubicBezTo>
                  <a:pt x="72" y="321"/>
                  <a:pt x="72" y="321"/>
                  <a:pt x="72" y="321"/>
                </a:cubicBezTo>
                <a:cubicBezTo>
                  <a:pt x="74" y="324"/>
                  <a:pt x="73" y="328"/>
                  <a:pt x="70" y="329"/>
                </a:cubicBezTo>
                <a:cubicBezTo>
                  <a:pt x="69" y="329"/>
                  <a:pt x="68" y="330"/>
                  <a:pt x="67" y="3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EDEBDFD1-597B-47D7-AFCC-68BC62B67915}"/>
              </a:ext>
            </a:extLst>
          </p:cNvPr>
          <p:cNvSpPr>
            <a:spLocks/>
          </p:cNvSpPr>
          <p:nvPr/>
        </p:nvSpPr>
        <p:spPr bwMode="auto">
          <a:xfrm>
            <a:off x="7320709" y="3072296"/>
            <a:ext cx="785867" cy="1197009"/>
          </a:xfrm>
          <a:custGeom>
            <a:avLst/>
            <a:gdLst>
              <a:gd name="T0" fmla="*/ 183 w 189"/>
              <a:gd name="T1" fmla="*/ 300 h 300"/>
              <a:gd name="T2" fmla="*/ 181 w 189"/>
              <a:gd name="T3" fmla="*/ 300 h 300"/>
              <a:gd name="T4" fmla="*/ 46 w 189"/>
              <a:gd name="T5" fmla="*/ 269 h 300"/>
              <a:gd name="T6" fmla="*/ 42 w 189"/>
              <a:gd name="T7" fmla="*/ 266 h 300"/>
              <a:gd name="T8" fmla="*/ 41 w 189"/>
              <a:gd name="T9" fmla="*/ 261 h 300"/>
              <a:gd name="T10" fmla="*/ 1 w 189"/>
              <a:gd name="T11" fmla="*/ 10 h 300"/>
              <a:gd name="T12" fmla="*/ 3 w 189"/>
              <a:gd name="T13" fmla="*/ 2 h 300"/>
              <a:gd name="T14" fmla="*/ 12 w 189"/>
              <a:gd name="T15" fmla="*/ 4 h 300"/>
              <a:gd name="T16" fmla="*/ 54 w 189"/>
              <a:gd name="T17" fmla="*/ 258 h 300"/>
              <a:gd name="T18" fmla="*/ 184 w 189"/>
              <a:gd name="T19" fmla="*/ 288 h 300"/>
              <a:gd name="T20" fmla="*/ 189 w 189"/>
              <a:gd name="T21" fmla="*/ 295 h 300"/>
              <a:gd name="T22" fmla="*/ 183 w 189"/>
              <a:gd name="T23"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300">
                <a:moveTo>
                  <a:pt x="183" y="300"/>
                </a:moveTo>
                <a:cubicBezTo>
                  <a:pt x="182" y="300"/>
                  <a:pt x="182" y="300"/>
                  <a:pt x="181" y="300"/>
                </a:cubicBezTo>
                <a:cubicBezTo>
                  <a:pt x="46" y="269"/>
                  <a:pt x="46" y="269"/>
                  <a:pt x="46" y="269"/>
                </a:cubicBezTo>
                <a:cubicBezTo>
                  <a:pt x="44" y="268"/>
                  <a:pt x="43" y="267"/>
                  <a:pt x="42" y="266"/>
                </a:cubicBezTo>
                <a:cubicBezTo>
                  <a:pt x="41" y="265"/>
                  <a:pt x="41" y="263"/>
                  <a:pt x="41" y="261"/>
                </a:cubicBezTo>
                <a:cubicBezTo>
                  <a:pt x="61" y="175"/>
                  <a:pt x="47" y="86"/>
                  <a:pt x="1" y="10"/>
                </a:cubicBezTo>
                <a:cubicBezTo>
                  <a:pt x="0" y="7"/>
                  <a:pt x="1" y="3"/>
                  <a:pt x="3" y="2"/>
                </a:cubicBezTo>
                <a:cubicBezTo>
                  <a:pt x="6" y="0"/>
                  <a:pt x="10" y="1"/>
                  <a:pt x="12" y="4"/>
                </a:cubicBezTo>
                <a:cubicBezTo>
                  <a:pt x="58" y="81"/>
                  <a:pt x="73" y="171"/>
                  <a:pt x="54" y="258"/>
                </a:cubicBezTo>
                <a:cubicBezTo>
                  <a:pt x="184" y="288"/>
                  <a:pt x="184" y="288"/>
                  <a:pt x="184" y="288"/>
                </a:cubicBezTo>
                <a:cubicBezTo>
                  <a:pt x="187" y="289"/>
                  <a:pt x="189" y="292"/>
                  <a:pt x="189" y="295"/>
                </a:cubicBezTo>
                <a:cubicBezTo>
                  <a:pt x="188" y="298"/>
                  <a:pt x="186" y="300"/>
                  <a:pt x="183" y="30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7FF9BAC8-526E-4C31-9C02-CDDBE39C1E40}"/>
              </a:ext>
            </a:extLst>
          </p:cNvPr>
          <p:cNvSpPr>
            <a:spLocks/>
          </p:cNvSpPr>
          <p:nvPr/>
        </p:nvSpPr>
        <p:spPr bwMode="auto">
          <a:xfrm>
            <a:off x="6273573" y="2409701"/>
            <a:ext cx="1442128" cy="558079"/>
          </a:xfrm>
          <a:custGeom>
            <a:avLst/>
            <a:gdLst>
              <a:gd name="T0" fmla="*/ 232 w 347"/>
              <a:gd name="T1" fmla="*/ 140 h 140"/>
              <a:gd name="T2" fmla="*/ 231 w 347"/>
              <a:gd name="T3" fmla="*/ 140 h 140"/>
              <a:gd name="T4" fmla="*/ 227 w 347"/>
              <a:gd name="T5" fmla="*/ 138 h 140"/>
              <a:gd name="T6" fmla="*/ 5 w 347"/>
              <a:gd name="T7" fmla="*/ 12 h 140"/>
              <a:gd name="T8" fmla="*/ 0 w 347"/>
              <a:gd name="T9" fmla="*/ 5 h 140"/>
              <a:gd name="T10" fmla="*/ 7 w 347"/>
              <a:gd name="T11" fmla="*/ 0 h 140"/>
              <a:gd name="T12" fmla="*/ 233 w 347"/>
              <a:gd name="T13" fmla="*/ 126 h 140"/>
              <a:gd name="T14" fmla="*/ 337 w 347"/>
              <a:gd name="T15" fmla="*/ 43 h 140"/>
              <a:gd name="T16" fmla="*/ 345 w 347"/>
              <a:gd name="T17" fmla="*/ 43 h 140"/>
              <a:gd name="T18" fmla="*/ 344 w 347"/>
              <a:gd name="T19" fmla="*/ 52 h 140"/>
              <a:gd name="T20" fmla="*/ 235 w 347"/>
              <a:gd name="T21" fmla="*/ 139 h 140"/>
              <a:gd name="T22" fmla="*/ 232 w 347"/>
              <a:gd name="T2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7" h="140">
                <a:moveTo>
                  <a:pt x="232" y="140"/>
                </a:moveTo>
                <a:cubicBezTo>
                  <a:pt x="231" y="140"/>
                  <a:pt x="231" y="140"/>
                  <a:pt x="231" y="140"/>
                </a:cubicBezTo>
                <a:cubicBezTo>
                  <a:pt x="229" y="140"/>
                  <a:pt x="228" y="139"/>
                  <a:pt x="227" y="138"/>
                </a:cubicBezTo>
                <a:cubicBezTo>
                  <a:pt x="172" y="69"/>
                  <a:pt x="93" y="24"/>
                  <a:pt x="5" y="12"/>
                </a:cubicBezTo>
                <a:cubicBezTo>
                  <a:pt x="2" y="12"/>
                  <a:pt x="0" y="9"/>
                  <a:pt x="0" y="5"/>
                </a:cubicBezTo>
                <a:cubicBezTo>
                  <a:pt x="1" y="2"/>
                  <a:pt x="4" y="0"/>
                  <a:pt x="7" y="0"/>
                </a:cubicBezTo>
                <a:cubicBezTo>
                  <a:pt x="96" y="12"/>
                  <a:pt x="176" y="57"/>
                  <a:pt x="233" y="126"/>
                </a:cubicBezTo>
                <a:cubicBezTo>
                  <a:pt x="337" y="43"/>
                  <a:pt x="337" y="43"/>
                  <a:pt x="337" y="43"/>
                </a:cubicBezTo>
                <a:cubicBezTo>
                  <a:pt x="339" y="40"/>
                  <a:pt x="343" y="41"/>
                  <a:pt x="345" y="43"/>
                </a:cubicBezTo>
                <a:cubicBezTo>
                  <a:pt x="347" y="46"/>
                  <a:pt x="347" y="50"/>
                  <a:pt x="344" y="52"/>
                </a:cubicBezTo>
                <a:cubicBezTo>
                  <a:pt x="235" y="139"/>
                  <a:pt x="235" y="139"/>
                  <a:pt x="235" y="139"/>
                </a:cubicBezTo>
                <a:cubicBezTo>
                  <a:pt x="234" y="140"/>
                  <a:pt x="233" y="140"/>
                  <a:pt x="232" y="140"/>
                </a:cubicBezTo>
                <a:close/>
              </a:path>
            </a:pathLst>
          </a:custGeom>
          <a:solidFill>
            <a:schemeClr val="accent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B40133D2-F081-4E6F-AE7A-7D0C6FC55911}"/>
              </a:ext>
            </a:extLst>
          </p:cNvPr>
          <p:cNvSpPr>
            <a:spLocks/>
          </p:cNvSpPr>
          <p:nvPr/>
        </p:nvSpPr>
        <p:spPr bwMode="auto">
          <a:xfrm>
            <a:off x="5076258" y="1843734"/>
            <a:ext cx="1051251" cy="989949"/>
          </a:xfrm>
          <a:custGeom>
            <a:avLst/>
            <a:gdLst>
              <a:gd name="T0" fmla="*/ 7 w 253"/>
              <a:gd name="T1" fmla="*/ 248 h 248"/>
              <a:gd name="T2" fmla="*/ 2 w 253"/>
              <a:gd name="T3" fmla="*/ 246 h 248"/>
              <a:gd name="T4" fmla="*/ 3 w 253"/>
              <a:gd name="T5" fmla="*/ 237 h 248"/>
              <a:gd name="T6" fmla="*/ 241 w 253"/>
              <a:gd name="T7" fmla="*/ 139 h 248"/>
              <a:gd name="T8" fmla="*/ 241 w 253"/>
              <a:gd name="T9" fmla="*/ 6 h 248"/>
              <a:gd name="T10" fmla="*/ 247 w 253"/>
              <a:gd name="T11" fmla="*/ 0 h 248"/>
              <a:gd name="T12" fmla="*/ 253 w 253"/>
              <a:gd name="T13" fmla="*/ 6 h 248"/>
              <a:gd name="T14" fmla="*/ 253 w 253"/>
              <a:gd name="T15" fmla="*/ 145 h 248"/>
              <a:gd name="T16" fmla="*/ 252 w 253"/>
              <a:gd name="T17" fmla="*/ 149 h 248"/>
              <a:gd name="T18" fmla="*/ 247 w 253"/>
              <a:gd name="T19" fmla="*/ 151 h 248"/>
              <a:gd name="T20" fmla="*/ 11 w 253"/>
              <a:gd name="T21" fmla="*/ 246 h 248"/>
              <a:gd name="T22" fmla="*/ 7 w 253"/>
              <a:gd name="T23"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3" h="248">
                <a:moveTo>
                  <a:pt x="7" y="248"/>
                </a:moveTo>
                <a:cubicBezTo>
                  <a:pt x="5" y="248"/>
                  <a:pt x="4" y="247"/>
                  <a:pt x="2" y="246"/>
                </a:cubicBezTo>
                <a:cubicBezTo>
                  <a:pt x="0" y="243"/>
                  <a:pt x="0" y="239"/>
                  <a:pt x="3" y="237"/>
                </a:cubicBezTo>
                <a:cubicBezTo>
                  <a:pt x="67" y="175"/>
                  <a:pt x="152" y="141"/>
                  <a:pt x="241" y="139"/>
                </a:cubicBezTo>
                <a:cubicBezTo>
                  <a:pt x="241" y="6"/>
                  <a:pt x="241" y="6"/>
                  <a:pt x="241" y="6"/>
                </a:cubicBezTo>
                <a:cubicBezTo>
                  <a:pt x="241" y="2"/>
                  <a:pt x="244" y="0"/>
                  <a:pt x="247" y="0"/>
                </a:cubicBezTo>
                <a:cubicBezTo>
                  <a:pt x="251" y="0"/>
                  <a:pt x="253" y="2"/>
                  <a:pt x="253" y="6"/>
                </a:cubicBezTo>
                <a:cubicBezTo>
                  <a:pt x="253" y="145"/>
                  <a:pt x="253" y="145"/>
                  <a:pt x="253" y="145"/>
                </a:cubicBezTo>
                <a:cubicBezTo>
                  <a:pt x="253" y="147"/>
                  <a:pt x="253" y="148"/>
                  <a:pt x="252" y="149"/>
                </a:cubicBezTo>
                <a:cubicBezTo>
                  <a:pt x="250" y="150"/>
                  <a:pt x="249" y="151"/>
                  <a:pt x="247" y="151"/>
                </a:cubicBezTo>
                <a:cubicBezTo>
                  <a:pt x="159" y="151"/>
                  <a:pt x="75" y="185"/>
                  <a:pt x="11" y="246"/>
                </a:cubicBezTo>
                <a:cubicBezTo>
                  <a:pt x="10" y="247"/>
                  <a:pt x="8" y="248"/>
                  <a:pt x="7" y="2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8CB4F488-F08C-4E17-8BAD-442029A2F9CF}"/>
              </a:ext>
            </a:extLst>
          </p:cNvPr>
          <p:cNvSpPr>
            <a:spLocks/>
          </p:cNvSpPr>
          <p:nvPr/>
        </p:nvSpPr>
        <p:spPr bwMode="auto">
          <a:xfrm>
            <a:off x="4489944" y="2573379"/>
            <a:ext cx="508140" cy="1388296"/>
          </a:xfrm>
          <a:custGeom>
            <a:avLst/>
            <a:gdLst>
              <a:gd name="T0" fmla="*/ 41 w 122"/>
              <a:gd name="T1" fmla="*/ 348 h 348"/>
              <a:gd name="T2" fmla="*/ 35 w 122"/>
              <a:gd name="T3" fmla="*/ 342 h 348"/>
              <a:gd name="T4" fmla="*/ 108 w 122"/>
              <a:gd name="T5" fmla="*/ 94 h 348"/>
              <a:gd name="T6" fmla="*/ 3 w 122"/>
              <a:gd name="T7" fmla="*/ 11 h 348"/>
              <a:gd name="T8" fmla="*/ 2 w 122"/>
              <a:gd name="T9" fmla="*/ 3 h 348"/>
              <a:gd name="T10" fmla="*/ 11 w 122"/>
              <a:gd name="T11" fmla="*/ 2 h 348"/>
              <a:gd name="T12" fmla="*/ 120 w 122"/>
              <a:gd name="T13" fmla="*/ 88 h 348"/>
              <a:gd name="T14" fmla="*/ 122 w 122"/>
              <a:gd name="T15" fmla="*/ 93 h 348"/>
              <a:gd name="T16" fmla="*/ 121 w 122"/>
              <a:gd name="T17" fmla="*/ 97 h 348"/>
              <a:gd name="T18" fmla="*/ 47 w 122"/>
              <a:gd name="T19" fmla="*/ 341 h 348"/>
              <a:gd name="T20" fmla="*/ 42 w 122"/>
              <a:gd name="T21" fmla="*/ 347 h 348"/>
              <a:gd name="T22" fmla="*/ 41 w 122"/>
              <a:gd name="T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348">
                <a:moveTo>
                  <a:pt x="41" y="348"/>
                </a:moveTo>
                <a:cubicBezTo>
                  <a:pt x="38" y="348"/>
                  <a:pt x="36" y="345"/>
                  <a:pt x="35" y="342"/>
                </a:cubicBezTo>
                <a:cubicBezTo>
                  <a:pt x="27" y="253"/>
                  <a:pt x="53" y="165"/>
                  <a:pt x="108" y="94"/>
                </a:cubicBezTo>
                <a:cubicBezTo>
                  <a:pt x="3" y="11"/>
                  <a:pt x="3" y="11"/>
                  <a:pt x="3" y="11"/>
                </a:cubicBezTo>
                <a:cubicBezTo>
                  <a:pt x="1" y="9"/>
                  <a:pt x="0" y="5"/>
                  <a:pt x="2" y="3"/>
                </a:cubicBezTo>
                <a:cubicBezTo>
                  <a:pt x="4" y="0"/>
                  <a:pt x="8" y="0"/>
                  <a:pt x="11" y="2"/>
                </a:cubicBezTo>
                <a:cubicBezTo>
                  <a:pt x="120" y="88"/>
                  <a:pt x="120" y="88"/>
                  <a:pt x="120" y="88"/>
                </a:cubicBezTo>
                <a:cubicBezTo>
                  <a:pt x="121" y="89"/>
                  <a:pt x="122" y="91"/>
                  <a:pt x="122" y="93"/>
                </a:cubicBezTo>
                <a:cubicBezTo>
                  <a:pt x="122" y="94"/>
                  <a:pt x="122" y="96"/>
                  <a:pt x="121" y="97"/>
                </a:cubicBezTo>
                <a:cubicBezTo>
                  <a:pt x="65" y="166"/>
                  <a:pt x="39" y="253"/>
                  <a:pt x="47" y="341"/>
                </a:cubicBezTo>
                <a:cubicBezTo>
                  <a:pt x="48" y="344"/>
                  <a:pt x="45" y="347"/>
                  <a:pt x="42" y="347"/>
                </a:cubicBezTo>
                <a:cubicBezTo>
                  <a:pt x="42" y="348"/>
                  <a:pt x="42" y="348"/>
                  <a:pt x="41" y="3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3">
            <a:extLst>
              <a:ext uri="{FF2B5EF4-FFF2-40B4-BE49-F238E27FC236}">
                <a16:creationId xmlns:a16="http://schemas.microsoft.com/office/drawing/2014/main" id="{2B79395B-1A24-4095-A1C3-180F7CE03DA5}"/>
              </a:ext>
            </a:extLst>
          </p:cNvPr>
          <p:cNvSpPr>
            <a:spLocks/>
          </p:cNvSpPr>
          <p:nvPr/>
        </p:nvSpPr>
        <p:spPr bwMode="auto">
          <a:xfrm>
            <a:off x="4103181" y="4113517"/>
            <a:ext cx="224240" cy="191284"/>
          </a:xfrm>
          <a:custGeom>
            <a:avLst/>
            <a:gdLst>
              <a:gd name="T0" fmla="*/ 47 w 54"/>
              <a:gd name="T1" fmla="*/ 48 h 48"/>
              <a:gd name="T2" fmla="*/ 46 w 54"/>
              <a:gd name="T3" fmla="*/ 48 h 48"/>
              <a:gd name="T4" fmla="*/ 5 w 54"/>
              <a:gd name="T5" fmla="*/ 39 h 48"/>
              <a:gd name="T6" fmla="*/ 0 w 54"/>
              <a:gd name="T7" fmla="*/ 34 h 48"/>
              <a:gd name="T8" fmla="*/ 2 w 54"/>
              <a:gd name="T9" fmla="*/ 28 h 48"/>
              <a:gd name="T10" fmla="*/ 36 w 54"/>
              <a:gd name="T11" fmla="*/ 2 h 48"/>
              <a:gd name="T12" fmla="*/ 44 w 54"/>
              <a:gd name="T13" fmla="*/ 3 h 48"/>
              <a:gd name="T14" fmla="*/ 43 w 54"/>
              <a:gd name="T15" fmla="*/ 11 h 48"/>
              <a:gd name="T16" fmla="*/ 20 w 54"/>
              <a:gd name="T17" fmla="*/ 30 h 48"/>
              <a:gd name="T18" fmla="*/ 49 w 54"/>
              <a:gd name="T19" fmla="*/ 36 h 48"/>
              <a:gd name="T20" fmla="*/ 53 w 54"/>
              <a:gd name="T21" fmla="*/ 43 h 48"/>
              <a:gd name="T22" fmla="*/ 47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47" y="48"/>
                </a:moveTo>
                <a:cubicBezTo>
                  <a:pt x="47" y="48"/>
                  <a:pt x="47" y="48"/>
                  <a:pt x="46" y="48"/>
                </a:cubicBezTo>
                <a:cubicBezTo>
                  <a:pt x="5" y="39"/>
                  <a:pt x="5" y="39"/>
                  <a:pt x="5" y="39"/>
                </a:cubicBezTo>
                <a:cubicBezTo>
                  <a:pt x="2" y="38"/>
                  <a:pt x="1" y="36"/>
                  <a:pt x="0" y="34"/>
                </a:cubicBezTo>
                <a:cubicBezTo>
                  <a:pt x="0" y="32"/>
                  <a:pt x="0" y="30"/>
                  <a:pt x="2" y="28"/>
                </a:cubicBezTo>
                <a:cubicBezTo>
                  <a:pt x="36" y="2"/>
                  <a:pt x="36" y="2"/>
                  <a:pt x="36" y="2"/>
                </a:cubicBezTo>
                <a:cubicBezTo>
                  <a:pt x="38" y="0"/>
                  <a:pt x="42" y="0"/>
                  <a:pt x="44" y="3"/>
                </a:cubicBezTo>
                <a:cubicBezTo>
                  <a:pt x="46" y="6"/>
                  <a:pt x="46" y="9"/>
                  <a:pt x="43" y="11"/>
                </a:cubicBezTo>
                <a:cubicBezTo>
                  <a:pt x="20" y="30"/>
                  <a:pt x="20" y="30"/>
                  <a:pt x="20" y="30"/>
                </a:cubicBezTo>
                <a:cubicBezTo>
                  <a:pt x="49" y="36"/>
                  <a:pt x="49" y="36"/>
                  <a:pt x="49" y="36"/>
                </a:cubicBezTo>
                <a:cubicBezTo>
                  <a:pt x="52" y="37"/>
                  <a:pt x="54" y="40"/>
                  <a:pt x="53" y="43"/>
                </a:cubicBezTo>
                <a:cubicBezTo>
                  <a:pt x="53" y="46"/>
                  <a:pt x="50" y="48"/>
                  <a:pt x="47"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4">
            <a:extLst>
              <a:ext uri="{FF2B5EF4-FFF2-40B4-BE49-F238E27FC236}">
                <a16:creationId xmlns:a16="http://schemas.microsoft.com/office/drawing/2014/main" id="{96235668-C2C4-47AF-B529-4A7F85BA4021}"/>
              </a:ext>
            </a:extLst>
          </p:cNvPr>
          <p:cNvSpPr>
            <a:spLocks/>
          </p:cNvSpPr>
          <p:nvPr/>
        </p:nvSpPr>
        <p:spPr bwMode="auto">
          <a:xfrm>
            <a:off x="5201749" y="5369689"/>
            <a:ext cx="189266" cy="218892"/>
          </a:xfrm>
          <a:custGeom>
            <a:avLst/>
            <a:gdLst>
              <a:gd name="T0" fmla="*/ 6 w 46"/>
              <a:gd name="T1" fmla="*/ 55 h 55"/>
              <a:gd name="T2" fmla="*/ 3 w 46"/>
              <a:gd name="T3" fmla="*/ 54 h 55"/>
              <a:gd name="T4" fmla="*/ 0 w 46"/>
              <a:gd name="T5" fmla="*/ 49 h 55"/>
              <a:gd name="T6" fmla="*/ 0 w 46"/>
              <a:gd name="T7" fmla="*/ 6 h 55"/>
              <a:gd name="T8" fmla="*/ 6 w 46"/>
              <a:gd name="T9" fmla="*/ 0 h 55"/>
              <a:gd name="T10" fmla="*/ 6 w 46"/>
              <a:gd name="T11" fmla="*/ 0 h 55"/>
              <a:gd name="T12" fmla="*/ 12 w 46"/>
              <a:gd name="T13" fmla="*/ 6 h 55"/>
              <a:gd name="T14" fmla="*/ 12 w 46"/>
              <a:gd name="T15" fmla="*/ 36 h 55"/>
              <a:gd name="T16" fmla="*/ 35 w 46"/>
              <a:gd name="T17" fmla="*/ 17 h 55"/>
              <a:gd name="T18" fmla="*/ 43 w 46"/>
              <a:gd name="T19" fmla="*/ 18 h 55"/>
              <a:gd name="T20" fmla="*/ 43 w 46"/>
              <a:gd name="T21" fmla="*/ 27 h 55"/>
              <a:gd name="T22" fmla="*/ 10 w 46"/>
              <a:gd name="T23" fmla="*/ 53 h 55"/>
              <a:gd name="T24" fmla="*/ 6 w 46"/>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5">
                <a:moveTo>
                  <a:pt x="6" y="55"/>
                </a:moveTo>
                <a:cubicBezTo>
                  <a:pt x="5" y="55"/>
                  <a:pt x="4" y="54"/>
                  <a:pt x="3" y="54"/>
                </a:cubicBezTo>
                <a:cubicBezTo>
                  <a:pt x="1" y="53"/>
                  <a:pt x="0" y="51"/>
                  <a:pt x="0" y="49"/>
                </a:cubicBezTo>
                <a:cubicBezTo>
                  <a:pt x="0" y="6"/>
                  <a:pt x="0" y="6"/>
                  <a:pt x="0" y="6"/>
                </a:cubicBezTo>
                <a:cubicBezTo>
                  <a:pt x="0" y="3"/>
                  <a:pt x="3" y="0"/>
                  <a:pt x="6" y="0"/>
                </a:cubicBezTo>
                <a:cubicBezTo>
                  <a:pt x="6" y="0"/>
                  <a:pt x="6" y="0"/>
                  <a:pt x="6" y="0"/>
                </a:cubicBezTo>
                <a:cubicBezTo>
                  <a:pt x="9" y="0"/>
                  <a:pt x="12" y="3"/>
                  <a:pt x="12" y="6"/>
                </a:cubicBezTo>
                <a:cubicBezTo>
                  <a:pt x="12" y="36"/>
                  <a:pt x="12" y="36"/>
                  <a:pt x="12" y="36"/>
                </a:cubicBezTo>
                <a:cubicBezTo>
                  <a:pt x="35" y="17"/>
                  <a:pt x="35" y="17"/>
                  <a:pt x="35" y="17"/>
                </a:cubicBezTo>
                <a:cubicBezTo>
                  <a:pt x="38" y="15"/>
                  <a:pt x="41" y="16"/>
                  <a:pt x="43" y="18"/>
                </a:cubicBezTo>
                <a:cubicBezTo>
                  <a:pt x="46" y="21"/>
                  <a:pt x="45" y="25"/>
                  <a:pt x="43" y="27"/>
                </a:cubicBezTo>
                <a:cubicBezTo>
                  <a:pt x="10" y="53"/>
                  <a:pt x="10" y="53"/>
                  <a:pt x="10" y="53"/>
                </a:cubicBezTo>
                <a:cubicBezTo>
                  <a:pt x="9" y="54"/>
                  <a:pt x="7" y="55"/>
                  <a:pt x="6" y="5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6">
            <a:extLst>
              <a:ext uri="{FF2B5EF4-FFF2-40B4-BE49-F238E27FC236}">
                <a16:creationId xmlns:a16="http://schemas.microsoft.com/office/drawing/2014/main" id="{A5F50408-C5BB-4E21-A69A-417ED4D7FEAB}"/>
              </a:ext>
            </a:extLst>
          </p:cNvPr>
          <p:cNvSpPr>
            <a:spLocks/>
          </p:cNvSpPr>
          <p:nvPr/>
        </p:nvSpPr>
        <p:spPr bwMode="auto">
          <a:xfrm>
            <a:off x="7882337" y="4113517"/>
            <a:ext cx="224240" cy="191284"/>
          </a:xfrm>
          <a:custGeom>
            <a:avLst/>
            <a:gdLst>
              <a:gd name="T0" fmla="*/ 6 w 54"/>
              <a:gd name="T1" fmla="*/ 48 h 48"/>
              <a:gd name="T2" fmla="*/ 1 w 54"/>
              <a:gd name="T3" fmla="*/ 43 h 48"/>
              <a:gd name="T4" fmla="*/ 5 w 54"/>
              <a:gd name="T5" fmla="*/ 36 h 48"/>
              <a:gd name="T6" fmla="*/ 34 w 54"/>
              <a:gd name="T7" fmla="*/ 30 h 48"/>
              <a:gd name="T8" fmla="*/ 11 w 54"/>
              <a:gd name="T9" fmla="*/ 11 h 48"/>
              <a:gd name="T10" fmla="*/ 10 w 54"/>
              <a:gd name="T11" fmla="*/ 3 h 48"/>
              <a:gd name="T12" fmla="*/ 18 w 54"/>
              <a:gd name="T13" fmla="*/ 2 h 48"/>
              <a:gd name="T14" fmla="*/ 52 w 54"/>
              <a:gd name="T15" fmla="*/ 28 h 48"/>
              <a:gd name="T16" fmla="*/ 54 w 54"/>
              <a:gd name="T17" fmla="*/ 34 h 48"/>
              <a:gd name="T18" fmla="*/ 49 w 54"/>
              <a:gd name="T19" fmla="*/ 39 h 48"/>
              <a:gd name="T20" fmla="*/ 8 w 54"/>
              <a:gd name="T21" fmla="*/ 48 h 48"/>
              <a:gd name="T22" fmla="*/ 6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6" y="48"/>
                </a:moveTo>
                <a:cubicBezTo>
                  <a:pt x="4" y="48"/>
                  <a:pt x="1" y="46"/>
                  <a:pt x="1" y="43"/>
                </a:cubicBezTo>
                <a:cubicBezTo>
                  <a:pt x="0" y="40"/>
                  <a:pt x="2" y="37"/>
                  <a:pt x="5" y="36"/>
                </a:cubicBezTo>
                <a:cubicBezTo>
                  <a:pt x="34" y="30"/>
                  <a:pt x="34" y="30"/>
                  <a:pt x="34" y="30"/>
                </a:cubicBezTo>
                <a:cubicBezTo>
                  <a:pt x="11" y="11"/>
                  <a:pt x="11" y="11"/>
                  <a:pt x="11" y="11"/>
                </a:cubicBezTo>
                <a:cubicBezTo>
                  <a:pt x="8" y="9"/>
                  <a:pt x="8" y="5"/>
                  <a:pt x="10" y="3"/>
                </a:cubicBezTo>
                <a:cubicBezTo>
                  <a:pt x="12" y="0"/>
                  <a:pt x="16" y="0"/>
                  <a:pt x="18" y="2"/>
                </a:cubicBezTo>
                <a:cubicBezTo>
                  <a:pt x="52" y="28"/>
                  <a:pt x="52" y="28"/>
                  <a:pt x="52" y="28"/>
                </a:cubicBezTo>
                <a:cubicBezTo>
                  <a:pt x="53" y="29"/>
                  <a:pt x="54" y="32"/>
                  <a:pt x="54" y="34"/>
                </a:cubicBezTo>
                <a:cubicBezTo>
                  <a:pt x="53" y="36"/>
                  <a:pt x="51" y="38"/>
                  <a:pt x="49" y="39"/>
                </a:cubicBezTo>
                <a:cubicBezTo>
                  <a:pt x="8" y="48"/>
                  <a:pt x="8" y="48"/>
                  <a:pt x="8" y="48"/>
                </a:cubicBezTo>
                <a:cubicBezTo>
                  <a:pt x="7" y="48"/>
                  <a:pt x="7" y="48"/>
                  <a:pt x="6"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7">
            <a:extLst>
              <a:ext uri="{FF2B5EF4-FFF2-40B4-BE49-F238E27FC236}">
                <a16:creationId xmlns:a16="http://schemas.microsoft.com/office/drawing/2014/main" id="{3738B4F9-0124-46A0-853E-9F72C3BC3170}"/>
              </a:ext>
            </a:extLst>
          </p:cNvPr>
          <p:cNvSpPr>
            <a:spLocks/>
          </p:cNvSpPr>
          <p:nvPr/>
        </p:nvSpPr>
        <p:spPr bwMode="auto">
          <a:xfrm>
            <a:off x="7491460" y="2573379"/>
            <a:ext cx="224240" cy="199173"/>
          </a:xfrm>
          <a:custGeom>
            <a:avLst/>
            <a:gdLst>
              <a:gd name="T0" fmla="*/ 29 w 54"/>
              <a:gd name="T1" fmla="*/ 50 h 50"/>
              <a:gd name="T2" fmla="*/ 26 w 54"/>
              <a:gd name="T3" fmla="*/ 50 h 50"/>
              <a:gd name="T4" fmla="*/ 24 w 54"/>
              <a:gd name="T5" fmla="*/ 42 h 50"/>
              <a:gd name="T6" fmla="*/ 37 w 54"/>
              <a:gd name="T7" fmla="*/ 15 h 50"/>
              <a:gd name="T8" fmla="*/ 8 w 54"/>
              <a:gd name="T9" fmla="*/ 22 h 50"/>
              <a:gd name="T10" fmla="*/ 0 w 54"/>
              <a:gd name="T11" fmla="*/ 17 h 50"/>
              <a:gd name="T12" fmla="*/ 5 w 54"/>
              <a:gd name="T13" fmla="*/ 10 h 50"/>
              <a:gd name="T14" fmla="*/ 46 w 54"/>
              <a:gd name="T15" fmla="*/ 0 h 50"/>
              <a:gd name="T16" fmla="*/ 52 w 54"/>
              <a:gd name="T17" fmla="*/ 2 h 50"/>
              <a:gd name="T18" fmla="*/ 53 w 54"/>
              <a:gd name="T19" fmla="*/ 9 h 50"/>
              <a:gd name="T20" fmla="*/ 34 w 54"/>
              <a:gd name="T21" fmla="*/ 47 h 50"/>
              <a:gd name="T22" fmla="*/ 29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9" y="50"/>
                </a:moveTo>
                <a:cubicBezTo>
                  <a:pt x="28" y="50"/>
                  <a:pt x="27" y="50"/>
                  <a:pt x="26" y="50"/>
                </a:cubicBezTo>
                <a:cubicBezTo>
                  <a:pt x="23" y="48"/>
                  <a:pt x="22" y="45"/>
                  <a:pt x="24" y="42"/>
                </a:cubicBezTo>
                <a:cubicBezTo>
                  <a:pt x="37" y="15"/>
                  <a:pt x="37" y="15"/>
                  <a:pt x="37" y="15"/>
                </a:cubicBezTo>
                <a:cubicBezTo>
                  <a:pt x="8" y="22"/>
                  <a:pt x="8" y="22"/>
                  <a:pt x="8" y="22"/>
                </a:cubicBezTo>
                <a:cubicBezTo>
                  <a:pt x="4" y="23"/>
                  <a:pt x="1" y="21"/>
                  <a:pt x="0" y="17"/>
                </a:cubicBezTo>
                <a:cubicBezTo>
                  <a:pt x="0" y="14"/>
                  <a:pt x="2" y="11"/>
                  <a:pt x="5" y="10"/>
                </a:cubicBezTo>
                <a:cubicBezTo>
                  <a:pt x="46" y="0"/>
                  <a:pt x="46" y="0"/>
                  <a:pt x="46" y="0"/>
                </a:cubicBezTo>
                <a:cubicBezTo>
                  <a:pt x="48" y="0"/>
                  <a:pt x="51" y="1"/>
                  <a:pt x="52" y="2"/>
                </a:cubicBezTo>
                <a:cubicBezTo>
                  <a:pt x="54" y="4"/>
                  <a:pt x="54" y="7"/>
                  <a:pt x="53" y="9"/>
                </a:cubicBezTo>
                <a:cubicBezTo>
                  <a:pt x="34" y="47"/>
                  <a:pt x="34" y="47"/>
                  <a:pt x="34" y="47"/>
                </a:cubicBezTo>
                <a:cubicBezTo>
                  <a:pt x="33" y="49"/>
                  <a:pt x="31" y="50"/>
                  <a:pt x="29" y="5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8">
            <a:extLst>
              <a:ext uri="{FF2B5EF4-FFF2-40B4-BE49-F238E27FC236}">
                <a16:creationId xmlns:a16="http://schemas.microsoft.com/office/drawing/2014/main" id="{2BD0D3FB-88AB-4397-A897-BCA37ECE6052}"/>
              </a:ext>
            </a:extLst>
          </p:cNvPr>
          <p:cNvSpPr>
            <a:spLocks/>
          </p:cNvSpPr>
          <p:nvPr/>
        </p:nvSpPr>
        <p:spPr bwMode="auto">
          <a:xfrm>
            <a:off x="5997904" y="1843734"/>
            <a:ext cx="209838" cy="203117"/>
          </a:xfrm>
          <a:custGeom>
            <a:avLst/>
            <a:gdLst>
              <a:gd name="T0" fmla="*/ 7 w 50"/>
              <a:gd name="T1" fmla="*/ 50 h 51"/>
              <a:gd name="T2" fmla="*/ 5 w 50"/>
              <a:gd name="T3" fmla="*/ 49 h 51"/>
              <a:gd name="T4" fmla="*/ 2 w 50"/>
              <a:gd name="T5" fmla="*/ 41 h 51"/>
              <a:gd name="T6" fmla="*/ 20 w 50"/>
              <a:gd name="T7" fmla="*/ 3 h 51"/>
              <a:gd name="T8" fmla="*/ 25 w 50"/>
              <a:gd name="T9" fmla="*/ 0 h 51"/>
              <a:gd name="T10" fmla="*/ 31 w 50"/>
              <a:gd name="T11" fmla="*/ 3 h 51"/>
              <a:gd name="T12" fmla="*/ 49 w 50"/>
              <a:gd name="T13" fmla="*/ 41 h 51"/>
              <a:gd name="T14" fmla="*/ 46 w 50"/>
              <a:gd name="T15" fmla="*/ 49 h 51"/>
              <a:gd name="T16" fmla="*/ 38 w 50"/>
              <a:gd name="T17" fmla="*/ 47 h 51"/>
              <a:gd name="T18" fmla="*/ 25 w 50"/>
              <a:gd name="T19" fmla="*/ 20 h 51"/>
              <a:gd name="T20" fmla="*/ 13 w 50"/>
              <a:gd name="T21" fmla="*/ 47 h 51"/>
              <a:gd name="T22" fmla="*/ 7 w 50"/>
              <a:gd name="T23"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1">
                <a:moveTo>
                  <a:pt x="7" y="50"/>
                </a:moveTo>
                <a:cubicBezTo>
                  <a:pt x="6" y="50"/>
                  <a:pt x="5" y="50"/>
                  <a:pt x="5" y="49"/>
                </a:cubicBezTo>
                <a:cubicBezTo>
                  <a:pt x="2" y="48"/>
                  <a:pt x="0" y="44"/>
                  <a:pt x="2" y="41"/>
                </a:cubicBezTo>
                <a:cubicBezTo>
                  <a:pt x="20" y="3"/>
                  <a:pt x="20" y="3"/>
                  <a:pt x="20" y="3"/>
                </a:cubicBezTo>
                <a:cubicBezTo>
                  <a:pt x="21" y="1"/>
                  <a:pt x="23" y="0"/>
                  <a:pt x="25" y="0"/>
                </a:cubicBezTo>
                <a:cubicBezTo>
                  <a:pt x="28" y="0"/>
                  <a:pt x="30" y="1"/>
                  <a:pt x="31" y="3"/>
                </a:cubicBezTo>
                <a:cubicBezTo>
                  <a:pt x="49" y="41"/>
                  <a:pt x="49" y="41"/>
                  <a:pt x="49" y="41"/>
                </a:cubicBezTo>
                <a:cubicBezTo>
                  <a:pt x="50" y="44"/>
                  <a:pt x="49" y="48"/>
                  <a:pt x="46" y="49"/>
                </a:cubicBezTo>
                <a:cubicBezTo>
                  <a:pt x="43" y="51"/>
                  <a:pt x="39" y="50"/>
                  <a:pt x="38" y="47"/>
                </a:cubicBezTo>
                <a:cubicBezTo>
                  <a:pt x="25" y="20"/>
                  <a:pt x="25" y="20"/>
                  <a:pt x="25" y="20"/>
                </a:cubicBezTo>
                <a:cubicBezTo>
                  <a:pt x="13" y="47"/>
                  <a:pt x="13" y="47"/>
                  <a:pt x="13" y="47"/>
                </a:cubicBezTo>
                <a:cubicBezTo>
                  <a:pt x="12" y="49"/>
                  <a:pt x="9" y="50"/>
                  <a:pt x="7" y="5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9">
            <a:extLst>
              <a:ext uri="{FF2B5EF4-FFF2-40B4-BE49-F238E27FC236}">
                <a16:creationId xmlns:a16="http://schemas.microsoft.com/office/drawing/2014/main" id="{0FE27C37-CA88-443D-848B-BAE25BFB3356}"/>
              </a:ext>
            </a:extLst>
          </p:cNvPr>
          <p:cNvSpPr>
            <a:spLocks/>
          </p:cNvSpPr>
          <p:nvPr/>
        </p:nvSpPr>
        <p:spPr bwMode="auto">
          <a:xfrm>
            <a:off x="4494058" y="2573379"/>
            <a:ext cx="224240" cy="199173"/>
          </a:xfrm>
          <a:custGeom>
            <a:avLst/>
            <a:gdLst>
              <a:gd name="T0" fmla="*/ 25 w 54"/>
              <a:gd name="T1" fmla="*/ 50 h 50"/>
              <a:gd name="T2" fmla="*/ 19 w 54"/>
              <a:gd name="T3" fmla="*/ 47 h 50"/>
              <a:gd name="T4" fmla="*/ 1 w 54"/>
              <a:gd name="T5" fmla="*/ 9 h 50"/>
              <a:gd name="T6" fmla="*/ 1 w 54"/>
              <a:gd name="T7" fmla="*/ 3 h 50"/>
              <a:gd name="T8" fmla="*/ 7 w 54"/>
              <a:gd name="T9" fmla="*/ 1 h 50"/>
              <a:gd name="T10" fmla="*/ 49 w 54"/>
              <a:gd name="T11" fmla="*/ 10 h 50"/>
              <a:gd name="T12" fmla="*/ 53 w 54"/>
              <a:gd name="T13" fmla="*/ 17 h 50"/>
              <a:gd name="T14" fmla="*/ 46 w 54"/>
              <a:gd name="T15" fmla="*/ 22 h 50"/>
              <a:gd name="T16" fmla="*/ 17 w 54"/>
              <a:gd name="T17" fmla="*/ 15 h 50"/>
              <a:gd name="T18" fmla="*/ 30 w 54"/>
              <a:gd name="T19" fmla="*/ 42 h 50"/>
              <a:gd name="T20" fmla="*/ 27 w 54"/>
              <a:gd name="T21" fmla="*/ 50 h 50"/>
              <a:gd name="T22" fmla="*/ 25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5" y="50"/>
                </a:moveTo>
                <a:cubicBezTo>
                  <a:pt x="23" y="50"/>
                  <a:pt x="20" y="49"/>
                  <a:pt x="19" y="47"/>
                </a:cubicBezTo>
                <a:cubicBezTo>
                  <a:pt x="1" y="9"/>
                  <a:pt x="1" y="9"/>
                  <a:pt x="1" y="9"/>
                </a:cubicBezTo>
                <a:cubicBezTo>
                  <a:pt x="0" y="7"/>
                  <a:pt x="0" y="4"/>
                  <a:pt x="1" y="3"/>
                </a:cubicBezTo>
                <a:cubicBezTo>
                  <a:pt x="3" y="1"/>
                  <a:pt x="5" y="0"/>
                  <a:pt x="7" y="1"/>
                </a:cubicBezTo>
                <a:cubicBezTo>
                  <a:pt x="49" y="10"/>
                  <a:pt x="49" y="10"/>
                  <a:pt x="49" y="10"/>
                </a:cubicBezTo>
                <a:cubicBezTo>
                  <a:pt x="52" y="11"/>
                  <a:pt x="54" y="14"/>
                  <a:pt x="53" y="17"/>
                </a:cubicBezTo>
                <a:cubicBezTo>
                  <a:pt x="52" y="21"/>
                  <a:pt x="49" y="23"/>
                  <a:pt x="46" y="22"/>
                </a:cubicBezTo>
                <a:cubicBezTo>
                  <a:pt x="17" y="15"/>
                  <a:pt x="17" y="15"/>
                  <a:pt x="17" y="15"/>
                </a:cubicBezTo>
                <a:cubicBezTo>
                  <a:pt x="30" y="42"/>
                  <a:pt x="30" y="42"/>
                  <a:pt x="30" y="42"/>
                </a:cubicBezTo>
                <a:cubicBezTo>
                  <a:pt x="32" y="45"/>
                  <a:pt x="30" y="48"/>
                  <a:pt x="27" y="50"/>
                </a:cubicBezTo>
                <a:cubicBezTo>
                  <a:pt x="27" y="50"/>
                  <a:pt x="26" y="50"/>
                  <a:pt x="25"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2">
            <a:extLst>
              <a:ext uri="{FF2B5EF4-FFF2-40B4-BE49-F238E27FC236}">
                <a16:creationId xmlns:a16="http://schemas.microsoft.com/office/drawing/2014/main" id="{6E19C658-9EC2-40C2-B241-23248250FFAC}"/>
              </a:ext>
            </a:extLst>
          </p:cNvPr>
          <p:cNvSpPr>
            <a:spLocks/>
          </p:cNvSpPr>
          <p:nvPr/>
        </p:nvSpPr>
        <p:spPr bwMode="auto">
          <a:xfrm>
            <a:off x="4818690" y="2573589"/>
            <a:ext cx="2596814" cy="2491527"/>
          </a:xfrm>
          <a:custGeom>
            <a:avLst/>
            <a:gdLst>
              <a:gd name="T0" fmla="*/ 909 w 3233"/>
              <a:gd name="T1" fmla="*/ 391 h 3233"/>
              <a:gd name="T2" fmla="*/ 2843 w 3233"/>
              <a:gd name="T3" fmla="*/ 909 h 3233"/>
              <a:gd name="T4" fmla="*/ 2325 w 3233"/>
              <a:gd name="T5" fmla="*/ 2842 h 3233"/>
              <a:gd name="T6" fmla="*/ 391 w 3233"/>
              <a:gd name="T7" fmla="*/ 2324 h 3233"/>
              <a:gd name="T8" fmla="*/ 909 w 3233"/>
              <a:gd name="T9" fmla="*/ 391 h 3233"/>
            </a:gdLst>
            <a:ahLst/>
            <a:cxnLst>
              <a:cxn ang="0">
                <a:pos x="T0" y="T1"/>
              </a:cxn>
              <a:cxn ang="0">
                <a:pos x="T2" y="T3"/>
              </a:cxn>
              <a:cxn ang="0">
                <a:pos x="T4" y="T5"/>
              </a:cxn>
              <a:cxn ang="0">
                <a:pos x="T6" y="T7"/>
              </a:cxn>
              <a:cxn ang="0">
                <a:pos x="T8" y="T9"/>
              </a:cxn>
            </a:cxnLst>
            <a:rect l="0" t="0" r="r" b="b"/>
            <a:pathLst>
              <a:path w="3233" h="3233">
                <a:moveTo>
                  <a:pt x="909" y="391"/>
                </a:moveTo>
                <a:cubicBezTo>
                  <a:pt x="1586" y="0"/>
                  <a:pt x="2452" y="232"/>
                  <a:pt x="2843" y="909"/>
                </a:cubicBezTo>
                <a:cubicBezTo>
                  <a:pt x="3233" y="1586"/>
                  <a:pt x="3001" y="2452"/>
                  <a:pt x="2325" y="2842"/>
                </a:cubicBezTo>
                <a:cubicBezTo>
                  <a:pt x="1648" y="3233"/>
                  <a:pt x="782" y="3001"/>
                  <a:pt x="391" y="2324"/>
                </a:cubicBezTo>
                <a:cubicBezTo>
                  <a:pt x="0" y="1648"/>
                  <a:pt x="232" y="782"/>
                  <a:pt x="909" y="391"/>
                </a:cubicBezTo>
                <a:close/>
              </a:path>
            </a:pathLst>
          </a:custGeom>
          <a:solidFill>
            <a:schemeClr val="bg1"/>
          </a:solidFill>
          <a:ln>
            <a:noFill/>
          </a:ln>
          <a:effectLst/>
        </p:spPr>
        <p:txBody>
          <a:bodyPr vert="horz" wrap="square" lIns="91440" tIns="45720" rIns="91440" bIns="45720" numCol="1" anchor="ctr" anchorCtr="0" compatLnSpc="1">
            <a:prstTxWarp prst="textNoShape">
              <a:avLst/>
            </a:prstTxWarp>
          </a:bodyPr>
          <a:lstStyle/>
          <a:p>
            <a:pPr algn="ctr"/>
            <a:endParaRPr lang="en-US" b="1">
              <a:solidFill>
                <a:schemeClr val="accent1"/>
              </a:solidFill>
            </a:endParaRPr>
          </a:p>
        </p:txBody>
      </p:sp>
      <p:sp>
        <p:nvSpPr>
          <p:cNvPr id="20" name="Oval 19">
            <a:extLst>
              <a:ext uri="{FF2B5EF4-FFF2-40B4-BE49-F238E27FC236}">
                <a16:creationId xmlns:a16="http://schemas.microsoft.com/office/drawing/2014/main" id="{92EF6745-8D81-45CC-B19E-40AEA3189173}"/>
              </a:ext>
            </a:extLst>
          </p:cNvPr>
          <p:cNvSpPr/>
          <p:nvPr/>
        </p:nvSpPr>
        <p:spPr bwMode="auto">
          <a:xfrm>
            <a:off x="5672122" y="1412776"/>
            <a:ext cx="788999" cy="756311"/>
          </a:xfrm>
          <a:prstGeom prst="ellipse">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1" name="Oval 20">
            <a:extLst>
              <a:ext uri="{FF2B5EF4-FFF2-40B4-BE49-F238E27FC236}">
                <a16:creationId xmlns:a16="http://schemas.microsoft.com/office/drawing/2014/main" id="{60D72E11-FD56-4294-8267-E0CF3FD70572}"/>
              </a:ext>
            </a:extLst>
          </p:cNvPr>
          <p:cNvSpPr/>
          <p:nvPr/>
        </p:nvSpPr>
        <p:spPr bwMode="auto">
          <a:xfrm>
            <a:off x="7409600" y="2177134"/>
            <a:ext cx="788999" cy="756311"/>
          </a:xfrm>
          <a:prstGeom prst="ellipse">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2" name="Oval 21">
            <a:extLst>
              <a:ext uri="{FF2B5EF4-FFF2-40B4-BE49-F238E27FC236}">
                <a16:creationId xmlns:a16="http://schemas.microsoft.com/office/drawing/2014/main" id="{CB952DC0-AD87-4599-9508-78635B9310C0}"/>
              </a:ext>
            </a:extLst>
          </p:cNvPr>
          <p:cNvSpPr/>
          <p:nvPr/>
        </p:nvSpPr>
        <p:spPr bwMode="auto">
          <a:xfrm>
            <a:off x="7795707" y="3882857"/>
            <a:ext cx="788999" cy="756311"/>
          </a:xfrm>
          <a:prstGeom prst="ellipse">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3" name="Oval 22">
            <a:extLst>
              <a:ext uri="{FF2B5EF4-FFF2-40B4-BE49-F238E27FC236}">
                <a16:creationId xmlns:a16="http://schemas.microsoft.com/office/drawing/2014/main" id="{124A0628-2086-4535-B0FB-A28D70B6A068}"/>
              </a:ext>
            </a:extLst>
          </p:cNvPr>
          <p:cNvSpPr/>
          <p:nvPr/>
        </p:nvSpPr>
        <p:spPr bwMode="auto">
          <a:xfrm>
            <a:off x="6628995" y="5290884"/>
            <a:ext cx="788999" cy="756311"/>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4" name="Oval 23">
            <a:extLst>
              <a:ext uri="{FF2B5EF4-FFF2-40B4-BE49-F238E27FC236}">
                <a16:creationId xmlns:a16="http://schemas.microsoft.com/office/drawing/2014/main" id="{8AA786AD-3DC8-473C-BC6C-3090A2DE1239}"/>
              </a:ext>
            </a:extLst>
          </p:cNvPr>
          <p:cNvSpPr/>
          <p:nvPr/>
        </p:nvSpPr>
        <p:spPr bwMode="auto">
          <a:xfrm>
            <a:off x="4790793" y="5274792"/>
            <a:ext cx="788999" cy="756311"/>
          </a:xfrm>
          <a:prstGeom prst="ellipse">
            <a:avLst/>
          </a:prstGeom>
          <a:solidFill>
            <a:schemeClr val="accent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5" name="Oval 24">
            <a:extLst>
              <a:ext uri="{FF2B5EF4-FFF2-40B4-BE49-F238E27FC236}">
                <a16:creationId xmlns:a16="http://schemas.microsoft.com/office/drawing/2014/main" id="{152D96B1-75BB-4CD9-AC7B-F009641CCDFC}"/>
              </a:ext>
            </a:extLst>
          </p:cNvPr>
          <p:cNvSpPr/>
          <p:nvPr/>
        </p:nvSpPr>
        <p:spPr bwMode="auto">
          <a:xfrm>
            <a:off x="3607293" y="3898949"/>
            <a:ext cx="788999" cy="756311"/>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6" name="Oval 25">
            <a:extLst>
              <a:ext uri="{FF2B5EF4-FFF2-40B4-BE49-F238E27FC236}">
                <a16:creationId xmlns:a16="http://schemas.microsoft.com/office/drawing/2014/main" id="{E5EB8978-5638-48D6-B978-0A0B7FFE5012}"/>
              </a:ext>
            </a:extLst>
          </p:cNvPr>
          <p:cNvSpPr/>
          <p:nvPr/>
        </p:nvSpPr>
        <p:spPr bwMode="auto">
          <a:xfrm>
            <a:off x="4001792" y="2161042"/>
            <a:ext cx="788999" cy="756311"/>
          </a:xfrm>
          <a:prstGeom prst="ellipse">
            <a:avLst/>
          </a:prstGeom>
          <a:solidFill>
            <a:schemeClr val="tx2">
              <a:lumMod val="90000"/>
              <a:lumOff val="1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grpSp>
        <p:nvGrpSpPr>
          <p:cNvPr id="117" name="Groupe 299">
            <a:extLst>
              <a:ext uri="{FF2B5EF4-FFF2-40B4-BE49-F238E27FC236}">
                <a16:creationId xmlns:a16="http://schemas.microsoft.com/office/drawing/2014/main" id="{C8352A97-FB98-461A-BFA1-ACA381450628}"/>
              </a:ext>
            </a:extLst>
          </p:cNvPr>
          <p:cNvGrpSpPr/>
          <p:nvPr/>
        </p:nvGrpSpPr>
        <p:grpSpPr>
          <a:xfrm>
            <a:off x="4158739" y="2394984"/>
            <a:ext cx="490466" cy="282474"/>
            <a:chOff x="4572000" y="4300538"/>
            <a:chExt cx="385763" cy="231775"/>
          </a:xfrm>
        </p:grpSpPr>
        <p:sp>
          <p:nvSpPr>
            <p:cNvPr id="118" name="Freeform 828">
              <a:extLst>
                <a:ext uri="{FF2B5EF4-FFF2-40B4-BE49-F238E27FC236}">
                  <a16:creationId xmlns:a16="http://schemas.microsoft.com/office/drawing/2014/main" id="{34186393-10F4-403C-B8B7-6CBE10ED2F62}"/>
                </a:ext>
              </a:extLst>
            </p:cNvPr>
            <p:cNvSpPr>
              <a:spLocks/>
            </p:cNvSpPr>
            <p:nvPr/>
          </p:nvSpPr>
          <p:spPr bwMode="auto">
            <a:xfrm>
              <a:off x="4572000" y="4306888"/>
              <a:ext cx="385763" cy="225425"/>
            </a:xfrm>
            <a:custGeom>
              <a:avLst/>
              <a:gdLst/>
              <a:ahLst/>
              <a:cxnLst>
                <a:cxn ang="0">
                  <a:pos x="0" y="0"/>
                </a:cxn>
                <a:cxn ang="0">
                  <a:pos x="0" y="142"/>
                </a:cxn>
                <a:cxn ang="0">
                  <a:pos x="243" y="142"/>
                </a:cxn>
              </a:cxnLst>
              <a:rect l="0" t="0" r="r" b="b"/>
              <a:pathLst>
                <a:path w="243" h="142">
                  <a:moveTo>
                    <a:pt x="0" y="0"/>
                  </a:moveTo>
                  <a:lnTo>
                    <a:pt x="0" y="142"/>
                  </a:lnTo>
                  <a:lnTo>
                    <a:pt x="243" y="142"/>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19" name="Freeform 829">
              <a:extLst>
                <a:ext uri="{FF2B5EF4-FFF2-40B4-BE49-F238E27FC236}">
                  <a16:creationId xmlns:a16="http://schemas.microsoft.com/office/drawing/2014/main" id="{BE280F3F-94BC-4C1B-9D1C-A06B62D47BD7}"/>
                </a:ext>
              </a:extLst>
            </p:cNvPr>
            <p:cNvSpPr>
              <a:spLocks/>
            </p:cNvSpPr>
            <p:nvPr/>
          </p:nvSpPr>
          <p:spPr bwMode="auto">
            <a:xfrm>
              <a:off x="4611688" y="4337051"/>
              <a:ext cx="260350" cy="168275"/>
            </a:xfrm>
            <a:custGeom>
              <a:avLst/>
              <a:gdLst/>
              <a:ahLst/>
              <a:cxnLst>
                <a:cxn ang="0">
                  <a:pos x="0" y="106"/>
                </a:cxn>
                <a:cxn ang="0">
                  <a:pos x="48" y="57"/>
                </a:cxn>
                <a:cxn ang="0">
                  <a:pos x="77" y="86"/>
                </a:cxn>
                <a:cxn ang="0">
                  <a:pos x="164" y="0"/>
                </a:cxn>
              </a:cxnLst>
              <a:rect l="0" t="0" r="r" b="b"/>
              <a:pathLst>
                <a:path w="164" h="106">
                  <a:moveTo>
                    <a:pt x="0" y="106"/>
                  </a:moveTo>
                  <a:lnTo>
                    <a:pt x="48" y="57"/>
                  </a:lnTo>
                  <a:lnTo>
                    <a:pt x="77" y="86"/>
                  </a:lnTo>
                  <a:lnTo>
                    <a:pt x="164" y="0"/>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20" name="Freeform 831">
              <a:extLst>
                <a:ext uri="{FF2B5EF4-FFF2-40B4-BE49-F238E27FC236}">
                  <a16:creationId xmlns:a16="http://schemas.microsoft.com/office/drawing/2014/main" id="{7A7BBAE7-7208-4B9A-B4D4-63541770FD3E}"/>
                </a:ext>
              </a:extLst>
            </p:cNvPr>
            <p:cNvSpPr>
              <a:spLocks/>
            </p:cNvSpPr>
            <p:nvPr/>
          </p:nvSpPr>
          <p:spPr bwMode="auto">
            <a:xfrm>
              <a:off x="4829175" y="4300538"/>
              <a:ext cx="74613" cy="77788"/>
            </a:xfrm>
            <a:custGeom>
              <a:avLst/>
              <a:gdLst/>
              <a:ahLst/>
              <a:cxnLst>
                <a:cxn ang="0">
                  <a:pos x="0" y="0"/>
                </a:cxn>
                <a:cxn ang="0">
                  <a:pos x="47" y="0"/>
                </a:cxn>
                <a:cxn ang="0">
                  <a:pos x="47" y="49"/>
                </a:cxn>
              </a:cxnLst>
              <a:rect l="0" t="0" r="r" b="b"/>
              <a:pathLst>
                <a:path w="47" h="49">
                  <a:moveTo>
                    <a:pt x="0" y="0"/>
                  </a:moveTo>
                  <a:lnTo>
                    <a:pt x="47" y="0"/>
                  </a:lnTo>
                  <a:lnTo>
                    <a:pt x="47" y="49"/>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sp>
        <p:nvSpPr>
          <p:cNvPr id="129" name="Text Placeholder 2">
            <a:extLst>
              <a:ext uri="{FF2B5EF4-FFF2-40B4-BE49-F238E27FC236}">
                <a16:creationId xmlns:a16="http://schemas.microsoft.com/office/drawing/2014/main" id="{B37FDAB7-8D97-47E1-BF0B-3131104836E3}"/>
              </a:ext>
            </a:extLst>
          </p:cNvPr>
          <p:cNvSpPr>
            <a:spLocks noGrp="1"/>
          </p:cNvSpPr>
          <p:nvPr>
            <p:ph type="body" sz="quarter" idx="10"/>
          </p:nvPr>
        </p:nvSpPr>
        <p:spPr>
          <a:xfrm>
            <a:off x="5177352" y="1090089"/>
            <a:ext cx="4464496" cy="379884"/>
          </a:xfrm>
        </p:spPr>
        <p:txBody>
          <a:bodyPr>
            <a:normAutofit/>
          </a:bodyPr>
          <a:lstStyle/>
          <a:p>
            <a:r>
              <a:rPr lang="nb-NO" sz="1800"/>
              <a:t>Data Management</a:t>
            </a:r>
          </a:p>
          <a:p>
            <a:endParaRPr lang="nb-NO" sz="1800"/>
          </a:p>
        </p:txBody>
      </p:sp>
      <p:sp>
        <p:nvSpPr>
          <p:cNvPr id="134" name="TextBox 133">
            <a:extLst>
              <a:ext uri="{FF2B5EF4-FFF2-40B4-BE49-F238E27FC236}">
                <a16:creationId xmlns:a16="http://schemas.microsoft.com/office/drawing/2014/main" id="{065B4607-6A64-4F40-872A-6FC523FB5AF2}"/>
              </a:ext>
            </a:extLst>
          </p:cNvPr>
          <p:cNvSpPr txBox="1"/>
          <p:nvPr/>
        </p:nvSpPr>
        <p:spPr>
          <a:xfrm>
            <a:off x="2511173" y="2267691"/>
            <a:ext cx="2592288" cy="369332"/>
          </a:xfrm>
          <a:prstGeom prst="rect">
            <a:avLst/>
          </a:prstGeom>
          <a:noFill/>
        </p:spPr>
        <p:txBody>
          <a:bodyPr wrap="square" rtlCol="0">
            <a:spAutoFit/>
          </a:bodyPr>
          <a:lstStyle/>
          <a:p>
            <a:r>
              <a:rPr lang="nb-NO"/>
              <a:t>Data </a:t>
            </a:r>
            <a:r>
              <a:rPr lang="nb-NO" dirty="0" err="1"/>
              <a:t>Quality</a:t>
            </a:r>
            <a:endParaRPr lang="nb-NO" dirty="0"/>
          </a:p>
        </p:txBody>
      </p:sp>
      <p:sp>
        <p:nvSpPr>
          <p:cNvPr id="138" name="TextBox 137">
            <a:extLst>
              <a:ext uri="{FF2B5EF4-FFF2-40B4-BE49-F238E27FC236}">
                <a16:creationId xmlns:a16="http://schemas.microsoft.com/office/drawing/2014/main" id="{90380516-9C9C-4176-88A2-225F3967286A}"/>
              </a:ext>
            </a:extLst>
          </p:cNvPr>
          <p:cNvSpPr txBox="1"/>
          <p:nvPr/>
        </p:nvSpPr>
        <p:spPr>
          <a:xfrm>
            <a:off x="8584706" y="4092438"/>
            <a:ext cx="3024336" cy="369332"/>
          </a:xfrm>
          <a:prstGeom prst="rect">
            <a:avLst/>
          </a:prstGeom>
          <a:noFill/>
        </p:spPr>
        <p:txBody>
          <a:bodyPr wrap="square" rtlCol="0">
            <a:spAutoFit/>
          </a:bodyPr>
          <a:lstStyle/>
          <a:p>
            <a:r>
              <a:rPr lang="nb-NO"/>
              <a:t>Data </a:t>
            </a:r>
            <a:r>
              <a:rPr lang="nb-NO" err="1"/>
              <a:t>Privacy</a:t>
            </a:r>
            <a:endParaRPr lang="nb-NO"/>
          </a:p>
        </p:txBody>
      </p:sp>
      <p:sp>
        <p:nvSpPr>
          <p:cNvPr id="141" name="Text Placeholder 2">
            <a:extLst>
              <a:ext uri="{FF2B5EF4-FFF2-40B4-BE49-F238E27FC236}">
                <a16:creationId xmlns:a16="http://schemas.microsoft.com/office/drawing/2014/main" id="{C2CCBCE7-0B5E-4C89-BD9D-3C8C28A3B29E}"/>
              </a:ext>
            </a:extLst>
          </p:cNvPr>
          <p:cNvSpPr txBox="1">
            <a:spLocks/>
          </p:cNvSpPr>
          <p:nvPr/>
        </p:nvSpPr>
        <p:spPr>
          <a:xfrm>
            <a:off x="8274555" y="2372938"/>
            <a:ext cx="4464496"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a:t>Data Architecture</a:t>
            </a:r>
          </a:p>
          <a:p>
            <a:endParaRPr lang="nb-NO" sz="1800"/>
          </a:p>
        </p:txBody>
      </p:sp>
      <p:sp>
        <p:nvSpPr>
          <p:cNvPr id="143" name="Text Placeholder 2">
            <a:extLst>
              <a:ext uri="{FF2B5EF4-FFF2-40B4-BE49-F238E27FC236}">
                <a16:creationId xmlns:a16="http://schemas.microsoft.com/office/drawing/2014/main" id="{603A37C6-02A0-46D9-ADFF-9687AC583F38}"/>
              </a:ext>
            </a:extLst>
          </p:cNvPr>
          <p:cNvSpPr txBox="1">
            <a:spLocks/>
          </p:cNvSpPr>
          <p:nvPr/>
        </p:nvSpPr>
        <p:spPr>
          <a:xfrm>
            <a:off x="1908260" y="4113517"/>
            <a:ext cx="4464496"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a:t>Data </a:t>
            </a:r>
            <a:r>
              <a:rPr lang="nb-NO" sz="1800" err="1"/>
              <a:t>Modelling</a:t>
            </a:r>
            <a:endParaRPr lang="nb-NO" sz="1800"/>
          </a:p>
          <a:p>
            <a:endParaRPr lang="nb-NO" sz="1800"/>
          </a:p>
        </p:txBody>
      </p:sp>
      <p:sp>
        <p:nvSpPr>
          <p:cNvPr id="144" name="TextBox 143">
            <a:extLst>
              <a:ext uri="{FF2B5EF4-FFF2-40B4-BE49-F238E27FC236}">
                <a16:creationId xmlns:a16="http://schemas.microsoft.com/office/drawing/2014/main" id="{62DB5779-885E-4C34-BAA4-94F35CC481CE}"/>
              </a:ext>
            </a:extLst>
          </p:cNvPr>
          <p:cNvSpPr txBox="1"/>
          <p:nvPr/>
        </p:nvSpPr>
        <p:spPr>
          <a:xfrm>
            <a:off x="7409600" y="5703780"/>
            <a:ext cx="2880320" cy="369332"/>
          </a:xfrm>
          <a:prstGeom prst="rect">
            <a:avLst/>
          </a:prstGeom>
          <a:noFill/>
        </p:spPr>
        <p:txBody>
          <a:bodyPr wrap="square" rtlCol="0">
            <a:spAutoFit/>
          </a:bodyPr>
          <a:lstStyle/>
          <a:p>
            <a:r>
              <a:rPr lang="nb-NO"/>
              <a:t>Metadata</a:t>
            </a:r>
          </a:p>
        </p:txBody>
      </p:sp>
      <p:sp>
        <p:nvSpPr>
          <p:cNvPr id="145" name="TextBox 144">
            <a:extLst>
              <a:ext uri="{FF2B5EF4-FFF2-40B4-BE49-F238E27FC236}">
                <a16:creationId xmlns:a16="http://schemas.microsoft.com/office/drawing/2014/main" id="{0830D84A-6645-4A0C-8472-0630991843CE}"/>
              </a:ext>
            </a:extLst>
          </p:cNvPr>
          <p:cNvSpPr txBox="1"/>
          <p:nvPr/>
        </p:nvSpPr>
        <p:spPr>
          <a:xfrm>
            <a:off x="3097511" y="5745666"/>
            <a:ext cx="2085995" cy="369332"/>
          </a:xfrm>
          <a:prstGeom prst="rect">
            <a:avLst/>
          </a:prstGeom>
          <a:noFill/>
        </p:spPr>
        <p:txBody>
          <a:bodyPr wrap="square" rtlCol="0">
            <a:spAutoFit/>
          </a:bodyPr>
          <a:lstStyle/>
          <a:p>
            <a:r>
              <a:rPr lang="nb-NO" err="1"/>
              <a:t>Documentation</a:t>
            </a:r>
            <a:endParaRPr lang="nb-NO"/>
          </a:p>
        </p:txBody>
      </p:sp>
      <p:pic>
        <p:nvPicPr>
          <p:cNvPr id="122" name="Graphic 121" descr="Label with solid fill">
            <a:extLst>
              <a:ext uri="{FF2B5EF4-FFF2-40B4-BE49-F238E27FC236}">
                <a16:creationId xmlns:a16="http://schemas.microsoft.com/office/drawing/2014/main" id="{265EA163-75B5-418B-A8D1-0BC40BB752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26020" y="5392412"/>
            <a:ext cx="610338" cy="610338"/>
          </a:xfrm>
          <a:prstGeom prst="rect">
            <a:avLst/>
          </a:prstGeom>
        </p:spPr>
      </p:pic>
      <p:pic>
        <p:nvPicPr>
          <p:cNvPr id="146" name="Graphic 145" descr="Blockchain with solid fill">
            <a:extLst>
              <a:ext uri="{FF2B5EF4-FFF2-40B4-BE49-F238E27FC236}">
                <a16:creationId xmlns:a16="http://schemas.microsoft.com/office/drawing/2014/main" id="{2D57AD4C-A153-44E3-89F5-E4AF840186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04360" y="3926049"/>
            <a:ext cx="610338" cy="610338"/>
          </a:xfrm>
          <a:prstGeom prst="rect">
            <a:avLst/>
          </a:prstGeom>
        </p:spPr>
      </p:pic>
      <p:pic>
        <p:nvPicPr>
          <p:cNvPr id="148" name="Graphic 147" descr="Drawing compass with solid fill">
            <a:extLst>
              <a:ext uri="{FF2B5EF4-FFF2-40B4-BE49-F238E27FC236}">
                <a16:creationId xmlns:a16="http://schemas.microsoft.com/office/drawing/2014/main" id="{94A47B4E-A779-4279-936A-AFD045537C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21844" y="2253212"/>
            <a:ext cx="610338" cy="610338"/>
          </a:xfrm>
          <a:prstGeom prst="rect">
            <a:avLst/>
          </a:prstGeom>
        </p:spPr>
      </p:pic>
      <p:pic>
        <p:nvPicPr>
          <p:cNvPr id="150" name="Graphic 149" descr="Board Of Directors with solid fill">
            <a:extLst>
              <a:ext uri="{FF2B5EF4-FFF2-40B4-BE49-F238E27FC236}">
                <a16:creationId xmlns:a16="http://schemas.microsoft.com/office/drawing/2014/main" id="{FFD7AD13-770B-43E5-8B7E-907AA0BAA96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74739" y="1462162"/>
            <a:ext cx="610338" cy="610338"/>
          </a:xfrm>
          <a:prstGeom prst="rect">
            <a:avLst/>
          </a:prstGeom>
        </p:spPr>
      </p:pic>
      <p:pic>
        <p:nvPicPr>
          <p:cNvPr id="154" name="Graphic 153" descr="Folder Search with solid fill">
            <a:extLst>
              <a:ext uri="{FF2B5EF4-FFF2-40B4-BE49-F238E27FC236}">
                <a16:creationId xmlns:a16="http://schemas.microsoft.com/office/drawing/2014/main" id="{C359D303-3C1A-4207-AA46-BF1CF727666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07493" y="5341152"/>
            <a:ext cx="599452" cy="599452"/>
          </a:xfrm>
          <a:prstGeom prst="rect">
            <a:avLst/>
          </a:prstGeom>
        </p:spPr>
      </p:pic>
      <p:sp>
        <p:nvSpPr>
          <p:cNvPr id="52" name="Text Placeholder 2">
            <a:extLst>
              <a:ext uri="{FF2B5EF4-FFF2-40B4-BE49-F238E27FC236}">
                <a16:creationId xmlns:a16="http://schemas.microsoft.com/office/drawing/2014/main" id="{AA4A6385-DEB8-4F1E-B148-26F78DB92D6F}"/>
              </a:ext>
            </a:extLst>
          </p:cNvPr>
          <p:cNvSpPr txBox="1">
            <a:spLocks/>
          </p:cNvSpPr>
          <p:nvPr/>
        </p:nvSpPr>
        <p:spPr>
          <a:xfrm>
            <a:off x="5207219" y="3496493"/>
            <a:ext cx="1833445" cy="74104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nb-NO" sz="1800"/>
              <a:t>DATA GOVERNANCE</a:t>
            </a:r>
          </a:p>
          <a:p>
            <a:pPr algn="ctr"/>
            <a:endParaRPr lang="nb-NO" sz="1800"/>
          </a:p>
        </p:txBody>
      </p:sp>
      <p:sp>
        <p:nvSpPr>
          <p:cNvPr id="53" name="Oval 52">
            <a:extLst>
              <a:ext uri="{FF2B5EF4-FFF2-40B4-BE49-F238E27FC236}">
                <a16:creationId xmlns:a16="http://schemas.microsoft.com/office/drawing/2014/main" id="{38B395AC-9DFA-4379-B632-AD1CAF7715C6}"/>
              </a:ext>
            </a:extLst>
          </p:cNvPr>
          <p:cNvSpPr/>
          <p:nvPr/>
        </p:nvSpPr>
        <p:spPr bwMode="auto">
          <a:xfrm>
            <a:off x="3654119" y="2979747"/>
            <a:ext cx="788999" cy="756311"/>
          </a:xfrm>
          <a:prstGeom prst="ellipse">
            <a:avLst/>
          </a:prstGeom>
          <a:solidFill>
            <a:schemeClr val="tx2">
              <a:lumMod val="90000"/>
              <a:lumOff val="1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4" name="Oval 53">
            <a:extLst>
              <a:ext uri="{FF2B5EF4-FFF2-40B4-BE49-F238E27FC236}">
                <a16:creationId xmlns:a16="http://schemas.microsoft.com/office/drawing/2014/main" id="{9336BEEE-AA0C-4285-B362-D5EA297899C7}"/>
              </a:ext>
            </a:extLst>
          </p:cNvPr>
          <p:cNvSpPr/>
          <p:nvPr/>
        </p:nvSpPr>
        <p:spPr bwMode="auto">
          <a:xfrm>
            <a:off x="4017432" y="4706680"/>
            <a:ext cx="788999" cy="756311"/>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5" name="Oval 54">
            <a:extLst>
              <a:ext uri="{FF2B5EF4-FFF2-40B4-BE49-F238E27FC236}">
                <a16:creationId xmlns:a16="http://schemas.microsoft.com/office/drawing/2014/main" id="{82237457-7B31-46BC-9B3F-9AB50A205A89}"/>
              </a:ext>
            </a:extLst>
          </p:cNvPr>
          <p:cNvSpPr/>
          <p:nvPr/>
        </p:nvSpPr>
        <p:spPr bwMode="auto">
          <a:xfrm>
            <a:off x="5708323" y="5416815"/>
            <a:ext cx="788999" cy="756311"/>
          </a:xfrm>
          <a:prstGeom prst="ellipse">
            <a:avLst/>
          </a:prstGeom>
          <a:solidFill>
            <a:schemeClr val="accent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6" name="Oval 55">
            <a:extLst>
              <a:ext uri="{FF2B5EF4-FFF2-40B4-BE49-F238E27FC236}">
                <a16:creationId xmlns:a16="http://schemas.microsoft.com/office/drawing/2014/main" id="{1C6F6ABF-20BA-4864-B7E1-F795B4E02870}"/>
              </a:ext>
            </a:extLst>
          </p:cNvPr>
          <p:cNvSpPr/>
          <p:nvPr/>
        </p:nvSpPr>
        <p:spPr bwMode="auto">
          <a:xfrm>
            <a:off x="7408141" y="4689446"/>
            <a:ext cx="788999" cy="756311"/>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7" name="Oval 56">
            <a:extLst>
              <a:ext uri="{FF2B5EF4-FFF2-40B4-BE49-F238E27FC236}">
                <a16:creationId xmlns:a16="http://schemas.microsoft.com/office/drawing/2014/main" id="{75A6203A-1162-4F2E-AA32-B99878C96E21}"/>
              </a:ext>
            </a:extLst>
          </p:cNvPr>
          <p:cNvSpPr/>
          <p:nvPr/>
        </p:nvSpPr>
        <p:spPr bwMode="auto">
          <a:xfrm>
            <a:off x="7786874" y="3002401"/>
            <a:ext cx="788999" cy="756311"/>
          </a:xfrm>
          <a:prstGeom prst="ellipse">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8" name="Oval 57">
            <a:extLst>
              <a:ext uri="{FF2B5EF4-FFF2-40B4-BE49-F238E27FC236}">
                <a16:creationId xmlns:a16="http://schemas.microsoft.com/office/drawing/2014/main" id="{3EF13A74-153B-4109-A0BC-6B4379768288}"/>
              </a:ext>
            </a:extLst>
          </p:cNvPr>
          <p:cNvSpPr/>
          <p:nvPr/>
        </p:nvSpPr>
        <p:spPr bwMode="auto">
          <a:xfrm>
            <a:off x="6706840" y="1567136"/>
            <a:ext cx="788999" cy="756311"/>
          </a:xfrm>
          <a:prstGeom prst="ellipse">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9" name="Oval 58">
            <a:extLst>
              <a:ext uri="{FF2B5EF4-FFF2-40B4-BE49-F238E27FC236}">
                <a16:creationId xmlns:a16="http://schemas.microsoft.com/office/drawing/2014/main" id="{692517F4-9C03-4CF6-ACE3-91979496ED93}"/>
              </a:ext>
            </a:extLst>
          </p:cNvPr>
          <p:cNvSpPr/>
          <p:nvPr/>
        </p:nvSpPr>
        <p:spPr bwMode="auto">
          <a:xfrm>
            <a:off x="4781994" y="1543964"/>
            <a:ext cx="788999" cy="756311"/>
          </a:xfrm>
          <a:prstGeom prst="ellipse">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60" name="TextBox 59">
            <a:extLst>
              <a:ext uri="{FF2B5EF4-FFF2-40B4-BE49-F238E27FC236}">
                <a16:creationId xmlns:a16="http://schemas.microsoft.com/office/drawing/2014/main" id="{BDBC6530-A1BF-44B4-91F4-EBF9CDF59D28}"/>
              </a:ext>
            </a:extLst>
          </p:cNvPr>
          <p:cNvSpPr txBox="1"/>
          <p:nvPr/>
        </p:nvSpPr>
        <p:spPr>
          <a:xfrm>
            <a:off x="5356621" y="6141264"/>
            <a:ext cx="2085995" cy="646331"/>
          </a:xfrm>
          <a:prstGeom prst="rect">
            <a:avLst/>
          </a:prstGeom>
          <a:noFill/>
        </p:spPr>
        <p:txBody>
          <a:bodyPr wrap="square" rtlCol="0">
            <a:spAutoFit/>
          </a:bodyPr>
          <a:lstStyle/>
          <a:p>
            <a:r>
              <a:rPr lang="nb-NO"/>
              <a:t>Data Catalog</a:t>
            </a:r>
          </a:p>
          <a:p>
            <a:endParaRPr lang="nb-NO"/>
          </a:p>
        </p:txBody>
      </p:sp>
      <p:sp>
        <p:nvSpPr>
          <p:cNvPr id="61" name="TextBox 60">
            <a:extLst>
              <a:ext uri="{FF2B5EF4-FFF2-40B4-BE49-F238E27FC236}">
                <a16:creationId xmlns:a16="http://schemas.microsoft.com/office/drawing/2014/main" id="{5A4FD6D8-ED8C-4FF1-B05B-43412BDCBB74}"/>
              </a:ext>
            </a:extLst>
          </p:cNvPr>
          <p:cNvSpPr txBox="1"/>
          <p:nvPr/>
        </p:nvSpPr>
        <p:spPr>
          <a:xfrm>
            <a:off x="7415504" y="1434527"/>
            <a:ext cx="2268252" cy="369332"/>
          </a:xfrm>
          <a:prstGeom prst="rect">
            <a:avLst/>
          </a:prstGeom>
          <a:noFill/>
        </p:spPr>
        <p:txBody>
          <a:bodyPr wrap="square" rtlCol="0">
            <a:spAutoFit/>
          </a:bodyPr>
          <a:lstStyle/>
          <a:p>
            <a:r>
              <a:rPr lang="nb-NO"/>
              <a:t>Business </a:t>
            </a:r>
            <a:r>
              <a:rPr lang="nb-NO" err="1"/>
              <a:t>Glossary</a:t>
            </a:r>
            <a:endParaRPr lang="nb-NO"/>
          </a:p>
        </p:txBody>
      </p:sp>
      <p:sp>
        <p:nvSpPr>
          <p:cNvPr id="62" name="TextBox 61">
            <a:extLst>
              <a:ext uri="{FF2B5EF4-FFF2-40B4-BE49-F238E27FC236}">
                <a16:creationId xmlns:a16="http://schemas.microsoft.com/office/drawing/2014/main" id="{4C211ACA-D01C-4A8E-9DC3-1AC40D28EA81}"/>
              </a:ext>
            </a:extLst>
          </p:cNvPr>
          <p:cNvSpPr txBox="1"/>
          <p:nvPr/>
        </p:nvSpPr>
        <p:spPr>
          <a:xfrm>
            <a:off x="2072524" y="3185459"/>
            <a:ext cx="1860790" cy="369332"/>
          </a:xfrm>
          <a:prstGeom prst="rect">
            <a:avLst/>
          </a:prstGeom>
          <a:noFill/>
        </p:spPr>
        <p:txBody>
          <a:bodyPr wrap="square" rtlCol="0">
            <a:spAutoFit/>
          </a:bodyPr>
          <a:lstStyle/>
          <a:p>
            <a:r>
              <a:rPr lang="nb-NO"/>
              <a:t>Data </a:t>
            </a:r>
            <a:r>
              <a:rPr lang="nb-NO" err="1"/>
              <a:t>Lineage</a:t>
            </a:r>
            <a:endParaRPr lang="nb-NO"/>
          </a:p>
        </p:txBody>
      </p:sp>
      <p:pic>
        <p:nvPicPr>
          <p:cNvPr id="63" name="Graphic 62" descr="Books with solid fill">
            <a:extLst>
              <a:ext uri="{FF2B5EF4-FFF2-40B4-BE49-F238E27FC236}">
                <a16:creationId xmlns:a16="http://schemas.microsoft.com/office/drawing/2014/main" id="{E760C45F-EDCC-47C2-956A-A32EF530E96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63453" y="5559690"/>
            <a:ext cx="496944" cy="496944"/>
          </a:xfrm>
          <a:prstGeom prst="rect">
            <a:avLst/>
          </a:prstGeom>
        </p:spPr>
      </p:pic>
      <p:pic>
        <p:nvPicPr>
          <p:cNvPr id="64" name="Graphic 63" descr="Cause And Effect with solid fill">
            <a:extLst>
              <a:ext uri="{FF2B5EF4-FFF2-40B4-BE49-F238E27FC236}">
                <a16:creationId xmlns:a16="http://schemas.microsoft.com/office/drawing/2014/main" id="{8BD94A63-31D7-4134-B216-17325DD75B2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732713" y="3102718"/>
            <a:ext cx="610338" cy="610338"/>
          </a:xfrm>
          <a:prstGeom prst="rect">
            <a:avLst/>
          </a:prstGeom>
        </p:spPr>
      </p:pic>
      <p:pic>
        <p:nvPicPr>
          <p:cNvPr id="65" name="Graphic 64" descr="Calligraphy Pen with solid fill">
            <a:extLst>
              <a:ext uri="{FF2B5EF4-FFF2-40B4-BE49-F238E27FC236}">
                <a16:creationId xmlns:a16="http://schemas.microsoft.com/office/drawing/2014/main" id="{323F2383-9340-4A16-AA21-077FE7F73EE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851123" y="1691941"/>
            <a:ext cx="457826" cy="457826"/>
          </a:xfrm>
          <a:prstGeom prst="rect">
            <a:avLst/>
          </a:prstGeom>
        </p:spPr>
      </p:pic>
      <p:pic>
        <p:nvPicPr>
          <p:cNvPr id="27" name="Graphic 26" descr="Continuous Improvement with solid fill">
            <a:extLst>
              <a:ext uri="{FF2B5EF4-FFF2-40B4-BE49-F238E27FC236}">
                <a16:creationId xmlns:a16="http://schemas.microsoft.com/office/drawing/2014/main" id="{5D9F01D5-28FC-4430-85D3-B3ECF73F182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516585" y="4777023"/>
            <a:ext cx="607200" cy="607200"/>
          </a:xfrm>
          <a:prstGeom prst="rect">
            <a:avLst/>
          </a:prstGeom>
        </p:spPr>
      </p:pic>
      <p:pic>
        <p:nvPicPr>
          <p:cNvPr id="29" name="Graphic 28" descr="Box with solid fill">
            <a:extLst>
              <a:ext uri="{FF2B5EF4-FFF2-40B4-BE49-F238E27FC236}">
                <a16:creationId xmlns:a16="http://schemas.microsoft.com/office/drawing/2014/main" id="{ABCAB84B-8C5B-41C4-8998-D78C04A7849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877773" y="3068350"/>
            <a:ext cx="607200" cy="607200"/>
          </a:xfrm>
          <a:prstGeom prst="rect">
            <a:avLst/>
          </a:prstGeom>
        </p:spPr>
      </p:pic>
      <p:pic>
        <p:nvPicPr>
          <p:cNvPr id="71" name="Graphic 70" descr="Checklist">
            <a:extLst>
              <a:ext uri="{FF2B5EF4-FFF2-40B4-BE49-F238E27FC236}">
                <a16:creationId xmlns:a16="http://schemas.microsoft.com/office/drawing/2014/main" id="{D2C5906F-67CD-49B5-8236-2CF6981D6B0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129391" y="4826464"/>
            <a:ext cx="533460" cy="533460"/>
          </a:xfrm>
          <a:prstGeom prst="rect">
            <a:avLst/>
          </a:prstGeom>
        </p:spPr>
      </p:pic>
      <p:pic>
        <p:nvPicPr>
          <p:cNvPr id="72" name="Graphic 71" descr="Target Audience">
            <a:extLst>
              <a:ext uri="{FF2B5EF4-FFF2-40B4-BE49-F238E27FC236}">
                <a16:creationId xmlns:a16="http://schemas.microsoft.com/office/drawing/2014/main" id="{0EE8E924-26F2-4A78-AC82-07D7BE4922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868965" y="1617389"/>
            <a:ext cx="583297" cy="583297"/>
          </a:xfrm>
          <a:prstGeom prst="rect">
            <a:avLst/>
          </a:prstGeom>
        </p:spPr>
      </p:pic>
      <p:sp>
        <p:nvSpPr>
          <p:cNvPr id="73" name="TextBox 72">
            <a:extLst>
              <a:ext uri="{FF2B5EF4-FFF2-40B4-BE49-F238E27FC236}">
                <a16:creationId xmlns:a16="http://schemas.microsoft.com/office/drawing/2014/main" id="{5BF1D4E2-7215-43BD-B974-46C405A86C65}"/>
              </a:ext>
            </a:extLst>
          </p:cNvPr>
          <p:cNvSpPr txBox="1"/>
          <p:nvPr/>
        </p:nvSpPr>
        <p:spPr>
          <a:xfrm>
            <a:off x="8713821" y="3185459"/>
            <a:ext cx="3024336" cy="369332"/>
          </a:xfrm>
          <a:prstGeom prst="rect">
            <a:avLst/>
          </a:prstGeom>
          <a:noFill/>
        </p:spPr>
        <p:txBody>
          <a:bodyPr wrap="square" rtlCol="0">
            <a:spAutoFit/>
          </a:bodyPr>
          <a:lstStyle/>
          <a:p>
            <a:r>
              <a:rPr lang="nb-NO"/>
              <a:t>Data Storage</a:t>
            </a:r>
          </a:p>
        </p:txBody>
      </p:sp>
      <p:sp>
        <p:nvSpPr>
          <p:cNvPr id="74" name="TextBox 73">
            <a:extLst>
              <a:ext uri="{FF2B5EF4-FFF2-40B4-BE49-F238E27FC236}">
                <a16:creationId xmlns:a16="http://schemas.microsoft.com/office/drawing/2014/main" id="{4B9D27CA-68F1-4C52-AB63-15D5F6714E22}"/>
              </a:ext>
            </a:extLst>
          </p:cNvPr>
          <p:cNvSpPr txBox="1"/>
          <p:nvPr/>
        </p:nvSpPr>
        <p:spPr>
          <a:xfrm>
            <a:off x="8268923" y="4971820"/>
            <a:ext cx="3024336" cy="369332"/>
          </a:xfrm>
          <a:prstGeom prst="rect">
            <a:avLst/>
          </a:prstGeom>
          <a:noFill/>
        </p:spPr>
        <p:txBody>
          <a:bodyPr wrap="square" rtlCol="0">
            <a:spAutoFit/>
          </a:bodyPr>
          <a:lstStyle/>
          <a:p>
            <a:r>
              <a:rPr lang="nb-NO" err="1"/>
              <a:t>Processes</a:t>
            </a:r>
            <a:endParaRPr lang="nb-NO"/>
          </a:p>
        </p:txBody>
      </p:sp>
      <p:sp>
        <p:nvSpPr>
          <p:cNvPr id="75" name="TextBox 74">
            <a:extLst>
              <a:ext uri="{FF2B5EF4-FFF2-40B4-BE49-F238E27FC236}">
                <a16:creationId xmlns:a16="http://schemas.microsoft.com/office/drawing/2014/main" id="{0545D77D-F10C-4930-8BE5-0E83A9280A5D}"/>
              </a:ext>
            </a:extLst>
          </p:cNvPr>
          <p:cNvSpPr txBox="1"/>
          <p:nvPr/>
        </p:nvSpPr>
        <p:spPr>
          <a:xfrm>
            <a:off x="2661207" y="5026615"/>
            <a:ext cx="3024336" cy="369332"/>
          </a:xfrm>
          <a:prstGeom prst="rect">
            <a:avLst/>
          </a:prstGeom>
          <a:noFill/>
        </p:spPr>
        <p:txBody>
          <a:bodyPr wrap="square" rtlCol="0">
            <a:spAutoFit/>
          </a:bodyPr>
          <a:lstStyle/>
          <a:p>
            <a:r>
              <a:rPr lang="nb-NO" err="1"/>
              <a:t>Policies</a:t>
            </a:r>
            <a:endParaRPr lang="nb-NO"/>
          </a:p>
        </p:txBody>
      </p:sp>
      <p:sp>
        <p:nvSpPr>
          <p:cNvPr id="76" name="TextBox 75">
            <a:extLst>
              <a:ext uri="{FF2B5EF4-FFF2-40B4-BE49-F238E27FC236}">
                <a16:creationId xmlns:a16="http://schemas.microsoft.com/office/drawing/2014/main" id="{96025B90-1E78-46AA-BCCB-D63CDFB3A2F3}"/>
              </a:ext>
            </a:extLst>
          </p:cNvPr>
          <p:cNvSpPr txBox="1"/>
          <p:nvPr/>
        </p:nvSpPr>
        <p:spPr>
          <a:xfrm>
            <a:off x="3929065" y="1392347"/>
            <a:ext cx="3024336" cy="369332"/>
          </a:xfrm>
          <a:prstGeom prst="rect">
            <a:avLst/>
          </a:prstGeom>
          <a:noFill/>
        </p:spPr>
        <p:txBody>
          <a:bodyPr wrap="square" rtlCol="0">
            <a:spAutoFit/>
          </a:bodyPr>
          <a:lstStyle/>
          <a:p>
            <a:r>
              <a:rPr lang="nb-NO" err="1"/>
              <a:t>Roles</a:t>
            </a:r>
            <a:endParaRPr lang="nb-NO"/>
          </a:p>
        </p:txBody>
      </p:sp>
      <p:pic>
        <p:nvPicPr>
          <p:cNvPr id="77" name="Graphic 76" descr="Police female outline">
            <a:extLst>
              <a:ext uri="{FF2B5EF4-FFF2-40B4-BE49-F238E27FC236}">
                <a16:creationId xmlns:a16="http://schemas.microsoft.com/office/drawing/2014/main" id="{BDA513F2-7FB4-4232-91F2-01CE937EDB1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931437" y="4025305"/>
            <a:ext cx="517537" cy="517537"/>
          </a:xfrm>
          <a:prstGeom prst="rect">
            <a:avLst/>
          </a:prstGeom>
        </p:spPr>
      </p:pic>
    </p:spTree>
    <p:extLst>
      <p:ext uri="{BB962C8B-B14F-4D97-AF65-F5344CB8AC3E}">
        <p14:creationId xmlns:p14="http://schemas.microsoft.com/office/powerpoint/2010/main" val="39205217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chemeClr val="bg2"/>
          </a:solidFill>
        </p:spPr>
        <p:txBody>
          <a:bodyPr lIns="91440" tIns="108000"/>
          <a:lstStyle/>
          <a:p>
            <a:r>
              <a:rPr lang="en-GB"/>
              <a:t>First level</a:t>
            </a:r>
          </a:p>
          <a:p>
            <a:pPr lvl="1"/>
            <a:r>
              <a:rPr lang="en-GB"/>
              <a:t>Second level</a:t>
            </a:r>
          </a:p>
          <a:p>
            <a:pPr lvl="2"/>
            <a:r>
              <a:rPr lang="en-GB"/>
              <a:t>Third level</a:t>
            </a:r>
          </a:p>
          <a:p>
            <a:pPr lvl="3"/>
            <a:r>
              <a:rPr lang="en-GB"/>
              <a:t>Fourth level</a:t>
            </a:r>
          </a:p>
          <a:p>
            <a:pPr lvl="4"/>
            <a:r>
              <a:rPr lang="en-GB"/>
              <a:t>Fifth level</a:t>
            </a:r>
          </a:p>
          <a:p>
            <a:pPr lvl="1"/>
            <a:endParaRPr lang="en-GB"/>
          </a:p>
          <a:p>
            <a:endParaRPr lang="en-GB"/>
          </a:p>
        </p:txBody>
      </p:sp>
      <p:sp>
        <p:nvSpPr>
          <p:cNvPr id="6" name="Text Placeholder 5"/>
          <p:cNvSpPr>
            <a:spLocks noGrp="1"/>
          </p:cNvSpPr>
          <p:nvPr>
            <p:ph type="body" sz="quarter" idx="12"/>
          </p:nvPr>
        </p:nvSpPr>
        <p:spPr>
          <a:solidFill>
            <a:schemeClr val="accent4"/>
          </a:solidFill>
        </p:spPr>
        <p:txBody>
          <a:bodyPr lIns="91440" tIns="0" rIns="36000"/>
          <a:lstStyle/>
          <a:p>
            <a:r>
              <a:rPr lang="en-GB"/>
              <a:t>HEADER</a:t>
            </a:r>
          </a:p>
        </p:txBody>
      </p:sp>
      <p:sp>
        <p:nvSpPr>
          <p:cNvPr id="7" name="Text Placeholder 6"/>
          <p:cNvSpPr>
            <a:spLocks noGrp="1"/>
          </p:cNvSpPr>
          <p:nvPr>
            <p:ph type="body" sz="quarter" idx="13"/>
          </p:nvPr>
        </p:nvSpPr>
        <p:spPr>
          <a:solidFill>
            <a:schemeClr val="accent4"/>
          </a:solidFill>
        </p:spPr>
        <p:txBody>
          <a:bodyPr lIns="91440" tIns="0" rIns="36000"/>
          <a:lstStyle/>
          <a:p>
            <a:r>
              <a:rPr lang="en-GB"/>
              <a:t>HEADER</a:t>
            </a:r>
          </a:p>
        </p:txBody>
      </p:sp>
      <p:sp>
        <p:nvSpPr>
          <p:cNvPr id="8" name="Text Placeholder 7"/>
          <p:cNvSpPr>
            <a:spLocks noGrp="1"/>
          </p:cNvSpPr>
          <p:nvPr>
            <p:ph type="body" sz="quarter" idx="14"/>
          </p:nvPr>
        </p:nvSpPr>
        <p:spPr>
          <a:solidFill>
            <a:schemeClr val="bg2"/>
          </a:solidFill>
        </p:spPr>
        <p:txBody>
          <a:bodyPr lIns="91440" tIns="108000"/>
          <a:lstStyle/>
          <a:p>
            <a:r>
              <a:rPr lang="en-GB"/>
              <a:t>First level</a:t>
            </a:r>
          </a:p>
          <a:p>
            <a:pPr lvl="1"/>
            <a:r>
              <a:rPr lang="en-GB"/>
              <a:t>Second level</a:t>
            </a:r>
          </a:p>
          <a:p>
            <a:pPr lvl="2"/>
            <a:r>
              <a:rPr lang="en-GB"/>
              <a:t>Third level</a:t>
            </a:r>
          </a:p>
          <a:p>
            <a:pPr lvl="3"/>
            <a:r>
              <a:rPr lang="en-GB"/>
              <a:t>Fourth level</a:t>
            </a:r>
          </a:p>
          <a:p>
            <a:pPr lvl="4"/>
            <a:r>
              <a:rPr lang="en-GB"/>
              <a:t>Fifth level</a:t>
            </a:r>
          </a:p>
          <a:p>
            <a:pPr lvl="1"/>
            <a:endParaRPr lang="en-GB"/>
          </a:p>
          <a:p>
            <a:endParaRPr lang="en-GB"/>
          </a:p>
        </p:txBody>
      </p:sp>
      <p:cxnSp>
        <p:nvCxnSpPr>
          <p:cNvPr id="14" name="Straight Connector 13"/>
          <p:cNvCxnSpPr>
            <a:cxnSpLocks/>
          </p:cNvCxnSpPr>
          <p:nvPr/>
        </p:nvCxnSpPr>
        <p:spPr>
          <a:xfrm>
            <a:off x="6096000" y="2205319"/>
            <a:ext cx="0" cy="4257392"/>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a:xfrm>
            <a:off x="404813" y="388188"/>
            <a:ext cx="10947772" cy="716711"/>
          </a:xfrm>
        </p:spPr>
        <p:txBody>
          <a:bodyPr/>
          <a:lstStyle/>
          <a:p>
            <a:r>
              <a:rPr lang="en-GB"/>
              <a:t>Title</a:t>
            </a:r>
            <a:br>
              <a:rPr lang="en-GB"/>
            </a:br>
            <a:r>
              <a:rPr lang="en-GB"/>
              <a:t>(Work for 1 or 2 lines of title)</a:t>
            </a: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4813" y="388188"/>
            <a:ext cx="10947772" cy="716711"/>
          </a:xfrm>
        </p:spPr>
        <p:txBody>
          <a:bodyPr/>
          <a:lstStyle/>
          <a:p>
            <a:r>
              <a:rPr lang="en-GB"/>
              <a:t>Title</a:t>
            </a:r>
            <a:br>
              <a:rPr lang="en-GB"/>
            </a:br>
            <a:r>
              <a:rPr lang="en-GB"/>
              <a:t>(Work for 1 or 2 lines of title)</a:t>
            </a:r>
          </a:p>
        </p:txBody>
      </p:sp>
      <p:sp>
        <p:nvSpPr>
          <p:cNvPr id="5" name="Text Placeholder 4"/>
          <p:cNvSpPr>
            <a:spLocks noGrp="1"/>
          </p:cNvSpPr>
          <p:nvPr>
            <p:ph type="body" sz="quarter" idx="10"/>
          </p:nvPr>
        </p:nvSpPr>
        <p:spPr>
          <a:xfrm>
            <a:off x="404814" y="2305094"/>
            <a:ext cx="3456432"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a:p>
            <a:pPr lvl="1">
              <a:buNone/>
            </a:pPr>
            <a:endParaRPr lang="en-GB"/>
          </a:p>
          <a:p>
            <a:endParaRPr lang="en-GB"/>
          </a:p>
        </p:txBody>
      </p:sp>
      <p:sp>
        <p:nvSpPr>
          <p:cNvPr id="6" name="Text Placeholder 5"/>
          <p:cNvSpPr>
            <a:spLocks noGrp="1"/>
          </p:cNvSpPr>
          <p:nvPr>
            <p:ph type="body" sz="quarter" idx="12"/>
          </p:nvPr>
        </p:nvSpPr>
        <p:spPr>
          <a:xfrm>
            <a:off x="404813" y="1327151"/>
            <a:ext cx="3456432" cy="716711"/>
          </a:xfrm>
          <a:solidFill>
            <a:srgbClr val="007D74"/>
          </a:solidFill>
        </p:spPr>
        <p:txBody>
          <a:bodyPr/>
          <a:lstStyle/>
          <a:p>
            <a:r>
              <a:rPr lang="en-GB" sz="1800">
                <a:solidFill>
                  <a:schemeClr val="bg1"/>
                </a:solidFill>
              </a:rPr>
              <a:t>Header</a:t>
            </a:r>
          </a:p>
        </p:txBody>
      </p:sp>
      <p:sp>
        <p:nvSpPr>
          <p:cNvPr id="7" name="Text Placeholder 6"/>
          <p:cNvSpPr>
            <a:spLocks noGrp="1"/>
          </p:cNvSpPr>
          <p:nvPr>
            <p:ph type="body" sz="quarter" idx="14"/>
          </p:nvPr>
        </p:nvSpPr>
        <p:spPr>
          <a:xfrm>
            <a:off x="4365775" y="2305094"/>
            <a:ext cx="3456432"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a:p>
            <a:pPr lvl="1">
              <a:buNone/>
            </a:pPr>
            <a:endParaRPr lang="en-GB"/>
          </a:p>
          <a:p>
            <a:endParaRPr lang="en-GB"/>
          </a:p>
        </p:txBody>
      </p:sp>
      <p:sp>
        <p:nvSpPr>
          <p:cNvPr id="8" name="Text Placeholder 7"/>
          <p:cNvSpPr>
            <a:spLocks noGrp="1"/>
          </p:cNvSpPr>
          <p:nvPr>
            <p:ph type="body" sz="quarter" idx="15"/>
          </p:nvPr>
        </p:nvSpPr>
        <p:spPr>
          <a:solidFill>
            <a:srgbClr val="007D74"/>
          </a:solidFill>
        </p:spPr>
        <p:txBody>
          <a:bodyPr/>
          <a:lstStyle/>
          <a:p>
            <a:r>
              <a:rPr lang="en-GB" sz="1800">
                <a:solidFill>
                  <a:schemeClr val="bg1"/>
                </a:solidFill>
              </a:rPr>
              <a:t>Header</a:t>
            </a:r>
          </a:p>
        </p:txBody>
      </p:sp>
      <p:sp>
        <p:nvSpPr>
          <p:cNvPr id="9" name="Text Placeholder 8"/>
          <p:cNvSpPr>
            <a:spLocks noGrp="1"/>
          </p:cNvSpPr>
          <p:nvPr>
            <p:ph type="body" sz="quarter" idx="16"/>
          </p:nvPr>
        </p:nvSpPr>
        <p:spPr>
          <a:xfrm>
            <a:off x="8326737" y="2305094"/>
            <a:ext cx="3456429" cy="4076234"/>
          </a:xfrm>
        </p:spPr>
        <p:txBody>
          <a:bodyPr/>
          <a:lstStyle/>
          <a:p>
            <a:r>
              <a:rPr lang="en-GB"/>
              <a:t>First level</a:t>
            </a:r>
          </a:p>
          <a:p>
            <a:pPr lvl="1"/>
            <a:r>
              <a:rPr lang="en-GB"/>
              <a:t>Second level</a:t>
            </a:r>
          </a:p>
          <a:p>
            <a:pPr lvl="2"/>
            <a:r>
              <a:rPr lang="en-GB"/>
              <a:t>Third level</a:t>
            </a:r>
          </a:p>
          <a:p>
            <a:pPr lvl="3"/>
            <a:r>
              <a:rPr lang="en-GB"/>
              <a:t>Fourth level</a:t>
            </a:r>
          </a:p>
          <a:p>
            <a:pPr lvl="4"/>
            <a:r>
              <a:rPr lang="en-GB"/>
              <a:t>Fifth level</a:t>
            </a:r>
          </a:p>
          <a:p>
            <a:pPr lvl="1">
              <a:buNone/>
            </a:pPr>
            <a:endParaRPr lang="en-GB"/>
          </a:p>
          <a:p>
            <a:endParaRPr lang="en-GB"/>
          </a:p>
        </p:txBody>
      </p:sp>
      <p:sp>
        <p:nvSpPr>
          <p:cNvPr id="10" name="Text Placeholder 9"/>
          <p:cNvSpPr>
            <a:spLocks noGrp="1"/>
          </p:cNvSpPr>
          <p:nvPr>
            <p:ph type="body" sz="quarter" idx="17"/>
          </p:nvPr>
        </p:nvSpPr>
        <p:spPr>
          <a:solidFill>
            <a:srgbClr val="007D74"/>
          </a:solidFill>
        </p:spPr>
        <p:txBody>
          <a:bodyPr/>
          <a:lstStyle/>
          <a:p>
            <a:r>
              <a:rPr lang="en-GB" sz="1800">
                <a:solidFill>
                  <a:schemeClr val="bg1"/>
                </a:solidFill>
              </a:rPr>
              <a:t>Header</a:t>
            </a:r>
          </a:p>
        </p:txBody>
      </p:sp>
      <p:cxnSp>
        <p:nvCxnSpPr>
          <p:cNvPr id="14" name="Straight Connector 13"/>
          <p:cNvCxnSpPr>
            <a:cxnSpLocks/>
          </p:cNvCxnSpPr>
          <p:nvPr/>
        </p:nvCxnSpPr>
        <p:spPr>
          <a:xfrm>
            <a:off x="4113511"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8074472" y="1327151"/>
            <a:ext cx="0" cy="4954402"/>
          </a:xfrm>
          <a:prstGeom prst="line">
            <a:avLst/>
          </a:prstGeom>
          <a:solidFill>
            <a:schemeClr val="tx1"/>
          </a:solidFill>
          <a:ln w="38100" cap="flat">
            <a:solidFill>
              <a:schemeClr val="accent4"/>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99DF1264-1680-43AE-BBBA-A212B9E7DF25}"/>
              </a:ext>
            </a:extLst>
          </p:cNvPr>
          <p:cNvSpPr>
            <a:spLocks noGrp="1"/>
          </p:cNvSpPr>
          <p:nvPr>
            <p:ph type="title"/>
          </p:nvPr>
        </p:nvSpPr>
        <p:spPr>
          <a:xfrm>
            <a:off x="404813" y="388188"/>
            <a:ext cx="10947772" cy="716711"/>
          </a:xfrm>
        </p:spPr>
        <p:txBody>
          <a:bodyPr/>
          <a:lstStyle/>
          <a:p>
            <a:r>
              <a:rPr lang="en-GB"/>
              <a:t>Title</a:t>
            </a:r>
            <a:br>
              <a:rPr lang="en-GB"/>
            </a:br>
            <a:r>
              <a:rPr lang="en-GB"/>
              <a:t>(Work for 1 or 2 lines of title)</a:t>
            </a:r>
          </a:p>
        </p:txBody>
      </p:sp>
      <p:sp>
        <p:nvSpPr>
          <p:cNvPr id="27" name="Text Placeholder 26">
            <a:extLst>
              <a:ext uri="{FF2B5EF4-FFF2-40B4-BE49-F238E27FC236}">
                <a16:creationId xmlns:a16="http://schemas.microsoft.com/office/drawing/2014/main" id="{82517181-BAAE-4DC6-BAA4-C0878711B334}"/>
              </a:ext>
            </a:extLst>
          </p:cNvPr>
          <p:cNvSpPr>
            <a:spLocks noGrp="1"/>
          </p:cNvSpPr>
          <p:nvPr>
            <p:ph type="body" sz="quarter" idx="13"/>
          </p:nvPr>
        </p:nvSpPr>
        <p:spPr/>
        <p:txBody>
          <a:bodyPr/>
          <a:lstStyle/>
          <a:p>
            <a:endParaRPr lang="en-GB"/>
          </a:p>
        </p:txBody>
      </p:sp>
      <p:sp>
        <p:nvSpPr>
          <p:cNvPr id="28" name="Text Placeholder 27">
            <a:extLst>
              <a:ext uri="{FF2B5EF4-FFF2-40B4-BE49-F238E27FC236}">
                <a16:creationId xmlns:a16="http://schemas.microsoft.com/office/drawing/2014/main" id="{690C31C7-A5B5-4A2F-A8FE-D078FCE37E84}"/>
              </a:ext>
            </a:extLst>
          </p:cNvPr>
          <p:cNvSpPr>
            <a:spLocks noGrp="1"/>
          </p:cNvSpPr>
          <p:nvPr>
            <p:ph type="body" sz="quarter" idx="33"/>
          </p:nvPr>
        </p:nvSpPr>
        <p:spPr/>
        <p:txBody>
          <a:bodyPr/>
          <a:lstStyle/>
          <a:p>
            <a:endParaRPr lang="en-GB"/>
          </a:p>
        </p:txBody>
      </p:sp>
      <p:sp>
        <p:nvSpPr>
          <p:cNvPr id="29" name="Text Placeholder 28">
            <a:extLst>
              <a:ext uri="{FF2B5EF4-FFF2-40B4-BE49-F238E27FC236}">
                <a16:creationId xmlns:a16="http://schemas.microsoft.com/office/drawing/2014/main" id="{0B2D5BAC-519A-4C4F-9466-5ECEEF406D88}"/>
              </a:ext>
            </a:extLst>
          </p:cNvPr>
          <p:cNvSpPr>
            <a:spLocks noGrp="1"/>
          </p:cNvSpPr>
          <p:nvPr>
            <p:ph type="body" sz="quarter" idx="35"/>
          </p:nvPr>
        </p:nvSpPr>
        <p:spPr/>
        <p:txBody>
          <a:bodyPr/>
          <a:lstStyle/>
          <a:p>
            <a:endParaRPr lang="en-GB"/>
          </a:p>
        </p:txBody>
      </p:sp>
      <p:sp>
        <p:nvSpPr>
          <p:cNvPr id="26" name="Text Placeholder 25">
            <a:extLst>
              <a:ext uri="{FF2B5EF4-FFF2-40B4-BE49-F238E27FC236}">
                <a16:creationId xmlns:a16="http://schemas.microsoft.com/office/drawing/2014/main" id="{9B43973A-6E88-4F24-A352-459D6324937B}"/>
              </a:ext>
            </a:extLst>
          </p:cNvPr>
          <p:cNvSpPr>
            <a:spLocks noGrp="1"/>
          </p:cNvSpPr>
          <p:nvPr>
            <p:ph type="body" sz="quarter" idx="10"/>
          </p:nvPr>
        </p:nvSpPr>
        <p:spPr/>
        <p:txBody>
          <a:bodyPr/>
          <a:lstStyle/>
          <a:p>
            <a:endParaRPr lang="en-GB"/>
          </a:p>
        </p:txBody>
      </p:sp>
      <p:sp>
        <p:nvSpPr>
          <p:cNvPr id="30" name="Text Placeholder 29">
            <a:extLst>
              <a:ext uri="{FF2B5EF4-FFF2-40B4-BE49-F238E27FC236}">
                <a16:creationId xmlns:a16="http://schemas.microsoft.com/office/drawing/2014/main" id="{69818714-8CF8-4755-A4F4-6B2015AF4A34}"/>
              </a:ext>
            </a:extLst>
          </p:cNvPr>
          <p:cNvSpPr>
            <a:spLocks noGrp="1"/>
          </p:cNvSpPr>
          <p:nvPr>
            <p:ph type="body" sz="quarter" idx="40"/>
          </p:nvPr>
        </p:nvSpPr>
        <p:spPr/>
        <p:txBody>
          <a:bodyPr/>
          <a:lstStyle/>
          <a:p>
            <a:endParaRPr lang="en-GB"/>
          </a:p>
        </p:txBody>
      </p:sp>
      <p:sp>
        <p:nvSpPr>
          <p:cNvPr id="31" name="Text Placeholder 30">
            <a:extLst>
              <a:ext uri="{FF2B5EF4-FFF2-40B4-BE49-F238E27FC236}">
                <a16:creationId xmlns:a16="http://schemas.microsoft.com/office/drawing/2014/main" id="{A97C42A6-E8B8-4296-A99D-EB9B109188A1}"/>
              </a:ext>
            </a:extLst>
          </p:cNvPr>
          <p:cNvSpPr>
            <a:spLocks noGrp="1"/>
          </p:cNvSpPr>
          <p:nvPr>
            <p:ph type="body" sz="quarter" idx="41"/>
          </p:nvPr>
        </p:nvSpPr>
        <p:spPr/>
        <p:txBody>
          <a:bodyPr/>
          <a:lstStyle/>
          <a:p>
            <a:endParaRPr lang="en-GB"/>
          </a:p>
        </p:txBody>
      </p:sp>
      <p:grpSp>
        <p:nvGrpSpPr>
          <p:cNvPr id="32" name="Group 19">
            <a:extLst>
              <a:ext uri="{FF2B5EF4-FFF2-40B4-BE49-F238E27FC236}">
                <a16:creationId xmlns:a16="http://schemas.microsoft.com/office/drawing/2014/main" id="{D0FF6527-A47C-47E2-AFFA-C4C59E08F6CD}"/>
              </a:ext>
            </a:extLst>
          </p:cNvPr>
          <p:cNvGrpSpPr>
            <a:grpSpLocks noChangeAspect="1"/>
          </p:cNvGrpSpPr>
          <p:nvPr/>
        </p:nvGrpSpPr>
        <p:grpSpPr bwMode="auto">
          <a:xfrm>
            <a:off x="8041842" y="1801720"/>
            <a:ext cx="1330762" cy="1244311"/>
            <a:chOff x="-106" y="-109"/>
            <a:chExt cx="1878" cy="1756"/>
          </a:xfrm>
        </p:grpSpPr>
        <p:sp>
          <p:nvSpPr>
            <p:cNvPr id="33" name="Freeform 20">
              <a:extLst>
                <a:ext uri="{FF2B5EF4-FFF2-40B4-BE49-F238E27FC236}">
                  <a16:creationId xmlns:a16="http://schemas.microsoft.com/office/drawing/2014/main" id="{FFF11DD3-F707-4856-BF67-7CFA1DC11981}"/>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1">
              <a:extLst>
                <a:ext uri="{FF2B5EF4-FFF2-40B4-BE49-F238E27FC236}">
                  <a16:creationId xmlns:a16="http://schemas.microsoft.com/office/drawing/2014/main" id="{791F5E20-C82A-4F17-8458-61CAD36BFB2B}"/>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2">
              <a:extLst>
                <a:ext uri="{FF2B5EF4-FFF2-40B4-BE49-F238E27FC236}">
                  <a16:creationId xmlns:a16="http://schemas.microsoft.com/office/drawing/2014/main" id="{C3D65EF7-017D-4F52-9F71-CD35FDD9C1B5}"/>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6" name="Group 19">
            <a:extLst>
              <a:ext uri="{FF2B5EF4-FFF2-40B4-BE49-F238E27FC236}">
                <a16:creationId xmlns:a16="http://schemas.microsoft.com/office/drawing/2014/main" id="{667AFECB-A6E3-4806-8460-D8030318C81C}"/>
              </a:ext>
            </a:extLst>
          </p:cNvPr>
          <p:cNvGrpSpPr>
            <a:grpSpLocks noChangeAspect="1"/>
          </p:cNvGrpSpPr>
          <p:nvPr/>
        </p:nvGrpSpPr>
        <p:grpSpPr bwMode="auto">
          <a:xfrm>
            <a:off x="3978800" y="1801720"/>
            <a:ext cx="1330762" cy="1244311"/>
            <a:chOff x="-106" y="-109"/>
            <a:chExt cx="1878" cy="1756"/>
          </a:xfrm>
        </p:grpSpPr>
        <p:sp>
          <p:nvSpPr>
            <p:cNvPr id="37" name="Freeform 20">
              <a:extLst>
                <a:ext uri="{FF2B5EF4-FFF2-40B4-BE49-F238E27FC236}">
                  <a16:creationId xmlns:a16="http://schemas.microsoft.com/office/drawing/2014/main" id="{D26C32E8-B857-44C4-B2C1-781AB34FF2DD}"/>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1">
              <a:extLst>
                <a:ext uri="{FF2B5EF4-FFF2-40B4-BE49-F238E27FC236}">
                  <a16:creationId xmlns:a16="http://schemas.microsoft.com/office/drawing/2014/main" id="{59D227B2-970C-416D-949C-D6D4A4F8BF19}"/>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2">
              <a:extLst>
                <a:ext uri="{FF2B5EF4-FFF2-40B4-BE49-F238E27FC236}">
                  <a16:creationId xmlns:a16="http://schemas.microsoft.com/office/drawing/2014/main" id="{4707BC6F-A385-4B1F-9D54-13289D7F03BB}"/>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0" name="Group 19">
            <a:extLst>
              <a:ext uri="{FF2B5EF4-FFF2-40B4-BE49-F238E27FC236}">
                <a16:creationId xmlns:a16="http://schemas.microsoft.com/office/drawing/2014/main" id="{8174FF7C-EE9B-4B0C-A8E0-C9CE0FFE6614}"/>
              </a:ext>
            </a:extLst>
          </p:cNvPr>
          <p:cNvGrpSpPr>
            <a:grpSpLocks noChangeAspect="1"/>
          </p:cNvGrpSpPr>
          <p:nvPr/>
        </p:nvGrpSpPr>
        <p:grpSpPr bwMode="auto">
          <a:xfrm>
            <a:off x="96913" y="1801720"/>
            <a:ext cx="1330762" cy="1244311"/>
            <a:chOff x="-106" y="-109"/>
            <a:chExt cx="1878" cy="1756"/>
          </a:xfrm>
        </p:grpSpPr>
        <p:sp>
          <p:nvSpPr>
            <p:cNvPr id="41" name="Freeform 20">
              <a:extLst>
                <a:ext uri="{FF2B5EF4-FFF2-40B4-BE49-F238E27FC236}">
                  <a16:creationId xmlns:a16="http://schemas.microsoft.com/office/drawing/2014/main" id="{712C3916-B96F-4539-8CEB-E3B9996C6FA8}"/>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21">
              <a:extLst>
                <a:ext uri="{FF2B5EF4-FFF2-40B4-BE49-F238E27FC236}">
                  <a16:creationId xmlns:a16="http://schemas.microsoft.com/office/drawing/2014/main" id="{AAFB6FE8-3AD8-4D6C-ADA2-A0347FFC3AEE}"/>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2">
              <a:extLst>
                <a:ext uri="{FF2B5EF4-FFF2-40B4-BE49-F238E27FC236}">
                  <a16:creationId xmlns:a16="http://schemas.microsoft.com/office/drawing/2014/main" id="{D945074E-716C-4129-9B5D-56B6185BC588}"/>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188474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a:t>Charts MUST stick to one palette per chart</a:t>
            </a:r>
          </a:p>
        </p:txBody>
      </p:sp>
      <p:graphicFrame>
        <p:nvGraphicFramePr>
          <p:cNvPr id="15" name="Content Placeholder 14">
            <a:extLst>
              <a:ext uri="{FF2B5EF4-FFF2-40B4-BE49-F238E27FC236}">
                <a16:creationId xmlns:a16="http://schemas.microsoft.com/office/drawing/2014/main" id="{303FC40E-9053-4571-A900-1F1A57C3EDF0}"/>
              </a:ext>
            </a:extLst>
          </p:cNvPr>
          <p:cNvGraphicFramePr>
            <a:graphicFrameLocks noGrp="1"/>
          </p:cNvGraphicFramePr>
          <p:nvPr>
            <p:ph sz="quarter" idx="4294967295"/>
            <p:extLst>
              <p:ext uri="{D42A27DB-BD31-4B8C-83A1-F6EECF244321}">
                <p14:modId xmlns:p14="http://schemas.microsoft.com/office/powerpoint/2010/main" val="1293344894"/>
              </p:ext>
            </p:extLst>
          </p:nvPr>
        </p:nvGraphicFramePr>
        <p:xfrm>
          <a:off x="266330" y="1644650"/>
          <a:ext cx="3436938" cy="4756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ontent Placeholder 14">
            <a:extLst>
              <a:ext uri="{FF2B5EF4-FFF2-40B4-BE49-F238E27FC236}">
                <a16:creationId xmlns:a16="http://schemas.microsoft.com/office/drawing/2014/main" id="{3C8DDC34-34C1-4B4B-83AB-F3CA60AF3828}"/>
              </a:ext>
            </a:extLst>
          </p:cNvPr>
          <p:cNvGraphicFramePr>
            <a:graphicFrameLocks/>
          </p:cNvGraphicFramePr>
          <p:nvPr>
            <p:extLst>
              <p:ext uri="{D42A27DB-BD31-4B8C-83A1-F6EECF244321}">
                <p14:modId xmlns:p14="http://schemas.microsoft.com/office/powerpoint/2010/main" val="415387874"/>
              </p:ext>
            </p:extLst>
          </p:nvPr>
        </p:nvGraphicFramePr>
        <p:xfrm>
          <a:off x="4358053" y="1644650"/>
          <a:ext cx="3436441" cy="47561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ontent Placeholder 14">
            <a:extLst>
              <a:ext uri="{FF2B5EF4-FFF2-40B4-BE49-F238E27FC236}">
                <a16:creationId xmlns:a16="http://schemas.microsoft.com/office/drawing/2014/main" id="{D5D44E3B-8088-4580-AFE1-5806023B7BAC}"/>
              </a:ext>
            </a:extLst>
          </p:cNvPr>
          <p:cNvGraphicFramePr>
            <a:graphicFrameLocks/>
          </p:cNvGraphicFramePr>
          <p:nvPr>
            <p:extLst>
              <p:ext uri="{D42A27DB-BD31-4B8C-83A1-F6EECF244321}">
                <p14:modId xmlns:p14="http://schemas.microsoft.com/office/powerpoint/2010/main" val="1209058671"/>
              </p:ext>
            </p:extLst>
          </p:nvPr>
        </p:nvGraphicFramePr>
        <p:xfrm>
          <a:off x="8449280" y="1644650"/>
          <a:ext cx="3436441" cy="47561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50130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a:t>Charts MUST stick to one palette per chart</a:t>
            </a:r>
          </a:p>
        </p:txBody>
      </p:sp>
      <p:graphicFrame>
        <p:nvGraphicFramePr>
          <p:cNvPr id="15" name="Content Placeholder 14">
            <a:extLst>
              <a:ext uri="{FF2B5EF4-FFF2-40B4-BE49-F238E27FC236}">
                <a16:creationId xmlns:a16="http://schemas.microsoft.com/office/drawing/2014/main" id="{303FC40E-9053-4571-A900-1F1A57C3EDF0}"/>
              </a:ext>
            </a:extLst>
          </p:cNvPr>
          <p:cNvGraphicFramePr>
            <a:graphicFrameLocks noGrp="1"/>
          </p:cNvGraphicFramePr>
          <p:nvPr>
            <p:ph sz="quarter" idx="4294967295"/>
            <p:extLst>
              <p:ext uri="{D42A27DB-BD31-4B8C-83A1-F6EECF244321}">
                <p14:modId xmlns:p14="http://schemas.microsoft.com/office/powerpoint/2010/main" val="2796363752"/>
              </p:ext>
            </p:extLst>
          </p:nvPr>
        </p:nvGraphicFramePr>
        <p:xfrm>
          <a:off x="275208" y="1645444"/>
          <a:ext cx="3382963" cy="35671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ontent Placeholder 14">
            <a:extLst>
              <a:ext uri="{FF2B5EF4-FFF2-40B4-BE49-F238E27FC236}">
                <a16:creationId xmlns:a16="http://schemas.microsoft.com/office/drawing/2014/main" id="{37E66D69-7111-4FD6-86B8-44397717CE85}"/>
              </a:ext>
            </a:extLst>
          </p:cNvPr>
          <p:cNvGraphicFramePr>
            <a:graphicFrameLocks/>
          </p:cNvGraphicFramePr>
          <p:nvPr>
            <p:extLst>
              <p:ext uri="{D42A27DB-BD31-4B8C-83A1-F6EECF244321}">
                <p14:modId xmlns:p14="http://schemas.microsoft.com/office/powerpoint/2010/main" val="3992507708"/>
              </p:ext>
            </p:extLst>
          </p:nvPr>
        </p:nvGraphicFramePr>
        <p:xfrm>
          <a:off x="4406831" y="1645444"/>
          <a:ext cx="3382566" cy="35671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ontent Placeholder 14">
            <a:extLst>
              <a:ext uri="{FF2B5EF4-FFF2-40B4-BE49-F238E27FC236}">
                <a16:creationId xmlns:a16="http://schemas.microsoft.com/office/drawing/2014/main" id="{7E681481-176A-47A8-AEA2-B04677E213D5}"/>
              </a:ext>
            </a:extLst>
          </p:cNvPr>
          <p:cNvGraphicFramePr>
            <a:graphicFrameLocks/>
          </p:cNvGraphicFramePr>
          <p:nvPr>
            <p:extLst>
              <p:ext uri="{D42A27DB-BD31-4B8C-83A1-F6EECF244321}">
                <p14:modId xmlns:p14="http://schemas.microsoft.com/office/powerpoint/2010/main" val="2833499323"/>
              </p:ext>
            </p:extLst>
          </p:nvPr>
        </p:nvGraphicFramePr>
        <p:xfrm>
          <a:off x="8538056" y="1645444"/>
          <a:ext cx="3382566" cy="3567112"/>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C91EB463-AFF4-42DE-9D0A-F2FB6DCEB915}"/>
              </a:ext>
            </a:extLst>
          </p:cNvPr>
          <p:cNvSpPr txBox="1"/>
          <p:nvPr/>
        </p:nvSpPr>
        <p:spPr>
          <a:xfrm>
            <a:off x="1196752" y="2961113"/>
            <a:ext cx="1539875" cy="830997"/>
          </a:xfrm>
          <a:prstGeom prst="rect">
            <a:avLst/>
          </a:prstGeom>
          <a:noFill/>
        </p:spPr>
        <p:txBody>
          <a:bodyPr wrap="square">
            <a:spAutoFit/>
          </a:bodyPr>
          <a:lstStyle/>
          <a:p>
            <a:pPr algn="ctr"/>
            <a:r>
              <a:rPr lang="en-GB" sz="4800" b="0" i="0" u="none" strike="noStrike" baseline="0">
                <a:latin typeface="Ubuntu" panose="020B0504030602030204" pitchFamily="34" charset="0"/>
              </a:rPr>
              <a:t>3.6</a:t>
            </a:r>
            <a:r>
              <a:rPr lang="en-GB" sz="4800" b="0" i="0" u="none" strike="noStrike" baseline="30000">
                <a:latin typeface="Ubuntu" panose="020B0504030602030204" pitchFamily="34" charset="0"/>
              </a:rPr>
              <a:t>bn</a:t>
            </a:r>
            <a:endParaRPr lang="en-GB" sz="900" baseline="30000">
              <a:latin typeface="Ubuntu" panose="020B0504030602030204" pitchFamily="34" charset="0"/>
            </a:endParaRPr>
          </a:p>
        </p:txBody>
      </p:sp>
      <p:sp>
        <p:nvSpPr>
          <p:cNvPr id="19" name="TextBox 18">
            <a:extLst>
              <a:ext uri="{FF2B5EF4-FFF2-40B4-BE49-F238E27FC236}">
                <a16:creationId xmlns:a16="http://schemas.microsoft.com/office/drawing/2014/main" id="{5F7FA916-5B2D-4426-8CFA-1FDF73BB4CAA}"/>
              </a:ext>
            </a:extLst>
          </p:cNvPr>
          <p:cNvSpPr txBox="1"/>
          <p:nvPr/>
        </p:nvSpPr>
        <p:spPr>
          <a:xfrm>
            <a:off x="5328177" y="2961113"/>
            <a:ext cx="1539875" cy="830997"/>
          </a:xfrm>
          <a:prstGeom prst="rect">
            <a:avLst/>
          </a:prstGeom>
          <a:noFill/>
        </p:spPr>
        <p:txBody>
          <a:bodyPr wrap="square">
            <a:spAutoFit/>
          </a:bodyPr>
          <a:lstStyle/>
          <a:p>
            <a:pPr algn="ctr"/>
            <a:r>
              <a:rPr lang="en-GB" sz="4800" b="0" i="0" u="none" strike="noStrike" baseline="0">
                <a:latin typeface="Ubuntu" panose="020B0504030602030204" pitchFamily="34" charset="0"/>
              </a:rPr>
              <a:t>3.6</a:t>
            </a:r>
            <a:r>
              <a:rPr lang="en-GB" sz="4800" b="0" i="0" u="none" strike="noStrike" baseline="30000">
                <a:latin typeface="Ubuntu" panose="020B0504030602030204" pitchFamily="34" charset="0"/>
              </a:rPr>
              <a:t>bn</a:t>
            </a:r>
            <a:endParaRPr lang="en-GB" sz="900" baseline="30000">
              <a:latin typeface="Ubuntu" panose="020B0504030602030204" pitchFamily="34" charset="0"/>
            </a:endParaRPr>
          </a:p>
        </p:txBody>
      </p:sp>
      <p:sp>
        <p:nvSpPr>
          <p:cNvPr id="20" name="TextBox 19">
            <a:extLst>
              <a:ext uri="{FF2B5EF4-FFF2-40B4-BE49-F238E27FC236}">
                <a16:creationId xmlns:a16="http://schemas.microsoft.com/office/drawing/2014/main" id="{84E6F3A0-9ABA-4D5D-9A22-43541EDABC0F}"/>
              </a:ext>
            </a:extLst>
          </p:cNvPr>
          <p:cNvSpPr txBox="1"/>
          <p:nvPr/>
        </p:nvSpPr>
        <p:spPr>
          <a:xfrm>
            <a:off x="9459402" y="2961113"/>
            <a:ext cx="1539875" cy="830997"/>
          </a:xfrm>
          <a:prstGeom prst="rect">
            <a:avLst/>
          </a:prstGeom>
          <a:noFill/>
        </p:spPr>
        <p:txBody>
          <a:bodyPr wrap="square">
            <a:spAutoFit/>
          </a:bodyPr>
          <a:lstStyle/>
          <a:p>
            <a:pPr algn="ctr"/>
            <a:r>
              <a:rPr lang="en-GB" sz="4800" b="0" i="0" u="none" strike="noStrike" baseline="0">
                <a:latin typeface="Ubuntu" panose="020B0504030602030204" pitchFamily="34" charset="0"/>
              </a:rPr>
              <a:t>3.6</a:t>
            </a:r>
            <a:r>
              <a:rPr lang="en-GB" sz="4800" b="0" i="0" u="none" strike="noStrike" baseline="30000">
                <a:latin typeface="Ubuntu" panose="020B0504030602030204" pitchFamily="34" charset="0"/>
              </a:rPr>
              <a:t>bn</a:t>
            </a:r>
            <a:endParaRPr lang="en-GB" sz="900" baseline="30000">
              <a:latin typeface="Ubuntu" panose="020B0504030602030204" pitchFamily="34" charset="0"/>
            </a:endParaRPr>
          </a:p>
        </p:txBody>
      </p:sp>
      <p:sp>
        <p:nvSpPr>
          <p:cNvPr id="21" name="Oval 20">
            <a:extLst>
              <a:ext uri="{FF2B5EF4-FFF2-40B4-BE49-F238E27FC236}">
                <a16:creationId xmlns:a16="http://schemas.microsoft.com/office/drawing/2014/main" id="{BF14391D-B7D6-4335-A800-C4948679AB82}"/>
              </a:ext>
            </a:extLst>
          </p:cNvPr>
          <p:cNvSpPr/>
          <p:nvPr/>
        </p:nvSpPr>
        <p:spPr>
          <a:xfrm>
            <a:off x="2642588" y="1968529"/>
            <a:ext cx="463550" cy="463550"/>
          </a:xfrm>
          <a:prstGeom prst="ellipse">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
        <p:nvSpPr>
          <p:cNvPr id="22" name="Oval 21">
            <a:extLst>
              <a:ext uri="{FF2B5EF4-FFF2-40B4-BE49-F238E27FC236}">
                <a16:creationId xmlns:a16="http://schemas.microsoft.com/office/drawing/2014/main" id="{171A0935-5B63-4E9F-9BB5-F91F8D31E592}"/>
              </a:ext>
            </a:extLst>
          </p:cNvPr>
          <p:cNvSpPr/>
          <p:nvPr/>
        </p:nvSpPr>
        <p:spPr>
          <a:xfrm>
            <a:off x="6853843" y="1968529"/>
            <a:ext cx="463550" cy="463550"/>
          </a:xfrm>
          <a:prstGeom prst="ellipse">
            <a:avLst/>
          </a:prstGeom>
          <a:solidFill>
            <a:srgbClr val="FFB24A"/>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
        <p:nvSpPr>
          <p:cNvPr id="23" name="Oval 22">
            <a:extLst>
              <a:ext uri="{FF2B5EF4-FFF2-40B4-BE49-F238E27FC236}">
                <a16:creationId xmlns:a16="http://schemas.microsoft.com/office/drawing/2014/main" id="{F18C2E5C-6BEB-41D1-B65A-26997081A0E1}"/>
              </a:ext>
            </a:extLst>
          </p:cNvPr>
          <p:cNvSpPr/>
          <p:nvPr/>
        </p:nvSpPr>
        <p:spPr>
          <a:xfrm>
            <a:off x="11000430" y="1968529"/>
            <a:ext cx="463550" cy="463550"/>
          </a:xfrm>
          <a:prstGeom prst="ellipse">
            <a:avLst/>
          </a:prstGeom>
          <a:solidFill>
            <a:srgbClr val="00BFBF"/>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grpSp>
        <p:nvGrpSpPr>
          <p:cNvPr id="2" name="Group 1">
            <a:extLst>
              <a:ext uri="{FF2B5EF4-FFF2-40B4-BE49-F238E27FC236}">
                <a16:creationId xmlns:a16="http://schemas.microsoft.com/office/drawing/2014/main" id="{1394562F-2690-4810-9F70-08B73B5C81C5}"/>
              </a:ext>
            </a:extLst>
          </p:cNvPr>
          <p:cNvGrpSpPr/>
          <p:nvPr/>
        </p:nvGrpSpPr>
        <p:grpSpPr>
          <a:xfrm>
            <a:off x="425498" y="5615017"/>
            <a:ext cx="3280393" cy="463550"/>
            <a:chOff x="736216" y="5615017"/>
            <a:chExt cx="3280393" cy="463550"/>
          </a:xfrm>
        </p:grpSpPr>
        <p:sp>
          <p:nvSpPr>
            <p:cNvPr id="25" name="Oval 24">
              <a:extLst>
                <a:ext uri="{FF2B5EF4-FFF2-40B4-BE49-F238E27FC236}">
                  <a16:creationId xmlns:a16="http://schemas.microsoft.com/office/drawing/2014/main" id="{104D7A0C-E72A-4AC8-8476-99507CC3CFA9}"/>
                </a:ext>
              </a:extLst>
            </p:cNvPr>
            <p:cNvSpPr/>
            <p:nvPr/>
          </p:nvSpPr>
          <p:spPr>
            <a:xfrm>
              <a:off x="736216" y="5615017"/>
              <a:ext cx="463550" cy="463550"/>
            </a:xfrm>
            <a:prstGeom prst="ellipse">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
          <p:nvSpPr>
            <p:cNvPr id="28" name="TextBox 27">
              <a:extLst>
                <a:ext uri="{FF2B5EF4-FFF2-40B4-BE49-F238E27FC236}">
                  <a16:creationId xmlns:a16="http://schemas.microsoft.com/office/drawing/2014/main" id="{5921D5CC-6427-4560-8F57-E377239E90B8}"/>
                </a:ext>
              </a:extLst>
            </p:cNvPr>
            <p:cNvSpPr txBox="1"/>
            <p:nvPr/>
          </p:nvSpPr>
          <p:spPr>
            <a:xfrm>
              <a:off x="1253032" y="5723682"/>
              <a:ext cx="2763577" cy="246221"/>
            </a:xfrm>
            <a:prstGeom prst="rect">
              <a:avLst/>
            </a:prstGeom>
            <a:noFill/>
          </p:spPr>
          <p:txBody>
            <a:bodyPr wrap="none" lIns="0" tIns="0" rIns="0" bIns="0" anchor="ctr" anchorCtr="0">
              <a:spAutoFit/>
            </a:bodyPr>
            <a:lstStyle/>
            <a:p>
              <a:r>
                <a:rPr lang="en-GB" sz="1600" b="1" i="0" u="none" strike="noStrike" baseline="0">
                  <a:latin typeface="Ubuntu" panose="020B0504030602030204" pitchFamily="34" charset="0"/>
                </a:rPr>
                <a:t>Use bright </a:t>
              </a:r>
              <a:r>
                <a:rPr lang="en-GB" sz="1600" b="1" i="0" u="none" strike="noStrike" baseline="0" err="1">
                  <a:latin typeface="Ubuntu" panose="020B0504030602030204" pitchFamily="34" charset="0"/>
                </a:rPr>
                <a:t>color</a:t>
              </a:r>
              <a:r>
                <a:rPr lang="en-GB" sz="1600" b="1" i="0" u="none" strike="noStrike" baseline="0">
                  <a:latin typeface="Ubuntu" panose="020B0504030602030204" pitchFamily="34" charset="0"/>
                </a:rPr>
                <a:t> to highlight</a:t>
              </a:r>
              <a:endParaRPr lang="en-GB" sz="1600" b="1">
                <a:latin typeface="Ubuntu" panose="020B0504030602030204" pitchFamily="34" charset="0"/>
              </a:endParaRPr>
            </a:p>
          </p:txBody>
        </p:sp>
      </p:grpSp>
      <p:grpSp>
        <p:nvGrpSpPr>
          <p:cNvPr id="3" name="Group 2">
            <a:extLst>
              <a:ext uri="{FF2B5EF4-FFF2-40B4-BE49-F238E27FC236}">
                <a16:creationId xmlns:a16="http://schemas.microsoft.com/office/drawing/2014/main" id="{B6BE1FDE-9DE9-4BC2-AAFC-379EE1FBBBE6}"/>
              </a:ext>
            </a:extLst>
          </p:cNvPr>
          <p:cNvGrpSpPr/>
          <p:nvPr/>
        </p:nvGrpSpPr>
        <p:grpSpPr>
          <a:xfrm>
            <a:off x="4455804" y="5615017"/>
            <a:ext cx="3280393" cy="463550"/>
            <a:chOff x="4522703" y="5615017"/>
            <a:chExt cx="3280393" cy="463550"/>
          </a:xfrm>
        </p:grpSpPr>
        <p:sp>
          <p:nvSpPr>
            <p:cNvPr id="26" name="Oval 25">
              <a:extLst>
                <a:ext uri="{FF2B5EF4-FFF2-40B4-BE49-F238E27FC236}">
                  <a16:creationId xmlns:a16="http://schemas.microsoft.com/office/drawing/2014/main" id="{AAEDE0DC-3B25-4E89-A9B1-C7E7E226878B}"/>
                </a:ext>
              </a:extLst>
            </p:cNvPr>
            <p:cNvSpPr/>
            <p:nvPr/>
          </p:nvSpPr>
          <p:spPr>
            <a:xfrm>
              <a:off x="4522703" y="5615017"/>
              <a:ext cx="463550" cy="463550"/>
            </a:xfrm>
            <a:prstGeom prst="ellipse">
              <a:avLst/>
            </a:prstGeom>
            <a:solidFill>
              <a:srgbClr val="FFB24A"/>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
          <p:nvSpPr>
            <p:cNvPr id="29" name="TextBox 28">
              <a:extLst>
                <a:ext uri="{FF2B5EF4-FFF2-40B4-BE49-F238E27FC236}">
                  <a16:creationId xmlns:a16="http://schemas.microsoft.com/office/drawing/2014/main" id="{D75B23D2-7035-4C1D-8E7F-91CA10813196}"/>
                </a:ext>
              </a:extLst>
            </p:cNvPr>
            <p:cNvSpPr txBox="1"/>
            <p:nvPr/>
          </p:nvSpPr>
          <p:spPr>
            <a:xfrm>
              <a:off x="5039519" y="5723682"/>
              <a:ext cx="2763577" cy="246221"/>
            </a:xfrm>
            <a:prstGeom prst="rect">
              <a:avLst/>
            </a:prstGeom>
            <a:noFill/>
          </p:spPr>
          <p:txBody>
            <a:bodyPr wrap="none" lIns="0" tIns="0" rIns="0" bIns="0" anchor="ctr" anchorCtr="0">
              <a:spAutoFit/>
            </a:bodyPr>
            <a:lstStyle/>
            <a:p>
              <a:r>
                <a:rPr lang="en-GB" sz="1600" b="1" i="0" u="none" strike="noStrike" baseline="0">
                  <a:latin typeface="Ubuntu" panose="020B0504030602030204" pitchFamily="34" charset="0"/>
                </a:rPr>
                <a:t>Use bright color to highlight</a:t>
              </a:r>
              <a:endParaRPr lang="en-GB" sz="1600" b="1">
                <a:latin typeface="Ubuntu" panose="020B0504030602030204" pitchFamily="34" charset="0"/>
              </a:endParaRPr>
            </a:p>
          </p:txBody>
        </p:sp>
      </p:grpSp>
      <p:grpSp>
        <p:nvGrpSpPr>
          <p:cNvPr id="4" name="Group 3">
            <a:extLst>
              <a:ext uri="{FF2B5EF4-FFF2-40B4-BE49-F238E27FC236}">
                <a16:creationId xmlns:a16="http://schemas.microsoft.com/office/drawing/2014/main" id="{6CACC0F2-9CE2-4D75-B46A-9C3043F289B6}"/>
              </a:ext>
            </a:extLst>
          </p:cNvPr>
          <p:cNvGrpSpPr/>
          <p:nvPr/>
        </p:nvGrpSpPr>
        <p:grpSpPr>
          <a:xfrm>
            <a:off x="8529472" y="5615017"/>
            <a:ext cx="3295275" cy="463550"/>
            <a:chOff x="8414062" y="5615017"/>
            <a:chExt cx="3295275" cy="463550"/>
          </a:xfrm>
        </p:grpSpPr>
        <p:sp>
          <p:nvSpPr>
            <p:cNvPr id="24" name="Oval 23">
              <a:extLst>
                <a:ext uri="{FF2B5EF4-FFF2-40B4-BE49-F238E27FC236}">
                  <a16:creationId xmlns:a16="http://schemas.microsoft.com/office/drawing/2014/main" id="{95C0CB45-AC85-4712-AA29-A44A40212E2D}"/>
                </a:ext>
              </a:extLst>
            </p:cNvPr>
            <p:cNvSpPr/>
            <p:nvPr/>
          </p:nvSpPr>
          <p:spPr>
            <a:xfrm>
              <a:off x="8414062" y="5615017"/>
              <a:ext cx="463550" cy="463550"/>
            </a:xfrm>
            <a:prstGeom prst="ellipse">
              <a:avLst/>
            </a:prstGeom>
            <a:solidFill>
              <a:srgbClr val="00BFBF"/>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en-GB" sz="3200">
                  <a:latin typeface="Ubuntu" panose="020B0504030602030204" pitchFamily="34" charset="0"/>
                </a:rPr>
                <a:t>1</a:t>
              </a:r>
            </a:p>
          </p:txBody>
        </p:sp>
        <p:sp>
          <p:nvSpPr>
            <p:cNvPr id="30" name="TextBox 29">
              <a:extLst>
                <a:ext uri="{FF2B5EF4-FFF2-40B4-BE49-F238E27FC236}">
                  <a16:creationId xmlns:a16="http://schemas.microsoft.com/office/drawing/2014/main" id="{F97D2834-B1BF-4619-8393-7DB978B8444E}"/>
                </a:ext>
              </a:extLst>
            </p:cNvPr>
            <p:cNvSpPr txBox="1"/>
            <p:nvPr/>
          </p:nvSpPr>
          <p:spPr>
            <a:xfrm>
              <a:off x="8945760" y="5723682"/>
              <a:ext cx="2763577" cy="246221"/>
            </a:xfrm>
            <a:prstGeom prst="rect">
              <a:avLst/>
            </a:prstGeom>
            <a:noFill/>
          </p:spPr>
          <p:txBody>
            <a:bodyPr wrap="none" lIns="0" tIns="0" rIns="0" bIns="0" anchor="ctr" anchorCtr="0">
              <a:spAutoFit/>
            </a:bodyPr>
            <a:lstStyle/>
            <a:p>
              <a:r>
                <a:rPr lang="en-GB" sz="1600" b="1" i="0" u="none" strike="noStrike" baseline="0">
                  <a:latin typeface="Ubuntu" panose="020B0504030602030204" pitchFamily="34" charset="0"/>
                </a:rPr>
                <a:t>Use bright color to highlight</a:t>
              </a:r>
              <a:endParaRPr lang="en-GB" sz="1600" b="1">
                <a:latin typeface="Ubuntu" panose="020B0504030602030204" pitchFamily="34" charset="0"/>
              </a:endParaRPr>
            </a:p>
          </p:txBody>
        </p:sp>
      </p:grpSp>
    </p:spTree>
    <p:extLst>
      <p:ext uri="{BB962C8B-B14F-4D97-AF65-F5344CB8AC3E}">
        <p14:creationId xmlns:p14="http://schemas.microsoft.com/office/powerpoint/2010/main" val="36185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Placeholder 9">
            <a:extLst>
              <a:ext uri="{FF2B5EF4-FFF2-40B4-BE49-F238E27FC236}">
                <a16:creationId xmlns:a16="http://schemas.microsoft.com/office/drawing/2014/main" id="{4A977DCC-70CE-4015-BCF4-DCA028C3922F}"/>
              </a:ext>
            </a:extLst>
          </p:cNvPr>
          <p:cNvGraphicFramePr>
            <a:graphicFrameLocks/>
          </p:cNvGraphicFramePr>
          <p:nvPr>
            <p:extLst>
              <p:ext uri="{D42A27DB-BD31-4B8C-83A1-F6EECF244321}">
                <p14:modId xmlns:p14="http://schemas.microsoft.com/office/powerpoint/2010/main" val="1978653965"/>
              </p:ext>
            </p:extLst>
          </p:nvPr>
        </p:nvGraphicFramePr>
        <p:xfrm>
          <a:off x="5868607" y="1315843"/>
          <a:ext cx="5652328" cy="4801853"/>
        </p:xfrm>
        <a:graphic>
          <a:graphicData uri="http://schemas.openxmlformats.org/drawingml/2006/chart">
            <c:chart xmlns:c="http://schemas.openxmlformats.org/drawingml/2006/chart" xmlns:r="http://schemas.openxmlformats.org/officeDocument/2006/relationships" r:id="rId2"/>
          </a:graphicData>
        </a:graphic>
      </p:graphicFrame>
      <p:sp>
        <p:nvSpPr>
          <p:cNvPr id="10" name="Espace réservé du texte 9">
            <a:extLst>
              <a:ext uri="{FF2B5EF4-FFF2-40B4-BE49-F238E27FC236}">
                <a16:creationId xmlns:a16="http://schemas.microsoft.com/office/drawing/2014/main" id="{4C38019B-ED2B-4ADF-8568-F319BA356283}"/>
              </a:ext>
            </a:extLst>
          </p:cNvPr>
          <p:cNvSpPr>
            <a:spLocks noGrp="1"/>
          </p:cNvSpPr>
          <p:nvPr>
            <p:ph type="body" sz="quarter" idx="10"/>
          </p:nvPr>
        </p:nvSpPr>
        <p:spPr>
          <a:xfrm>
            <a:off x="404813" y="2514600"/>
            <a:ext cx="5463794" cy="1828800"/>
          </a:xfrm>
        </p:spPr>
        <p:txBody>
          <a:bodyPr>
            <a:normAutofit/>
          </a:bodyPr>
          <a:lstStyle/>
          <a:p>
            <a:r>
              <a:rPr lang="en-GB" sz="1600">
                <a:solidFill>
                  <a:srgbClr val="000000"/>
                </a:solidFill>
              </a:rPr>
              <a:t>Lorem ipsum </a:t>
            </a:r>
            <a:r>
              <a:rPr lang="en-GB" sz="1600" err="1">
                <a:solidFill>
                  <a:srgbClr val="000000"/>
                </a:solidFill>
              </a:rPr>
              <a:t>dolor</a:t>
            </a:r>
            <a:r>
              <a:rPr lang="en-GB" sz="1600">
                <a:solidFill>
                  <a:srgbClr val="000000"/>
                </a:solidFill>
              </a:rPr>
              <a:t> sit </a:t>
            </a:r>
            <a:r>
              <a:rPr lang="en-GB" sz="1600" err="1">
                <a:solidFill>
                  <a:srgbClr val="000000"/>
                </a:solidFill>
              </a:rPr>
              <a:t>amet</a:t>
            </a:r>
            <a:r>
              <a:rPr lang="en-GB" sz="1600">
                <a:solidFill>
                  <a:srgbClr val="000000"/>
                </a:solidFill>
              </a:rPr>
              <a:t>, </a:t>
            </a:r>
            <a:r>
              <a:rPr lang="en-GB" sz="1600" err="1">
                <a:solidFill>
                  <a:srgbClr val="000000"/>
                </a:solidFill>
              </a:rPr>
              <a:t>consetetur</a:t>
            </a:r>
            <a:r>
              <a:rPr lang="en-GB" sz="1600">
                <a:solidFill>
                  <a:srgbClr val="000000"/>
                </a:solidFill>
              </a:rPr>
              <a:t> </a:t>
            </a:r>
            <a:r>
              <a:rPr lang="en-GB" sz="1600" err="1">
                <a:solidFill>
                  <a:srgbClr val="000000"/>
                </a:solidFill>
              </a:rPr>
              <a:t>sadipscing</a:t>
            </a:r>
            <a:r>
              <a:rPr lang="en-GB" sz="1600">
                <a:solidFill>
                  <a:srgbClr val="000000"/>
                </a:solidFill>
              </a:rPr>
              <a:t> </a:t>
            </a:r>
            <a:r>
              <a:rPr lang="en-GB" sz="1600" err="1">
                <a:solidFill>
                  <a:srgbClr val="000000"/>
                </a:solidFill>
              </a:rPr>
              <a:t>elitr</a:t>
            </a:r>
            <a:r>
              <a:rPr lang="en-GB" sz="1600">
                <a:solidFill>
                  <a:srgbClr val="000000"/>
                </a:solidFill>
              </a:rPr>
              <a:t>, </a:t>
            </a:r>
            <a:r>
              <a:rPr lang="en-GB" sz="1600" err="1">
                <a:solidFill>
                  <a:srgbClr val="000000"/>
                </a:solidFill>
              </a:rPr>
              <a:t>sed</a:t>
            </a:r>
            <a:r>
              <a:rPr lang="en-GB" sz="1600">
                <a:solidFill>
                  <a:srgbClr val="000000"/>
                </a:solidFill>
              </a:rPr>
              <a:t> </a:t>
            </a:r>
            <a:r>
              <a:rPr lang="en-GB" sz="1600" err="1">
                <a:solidFill>
                  <a:srgbClr val="000000"/>
                </a:solidFill>
              </a:rPr>
              <a:t>diam</a:t>
            </a:r>
            <a:r>
              <a:rPr lang="en-GB" sz="1600">
                <a:solidFill>
                  <a:srgbClr val="000000"/>
                </a:solidFill>
              </a:rPr>
              <a:t> </a:t>
            </a:r>
            <a:r>
              <a:rPr lang="en-GB" sz="1600" err="1">
                <a:solidFill>
                  <a:srgbClr val="000000"/>
                </a:solidFill>
              </a:rPr>
              <a:t>nonumy</a:t>
            </a:r>
            <a:r>
              <a:rPr lang="en-GB" sz="1600">
                <a:solidFill>
                  <a:srgbClr val="000000"/>
                </a:solidFill>
              </a:rPr>
              <a:t> </a:t>
            </a:r>
            <a:r>
              <a:rPr lang="en-GB" sz="1600" err="1">
                <a:solidFill>
                  <a:srgbClr val="000000"/>
                </a:solidFill>
              </a:rPr>
              <a:t>eirmod</a:t>
            </a:r>
            <a:r>
              <a:rPr lang="en-GB" sz="1600">
                <a:solidFill>
                  <a:srgbClr val="000000"/>
                </a:solidFill>
              </a:rPr>
              <a:t> </a:t>
            </a:r>
            <a:r>
              <a:rPr lang="en-GB" sz="1600" err="1">
                <a:solidFill>
                  <a:srgbClr val="000000"/>
                </a:solidFill>
              </a:rPr>
              <a:t>tempor</a:t>
            </a:r>
            <a:r>
              <a:rPr lang="en-GB" sz="1600">
                <a:solidFill>
                  <a:srgbClr val="000000"/>
                </a:solidFill>
              </a:rPr>
              <a:t> </a:t>
            </a:r>
            <a:r>
              <a:rPr lang="en-GB" sz="1600" err="1">
                <a:solidFill>
                  <a:srgbClr val="000000"/>
                </a:solidFill>
              </a:rPr>
              <a:t>invidunt</a:t>
            </a:r>
            <a:r>
              <a:rPr lang="en-GB" sz="1600">
                <a:solidFill>
                  <a:srgbClr val="000000"/>
                </a:solidFill>
              </a:rPr>
              <a:t> </a:t>
            </a:r>
            <a:r>
              <a:rPr lang="en-GB" sz="1600" err="1">
                <a:solidFill>
                  <a:srgbClr val="000000"/>
                </a:solidFill>
              </a:rPr>
              <a:t>ut</a:t>
            </a:r>
            <a:r>
              <a:rPr lang="en-GB" sz="1600">
                <a:solidFill>
                  <a:srgbClr val="000000"/>
                </a:solidFill>
              </a:rPr>
              <a:t> </a:t>
            </a:r>
            <a:r>
              <a:rPr lang="en-GB" sz="1600" err="1">
                <a:solidFill>
                  <a:srgbClr val="000000"/>
                </a:solidFill>
              </a:rPr>
              <a:t>labore</a:t>
            </a:r>
            <a:r>
              <a:rPr lang="en-GB" sz="1600">
                <a:solidFill>
                  <a:srgbClr val="000000"/>
                </a:solidFill>
              </a:rPr>
              <a:t>.</a:t>
            </a:r>
          </a:p>
          <a:p>
            <a:endParaRPr lang="en-GB" sz="1600"/>
          </a:p>
        </p:txBody>
      </p:sp>
      <p:sp>
        <p:nvSpPr>
          <p:cNvPr id="11" name="Espace réservé du texte 10">
            <a:extLst>
              <a:ext uri="{FF2B5EF4-FFF2-40B4-BE49-F238E27FC236}">
                <a16:creationId xmlns:a16="http://schemas.microsoft.com/office/drawing/2014/main" id="{28FEBC8B-0CAB-42DB-BC7B-B8A2EA388034}"/>
              </a:ext>
            </a:extLst>
          </p:cNvPr>
          <p:cNvSpPr>
            <a:spLocks noGrp="1"/>
          </p:cNvSpPr>
          <p:nvPr>
            <p:ph type="body" sz="quarter" idx="11"/>
          </p:nvPr>
        </p:nvSpPr>
        <p:spPr>
          <a:xfrm>
            <a:off x="404813" y="1327150"/>
            <a:ext cx="7443787" cy="457688"/>
          </a:xfrm>
        </p:spPr>
        <p:txBody>
          <a:bodyPr/>
          <a:lstStyle/>
          <a:p>
            <a:r>
              <a:rPr lang="en-GB">
                <a:solidFill>
                  <a:schemeClr val="tx1"/>
                </a:solidFill>
              </a:rPr>
              <a:t>Overview or summary lorem ipsum </a:t>
            </a:r>
            <a:r>
              <a:rPr lang="en-GB" err="1">
                <a:solidFill>
                  <a:schemeClr val="tx1"/>
                </a:solidFill>
              </a:rPr>
              <a:t>dolor</a:t>
            </a:r>
            <a:r>
              <a:rPr lang="en-GB">
                <a:solidFill>
                  <a:schemeClr val="tx1"/>
                </a:solidFill>
              </a:rPr>
              <a:t> </a:t>
            </a:r>
            <a:r>
              <a:rPr lang="en-GB" err="1">
                <a:solidFill>
                  <a:schemeClr val="tx1"/>
                </a:solidFill>
              </a:rPr>
              <a:t>amet</a:t>
            </a:r>
            <a:r>
              <a:rPr lang="en-GB">
                <a:solidFill>
                  <a:schemeClr val="tx1"/>
                </a:solidFill>
              </a:rPr>
              <a:t>.</a:t>
            </a:r>
          </a:p>
        </p:txBody>
      </p:sp>
      <p:sp>
        <p:nvSpPr>
          <p:cNvPr id="4" name="Title 3">
            <a:extLst>
              <a:ext uri="{FF2B5EF4-FFF2-40B4-BE49-F238E27FC236}">
                <a16:creationId xmlns:a16="http://schemas.microsoft.com/office/drawing/2014/main" id="{07F21970-4F2B-47DE-9565-1CB3703C7036}"/>
              </a:ext>
            </a:extLst>
          </p:cNvPr>
          <p:cNvSpPr>
            <a:spLocks noGrp="1"/>
          </p:cNvSpPr>
          <p:nvPr>
            <p:ph type="title"/>
          </p:nvPr>
        </p:nvSpPr>
        <p:spPr>
          <a:xfrm>
            <a:off x="404813" y="388188"/>
            <a:ext cx="10947772" cy="716711"/>
          </a:xfrm>
        </p:spPr>
        <p:txBody>
          <a:bodyPr/>
          <a:lstStyle/>
          <a:p>
            <a:pPr marL="95250" indent="-95250">
              <a:lnSpc>
                <a:spcPts val="8000"/>
              </a:lnSpc>
            </a:pPr>
            <a:r>
              <a:rPr lang="en-GB" sz="4000">
                <a:solidFill>
                  <a:schemeClr val="accent2"/>
                </a:solidFill>
              </a:rPr>
              <a:t>TITLE UBUNTU CAPS</a:t>
            </a:r>
            <a:endParaRPr lang="en-GB" sz="4000" b="1">
              <a:solidFill>
                <a:schemeClr val="accent2"/>
              </a:solidFill>
              <a:ea typeface="+mn-ea"/>
              <a:cs typeface="+mn-cs"/>
            </a:endParaRPr>
          </a:p>
        </p:txBody>
      </p:sp>
    </p:spTree>
    <p:extLst>
      <p:ext uri="{BB962C8B-B14F-4D97-AF65-F5344CB8AC3E}">
        <p14:creationId xmlns:p14="http://schemas.microsoft.com/office/powerpoint/2010/main" val="38672848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a:t>Cool palette use example</a:t>
            </a:r>
          </a:p>
        </p:txBody>
      </p:sp>
      <p:graphicFrame>
        <p:nvGraphicFramePr>
          <p:cNvPr id="5" name="Table 5">
            <a:extLst>
              <a:ext uri="{FF2B5EF4-FFF2-40B4-BE49-F238E27FC236}">
                <a16:creationId xmlns:a16="http://schemas.microsoft.com/office/drawing/2014/main" id="{B602B9F4-2677-4B43-894A-0029B8A53700}"/>
              </a:ext>
            </a:extLst>
          </p:cNvPr>
          <p:cNvGraphicFramePr>
            <a:graphicFrameLocks noGrp="1"/>
          </p:cNvGraphicFramePr>
          <p:nvPr>
            <p:ph sz="quarter" idx="4294967295"/>
            <p:extLst>
              <p:ext uri="{D42A27DB-BD31-4B8C-83A1-F6EECF244321}">
                <p14:modId xmlns:p14="http://schemas.microsoft.com/office/powerpoint/2010/main" val="2863979231"/>
              </p:ext>
            </p:extLst>
          </p:nvPr>
        </p:nvGraphicFramePr>
        <p:xfrm>
          <a:off x="409575" y="1330325"/>
          <a:ext cx="11374438" cy="2378074"/>
        </p:xfrm>
        <a:graphic>
          <a:graphicData uri="http://schemas.openxmlformats.org/drawingml/2006/table">
            <a:tbl>
              <a:tblPr firstRow="1" bandRow="1">
                <a:tableStyleId>{5C22544A-7EE6-4342-B048-85BDC9FD1C3A}</a:tableStyleId>
              </a:tblPr>
              <a:tblGrid>
                <a:gridCol w="5687219">
                  <a:extLst>
                    <a:ext uri="{9D8B030D-6E8A-4147-A177-3AD203B41FA5}">
                      <a16:colId xmlns:a16="http://schemas.microsoft.com/office/drawing/2014/main" val="2502375454"/>
                    </a:ext>
                  </a:extLst>
                </a:gridCol>
                <a:gridCol w="5687219">
                  <a:extLst>
                    <a:ext uri="{9D8B030D-6E8A-4147-A177-3AD203B41FA5}">
                      <a16:colId xmlns:a16="http://schemas.microsoft.com/office/drawing/2014/main" val="485265693"/>
                    </a:ext>
                  </a:extLst>
                </a:gridCol>
              </a:tblGrid>
              <a:tr h="753677">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0" i="0" u="none" strike="noStrike" kern="1200" baseline="0">
                          <a:solidFill>
                            <a:schemeClr val="lt1"/>
                          </a:solidFill>
                          <a:latin typeface="Ubuntu" panose="020B0504030602030204" pitchFamily="34" charset="0"/>
                          <a:ea typeface="+mn-ea"/>
                          <a:cs typeface="+mn-cs"/>
                        </a:rPr>
                        <a:t>HEADER</a:t>
                      </a:r>
                      <a:br>
                        <a:rPr lang="en-GB" sz="1800" b="0" i="0" u="none" strike="noStrike" kern="1200" baseline="0">
                          <a:solidFill>
                            <a:schemeClr val="lt1"/>
                          </a:solidFill>
                          <a:latin typeface="Ubuntu" panose="020B0504030602030204" pitchFamily="34" charset="0"/>
                          <a:ea typeface="+mn-ea"/>
                          <a:cs typeface="+mn-cs"/>
                        </a:rPr>
                      </a:br>
                      <a:r>
                        <a:rPr lang="en-GB" sz="1800" b="0" i="0" u="none" strike="noStrike" kern="1200" baseline="0">
                          <a:solidFill>
                            <a:schemeClr val="lt1"/>
                          </a:solidFill>
                          <a:latin typeface="Ubuntu" panose="020B0504030602030204" pitchFamily="34" charset="0"/>
                          <a:ea typeface="+mn-ea"/>
                          <a:cs typeface="+mn-cs"/>
                        </a:rPr>
                        <a:t>lorem ipsum </a:t>
                      </a:r>
                      <a:r>
                        <a:rPr lang="en-GB" sz="1800" b="0" i="0" u="none" strike="noStrike" kern="1200" baseline="0" err="1">
                          <a:solidFill>
                            <a:schemeClr val="lt1"/>
                          </a:solidFill>
                          <a:latin typeface="Ubuntu" panose="020B0504030602030204" pitchFamily="34" charset="0"/>
                          <a:ea typeface="+mn-ea"/>
                          <a:cs typeface="+mn-cs"/>
                        </a:rPr>
                        <a:t>dolor</a:t>
                      </a:r>
                      <a:r>
                        <a:rPr lang="en-GB" sz="1800" b="0" i="0" u="none" strike="noStrike" kern="1200" baseline="0">
                          <a:solidFill>
                            <a:schemeClr val="lt1"/>
                          </a:solidFill>
                          <a:latin typeface="Ubuntu" panose="020B0504030602030204" pitchFamily="34" charset="0"/>
                          <a:ea typeface="+mn-ea"/>
                          <a:cs typeface="+mn-cs"/>
                        </a:rPr>
                        <a:t> </a:t>
                      </a:r>
                      <a:r>
                        <a:rPr lang="en-GB" sz="1800" b="0" i="0" u="none" strike="noStrike" kern="1200" baseline="0" err="1">
                          <a:solidFill>
                            <a:schemeClr val="lt1"/>
                          </a:solidFill>
                          <a:latin typeface="Ubuntu" panose="020B0504030602030204" pitchFamily="34" charset="0"/>
                          <a:ea typeface="+mn-ea"/>
                          <a:cs typeface="+mn-cs"/>
                        </a:rPr>
                        <a:t>amet</a:t>
                      </a:r>
                      <a:endParaRPr lang="en-GB" sz="1800" b="0" i="0" u="none" strike="noStrike" kern="1200" baseline="0">
                        <a:solidFill>
                          <a:schemeClr val="lt1"/>
                        </a:solidFill>
                        <a:latin typeface="Ubuntu" panose="020B0504030602030204"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BFBF"/>
                    </a:solidFill>
                  </a:tcPr>
                </a:tc>
                <a:tc hMerge="1">
                  <a:txBody>
                    <a:bodyPr/>
                    <a:lstStyle/>
                    <a:p>
                      <a:endParaRPr lang="en-GB"/>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EA657"/>
                    </a:solidFill>
                  </a:tcPr>
                </a:tc>
                <a:extLst>
                  <a:ext uri="{0D108BD9-81ED-4DB2-BD59-A6C34878D82A}">
                    <a16:rowId xmlns:a16="http://schemas.microsoft.com/office/drawing/2014/main" val="147598181"/>
                  </a:ext>
                </a:extLst>
              </a:tr>
              <a:tr h="1624397">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err="1">
                          <a:solidFill>
                            <a:schemeClr val="tx1"/>
                          </a:solidFill>
                          <a:latin typeface="Ubuntu" panose="020B0504030602030204" pitchFamily="34" charset="0"/>
                          <a:ea typeface="+mn-ea"/>
                          <a:cs typeface="+mn-cs"/>
                        </a:rPr>
                        <a:t>dolor</a:t>
                      </a:r>
                      <a:r>
                        <a:rPr lang="en-GB" sz="1800" b="0" i="0" u="none" strike="noStrike" kern="1200" baseline="0">
                          <a:solidFill>
                            <a:schemeClr val="tx1"/>
                          </a:solidFill>
                          <a:latin typeface="Ubuntu" panose="020B0504030602030204" pitchFamily="34" charset="0"/>
                          <a:ea typeface="+mn-ea"/>
                          <a:cs typeface="+mn-cs"/>
                        </a:rPr>
                        <a:t> sit </a:t>
                      </a:r>
                      <a:r>
                        <a:rPr lang="en-GB" sz="1800" b="0" i="0" u="none" strike="noStrike" kern="1200" baseline="0" err="1">
                          <a:solidFill>
                            <a:schemeClr val="tx1"/>
                          </a:solidFill>
                          <a:latin typeface="Ubuntu" panose="020B0504030602030204" pitchFamily="34" charset="0"/>
                          <a:ea typeface="+mn-ea"/>
                          <a:cs typeface="+mn-cs"/>
                        </a:rPr>
                        <a:t>amet</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consetetur</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sadipscing</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elitr</a:t>
                      </a:r>
                      <a:endParaRPr lang="en-GB" sz="1800" b="0" i="0" u="none" strike="noStrike" kern="1200" baseline="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sed</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diam</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nonumy</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eirmod</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tempor</a:t>
                      </a:r>
                      <a:endParaRPr lang="en-GB" sz="1800" b="0" i="0" u="none" strike="noStrike" kern="1200" baseline="0">
                        <a:solidFill>
                          <a:schemeClr val="tx1"/>
                        </a:solidFill>
                        <a:latin typeface="Ubuntu" panose="020B0504030602030204" pitchFamily="34" charset="0"/>
                        <a:ea typeface="+mn-ea"/>
                        <a:cs typeface="+mn-cs"/>
                      </a:endParaRPr>
                    </a:p>
                  </a:txBody>
                  <a:tcPr anchor="ctr">
                    <a:lnL w="12700" cmpd="sng">
                      <a:noFill/>
                    </a:lnL>
                    <a:lnR w="12700" cap="flat" cmpd="sng" algn="ctr">
                      <a:solidFill>
                        <a:schemeClr val="accent4"/>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err="1">
                          <a:solidFill>
                            <a:schemeClr val="tx1"/>
                          </a:solidFill>
                          <a:latin typeface="Ubuntu" panose="020B0504030602030204" pitchFamily="34" charset="0"/>
                          <a:ea typeface="+mn-ea"/>
                          <a:cs typeface="+mn-cs"/>
                        </a:rPr>
                        <a:t>dolor</a:t>
                      </a:r>
                      <a:r>
                        <a:rPr lang="en-GB" sz="1800" b="0" i="0" u="none" strike="noStrike" kern="1200" baseline="0">
                          <a:solidFill>
                            <a:schemeClr val="tx1"/>
                          </a:solidFill>
                          <a:latin typeface="Ubuntu" panose="020B0504030602030204" pitchFamily="34" charset="0"/>
                          <a:ea typeface="+mn-ea"/>
                          <a:cs typeface="+mn-cs"/>
                        </a:rPr>
                        <a:t> sit </a:t>
                      </a:r>
                      <a:r>
                        <a:rPr lang="en-GB" sz="1800" b="0" i="0" u="none" strike="noStrike" kern="1200" baseline="0" err="1">
                          <a:solidFill>
                            <a:schemeClr val="tx1"/>
                          </a:solidFill>
                          <a:latin typeface="Ubuntu" panose="020B0504030602030204" pitchFamily="34" charset="0"/>
                          <a:ea typeface="+mn-ea"/>
                          <a:cs typeface="+mn-cs"/>
                        </a:rPr>
                        <a:t>amet</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consetetur</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sadipscing</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elitr</a:t>
                      </a:r>
                      <a:endParaRPr lang="en-GB" sz="1800" b="0" i="0" u="none" strike="noStrike" kern="1200" baseline="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sed</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diam</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nonumy</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eirmod</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tempor</a:t>
                      </a:r>
                      <a:endParaRPr lang="en-GB" sz="1800" b="0" i="0" u="none" strike="noStrike" kern="1200" baseline="0">
                        <a:solidFill>
                          <a:schemeClr val="tx1"/>
                        </a:solidFill>
                        <a:latin typeface="Ubuntu" panose="020B0504030602030204" pitchFamily="34" charset="0"/>
                        <a:ea typeface="+mn-ea"/>
                        <a:cs typeface="+mn-cs"/>
                      </a:endParaRPr>
                    </a:p>
                  </a:txBody>
                  <a:tcPr anchor="ctr">
                    <a:lnL w="12700" cap="flat" cmpd="sng" algn="ctr">
                      <a:solidFill>
                        <a:schemeClr val="accent4"/>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graphicFrame>
        <p:nvGraphicFramePr>
          <p:cNvPr id="11" name="Table 5">
            <a:extLst>
              <a:ext uri="{FF2B5EF4-FFF2-40B4-BE49-F238E27FC236}">
                <a16:creationId xmlns:a16="http://schemas.microsoft.com/office/drawing/2014/main" id="{5DC4E6EC-78A0-4077-83C0-E6713A611E5C}"/>
              </a:ext>
            </a:extLst>
          </p:cNvPr>
          <p:cNvGraphicFramePr>
            <a:graphicFrameLocks/>
          </p:cNvGraphicFramePr>
          <p:nvPr>
            <p:extLst>
              <p:ext uri="{D42A27DB-BD31-4B8C-83A1-F6EECF244321}">
                <p14:modId xmlns:p14="http://schemas.microsoft.com/office/powerpoint/2010/main" val="4171475140"/>
              </p:ext>
            </p:extLst>
          </p:nvPr>
        </p:nvGraphicFramePr>
        <p:xfrm>
          <a:off x="404813" y="4128860"/>
          <a:ext cx="5691187" cy="2148115"/>
        </p:xfrm>
        <a:graphic>
          <a:graphicData uri="http://schemas.openxmlformats.org/drawingml/2006/table">
            <a:tbl>
              <a:tblPr firstRow="1" bandRow="1">
                <a:tableStyleId>{5C22544A-7EE6-4342-B048-85BDC9FD1C3A}</a:tableStyleId>
              </a:tblPr>
              <a:tblGrid>
                <a:gridCol w="5691187">
                  <a:extLst>
                    <a:ext uri="{9D8B030D-6E8A-4147-A177-3AD203B41FA5}">
                      <a16:colId xmlns:a16="http://schemas.microsoft.com/office/drawing/2014/main" val="2502375454"/>
                    </a:ext>
                  </a:extLst>
                </a:gridCol>
              </a:tblGrid>
              <a:tr h="680796">
                <a:tc>
                  <a:txBody>
                    <a:bodyPr/>
                    <a:lstStyle/>
                    <a:p>
                      <a:pPr algn="ctr"/>
                      <a:r>
                        <a:rPr lang="en-GB" sz="1800" b="0" i="0" u="none" strike="noStrike" kern="1200" baseline="0">
                          <a:solidFill>
                            <a:schemeClr val="lt1"/>
                          </a:solidFill>
                          <a:latin typeface="Ubuntu" panose="020B0504030602030204" pitchFamily="34" charset="0"/>
                          <a:ea typeface="+mn-ea"/>
                          <a:cs typeface="+mn-cs"/>
                        </a:rPr>
                        <a:t>HEADER</a:t>
                      </a:r>
                      <a:endParaRPr lang="en-GB">
                        <a:latin typeface="Ubuntu" panose="020B050403060203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F878A"/>
                    </a:solidFill>
                  </a:tcPr>
                </a:tc>
                <a:extLst>
                  <a:ext uri="{0D108BD9-81ED-4DB2-BD59-A6C34878D82A}">
                    <a16:rowId xmlns:a16="http://schemas.microsoft.com/office/drawing/2014/main" val="147598181"/>
                  </a:ext>
                </a:extLst>
              </a:tr>
              <a:tr h="1467319">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err="1">
                          <a:solidFill>
                            <a:schemeClr val="tx1"/>
                          </a:solidFill>
                          <a:latin typeface="Ubuntu" panose="020B0504030602030204" pitchFamily="34" charset="0"/>
                          <a:ea typeface="+mn-ea"/>
                          <a:cs typeface="+mn-cs"/>
                        </a:rPr>
                        <a:t>dolor</a:t>
                      </a:r>
                      <a:r>
                        <a:rPr lang="en-GB" sz="1800" b="0" i="0" u="none" strike="noStrike" kern="1200" baseline="0">
                          <a:solidFill>
                            <a:schemeClr val="tx1"/>
                          </a:solidFill>
                          <a:latin typeface="Ubuntu" panose="020B0504030602030204" pitchFamily="34" charset="0"/>
                          <a:ea typeface="+mn-ea"/>
                          <a:cs typeface="+mn-cs"/>
                        </a:rPr>
                        <a:t> sit </a:t>
                      </a:r>
                      <a:r>
                        <a:rPr lang="en-GB" sz="1800" b="0" i="0" u="none" strike="noStrike" kern="1200" baseline="0" err="1">
                          <a:solidFill>
                            <a:schemeClr val="tx1"/>
                          </a:solidFill>
                          <a:latin typeface="Ubuntu" panose="020B0504030602030204" pitchFamily="34" charset="0"/>
                          <a:ea typeface="+mn-ea"/>
                          <a:cs typeface="+mn-cs"/>
                        </a:rPr>
                        <a:t>amet</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consetetur</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sadipscing</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elitr</a:t>
                      </a:r>
                      <a:endParaRPr lang="en-GB" sz="1800" b="0" i="0" u="none" strike="noStrike" kern="1200" baseline="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sed</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diam</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nonumy</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eirmod</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tempor</a:t>
                      </a:r>
                      <a:endParaRPr lang="en-GB" sz="1800" b="0" i="0" u="none" strike="noStrike" kern="1200" baseline="0">
                        <a:solidFill>
                          <a:schemeClr val="tx1"/>
                        </a:solidFill>
                        <a:latin typeface="Ubuntu" panose="020B0504030602030204" pitchFamily="34" charset="0"/>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graphicFrame>
        <p:nvGraphicFramePr>
          <p:cNvPr id="12" name="Table 5">
            <a:extLst>
              <a:ext uri="{FF2B5EF4-FFF2-40B4-BE49-F238E27FC236}">
                <a16:creationId xmlns:a16="http://schemas.microsoft.com/office/drawing/2014/main" id="{3079D638-0261-4223-BE3A-2B47D8E29714}"/>
              </a:ext>
            </a:extLst>
          </p:cNvPr>
          <p:cNvGraphicFramePr>
            <a:graphicFrameLocks/>
          </p:cNvGraphicFramePr>
          <p:nvPr>
            <p:extLst>
              <p:ext uri="{D42A27DB-BD31-4B8C-83A1-F6EECF244321}">
                <p14:modId xmlns:p14="http://schemas.microsoft.com/office/powerpoint/2010/main" val="3642304513"/>
              </p:ext>
            </p:extLst>
          </p:nvPr>
        </p:nvGraphicFramePr>
        <p:xfrm>
          <a:off x="6095999" y="4128860"/>
          <a:ext cx="5688013" cy="2148115"/>
        </p:xfrm>
        <a:graphic>
          <a:graphicData uri="http://schemas.openxmlformats.org/drawingml/2006/table">
            <a:tbl>
              <a:tblPr firstRow="1" bandRow="1">
                <a:tableStyleId>{5C22544A-7EE6-4342-B048-85BDC9FD1C3A}</a:tableStyleId>
              </a:tblPr>
              <a:tblGrid>
                <a:gridCol w="5688013">
                  <a:extLst>
                    <a:ext uri="{9D8B030D-6E8A-4147-A177-3AD203B41FA5}">
                      <a16:colId xmlns:a16="http://schemas.microsoft.com/office/drawing/2014/main" val="2502375454"/>
                    </a:ext>
                  </a:extLst>
                </a:gridCol>
              </a:tblGrid>
              <a:tr h="680796">
                <a:tc>
                  <a:txBody>
                    <a:bodyPr/>
                    <a:lstStyle/>
                    <a:p>
                      <a:pPr algn="ctr"/>
                      <a:r>
                        <a:rPr lang="en-GB" sz="1800" b="0" i="0" u="none" strike="noStrike" kern="1200" baseline="0">
                          <a:solidFill>
                            <a:schemeClr val="lt1"/>
                          </a:solidFill>
                          <a:latin typeface="Ubuntu" panose="020B0504030602030204" pitchFamily="34" charset="0"/>
                          <a:ea typeface="+mn-ea"/>
                          <a:cs typeface="+mn-cs"/>
                        </a:rPr>
                        <a:t>HEADER</a:t>
                      </a:r>
                      <a:endParaRPr lang="en-GB">
                        <a:latin typeface="Ubuntu" panose="020B050403060203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14596B"/>
                    </a:solidFill>
                  </a:tcPr>
                </a:tc>
                <a:extLst>
                  <a:ext uri="{0D108BD9-81ED-4DB2-BD59-A6C34878D82A}">
                    <a16:rowId xmlns:a16="http://schemas.microsoft.com/office/drawing/2014/main" val="147598181"/>
                  </a:ext>
                </a:extLst>
              </a:tr>
              <a:tr h="1467319">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tx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err="1">
                          <a:solidFill>
                            <a:schemeClr val="tx1"/>
                          </a:solidFill>
                          <a:latin typeface="Ubuntu" panose="020B0504030602030204" pitchFamily="34" charset="0"/>
                          <a:ea typeface="+mn-ea"/>
                          <a:cs typeface="+mn-cs"/>
                        </a:rPr>
                        <a:t>dolor</a:t>
                      </a:r>
                      <a:r>
                        <a:rPr lang="en-GB" sz="1800" b="0" i="0" u="none" strike="noStrike" kern="1200" baseline="0">
                          <a:solidFill>
                            <a:schemeClr val="tx1"/>
                          </a:solidFill>
                          <a:latin typeface="Ubuntu" panose="020B0504030602030204" pitchFamily="34" charset="0"/>
                          <a:ea typeface="+mn-ea"/>
                          <a:cs typeface="+mn-cs"/>
                        </a:rPr>
                        <a:t> sit </a:t>
                      </a:r>
                      <a:r>
                        <a:rPr lang="en-GB" sz="1800" b="0" i="0" u="none" strike="noStrike" kern="1200" baseline="0" err="1">
                          <a:solidFill>
                            <a:schemeClr val="tx1"/>
                          </a:solidFill>
                          <a:latin typeface="Ubuntu" panose="020B0504030602030204" pitchFamily="34" charset="0"/>
                          <a:ea typeface="+mn-ea"/>
                          <a:cs typeface="+mn-cs"/>
                        </a:rPr>
                        <a:t>amet</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consetetur</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sadipscing</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elitr</a:t>
                      </a:r>
                      <a:endParaRPr lang="en-GB" sz="1800" b="0" i="0" u="none" strike="noStrike" kern="1200" baseline="0">
                        <a:solidFill>
                          <a:schemeClr val="tx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sed</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diam</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nonumy</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eirmod</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tempor</a:t>
                      </a:r>
                      <a:endParaRPr lang="en-GB" sz="1800" b="0" i="0" u="none" strike="noStrike" kern="1200" baseline="0">
                        <a:solidFill>
                          <a:schemeClr val="tx1"/>
                        </a:solidFill>
                        <a:latin typeface="Ubuntu" panose="020B0504030602030204" pitchFamily="34" charset="0"/>
                        <a:ea typeface="+mn-ea"/>
                        <a:cs typeface="+mn-cs"/>
                      </a:endParaRPr>
                    </a:p>
                  </a:txBody>
                  <a:tcPr anchor="ctr">
                    <a:lnL w="12700" cap="flat" cmpd="sng" algn="ctr">
                      <a:solidFill>
                        <a:schemeClr val="accent4"/>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51229521"/>
                  </a:ext>
                </a:extLst>
              </a:tr>
            </a:tbl>
          </a:graphicData>
        </a:graphic>
      </p:graphicFrame>
    </p:spTree>
    <p:extLst>
      <p:ext uri="{BB962C8B-B14F-4D97-AF65-F5344CB8AC3E}">
        <p14:creationId xmlns:p14="http://schemas.microsoft.com/office/powerpoint/2010/main" val="102705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04813" y="388188"/>
            <a:ext cx="10947772" cy="716711"/>
          </a:xfrm>
        </p:spPr>
        <p:txBody>
          <a:bodyPr/>
          <a:lstStyle/>
          <a:p>
            <a:r>
              <a:rPr lang="en-GB"/>
              <a:t>Warm palette use example</a:t>
            </a:r>
          </a:p>
        </p:txBody>
      </p:sp>
      <p:graphicFrame>
        <p:nvGraphicFramePr>
          <p:cNvPr id="5" name="Table 5">
            <a:extLst>
              <a:ext uri="{FF2B5EF4-FFF2-40B4-BE49-F238E27FC236}">
                <a16:creationId xmlns:a16="http://schemas.microsoft.com/office/drawing/2014/main" id="{B602B9F4-2677-4B43-894A-0029B8A53700}"/>
              </a:ext>
            </a:extLst>
          </p:cNvPr>
          <p:cNvGraphicFramePr>
            <a:graphicFrameLocks noGrp="1"/>
          </p:cNvGraphicFramePr>
          <p:nvPr>
            <p:ph sz="quarter" idx="4294967295"/>
            <p:extLst>
              <p:ext uri="{D42A27DB-BD31-4B8C-83A1-F6EECF244321}">
                <p14:modId xmlns:p14="http://schemas.microsoft.com/office/powerpoint/2010/main" val="302093166"/>
              </p:ext>
            </p:extLst>
          </p:nvPr>
        </p:nvGraphicFramePr>
        <p:xfrm>
          <a:off x="419099" y="1330325"/>
          <a:ext cx="11364912" cy="3782074"/>
        </p:xfrm>
        <a:graphic>
          <a:graphicData uri="http://schemas.openxmlformats.org/drawingml/2006/table">
            <a:tbl>
              <a:tblPr firstRow="1" bandRow="1">
                <a:tableStyleId>{5C22544A-7EE6-4342-B048-85BDC9FD1C3A}</a:tableStyleId>
              </a:tblPr>
              <a:tblGrid>
                <a:gridCol w="5682456">
                  <a:extLst>
                    <a:ext uri="{9D8B030D-6E8A-4147-A177-3AD203B41FA5}">
                      <a16:colId xmlns:a16="http://schemas.microsoft.com/office/drawing/2014/main" val="2502375454"/>
                    </a:ext>
                  </a:extLst>
                </a:gridCol>
                <a:gridCol w="5682456">
                  <a:extLst>
                    <a:ext uri="{9D8B030D-6E8A-4147-A177-3AD203B41FA5}">
                      <a16:colId xmlns:a16="http://schemas.microsoft.com/office/drawing/2014/main" val="485265693"/>
                    </a:ext>
                  </a:extLst>
                </a:gridCol>
              </a:tblGrid>
              <a:tr h="753677">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i="0" u="none" strike="noStrike" kern="1200" baseline="0">
                          <a:solidFill>
                            <a:schemeClr val="lt1"/>
                          </a:solidFill>
                          <a:latin typeface="Ubuntu" panose="020B0504030602030204" pitchFamily="34" charset="0"/>
                          <a:ea typeface="+mn-ea"/>
                          <a:cs typeface="+mn-cs"/>
                        </a:rPr>
                        <a:t>HEADER</a:t>
                      </a:r>
                      <a:br>
                        <a:rPr lang="en-GB" sz="1800" b="0" i="0" u="none" strike="noStrike" kern="1200" baseline="0">
                          <a:solidFill>
                            <a:schemeClr val="lt1"/>
                          </a:solidFill>
                          <a:latin typeface="Ubuntu" panose="020B0504030602030204" pitchFamily="34" charset="0"/>
                          <a:ea typeface="+mn-ea"/>
                          <a:cs typeface="+mn-cs"/>
                        </a:rPr>
                      </a:br>
                      <a:r>
                        <a:rPr lang="en-GB" sz="1800" b="0" i="0" u="none" strike="noStrike" kern="1200" baseline="0">
                          <a:solidFill>
                            <a:schemeClr val="lt1"/>
                          </a:solidFill>
                          <a:latin typeface="Ubuntu" panose="020B0504030602030204" pitchFamily="34" charset="0"/>
                          <a:ea typeface="+mn-ea"/>
                          <a:cs typeface="+mn-cs"/>
                        </a:rPr>
                        <a:t>lorem ipsum </a:t>
                      </a:r>
                      <a:r>
                        <a:rPr lang="en-GB" sz="1800" b="0" i="0" u="none" strike="noStrike" kern="1200" baseline="0" err="1">
                          <a:solidFill>
                            <a:schemeClr val="lt1"/>
                          </a:solidFill>
                          <a:latin typeface="Ubuntu" panose="020B0504030602030204" pitchFamily="34" charset="0"/>
                          <a:ea typeface="+mn-ea"/>
                          <a:cs typeface="+mn-cs"/>
                        </a:rPr>
                        <a:t>dolor</a:t>
                      </a:r>
                      <a:r>
                        <a:rPr lang="en-GB" sz="1800" b="0" i="0" u="none" strike="noStrike" kern="1200" baseline="0">
                          <a:solidFill>
                            <a:schemeClr val="lt1"/>
                          </a:solidFill>
                          <a:latin typeface="Ubuntu" panose="020B0504030602030204" pitchFamily="34" charset="0"/>
                          <a:ea typeface="+mn-ea"/>
                          <a:cs typeface="+mn-cs"/>
                        </a:rPr>
                        <a:t> </a:t>
                      </a:r>
                      <a:r>
                        <a:rPr lang="en-GB" sz="1800" b="0" i="0" u="none" strike="noStrike" kern="1200" baseline="0" err="1">
                          <a:solidFill>
                            <a:schemeClr val="lt1"/>
                          </a:solidFill>
                          <a:latin typeface="Ubuntu" panose="020B0504030602030204" pitchFamily="34" charset="0"/>
                          <a:ea typeface="+mn-ea"/>
                          <a:cs typeface="+mn-cs"/>
                        </a:rPr>
                        <a:t>amet</a:t>
                      </a:r>
                      <a:endParaRPr lang="en-GB" sz="1800" b="0" i="0" u="none" strike="noStrike" kern="1200" baseline="0">
                        <a:solidFill>
                          <a:schemeClr val="lt1"/>
                        </a:solidFill>
                        <a:latin typeface="Ubuntu" panose="020B0504030602030204"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BA2980"/>
                    </a:solidFill>
                  </a:tcPr>
                </a:tc>
                <a:tc hMerge="1">
                  <a:txBody>
                    <a:bodyPr/>
                    <a:lstStyle/>
                    <a:p>
                      <a:endParaRPr lang="en-GB"/>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EA657"/>
                    </a:solidFill>
                  </a:tcPr>
                </a:tc>
                <a:extLst>
                  <a:ext uri="{0D108BD9-81ED-4DB2-BD59-A6C34878D82A}">
                    <a16:rowId xmlns:a16="http://schemas.microsoft.com/office/drawing/2014/main" val="147598181"/>
                  </a:ext>
                </a:extLst>
              </a:tr>
              <a:tr h="1624397">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bg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err="1">
                          <a:solidFill>
                            <a:schemeClr val="bg1"/>
                          </a:solidFill>
                          <a:latin typeface="Ubuntu" panose="020B0504030602030204" pitchFamily="34" charset="0"/>
                          <a:ea typeface="+mn-ea"/>
                          <a:cs typeface="+mn-cs"/>
                        </a:rPr>
                        <a:t>dolor</a:t>
                      </a:r>
                      <a:r>
                        <a:rPr lang="en-GB" sz="1800" b="0" i="0" u="none" strike="noStrike" kern="1200" baseline="0">
                          <a:solidFill>
                            <a:schemeClr val="bg1"/>
                          </a:solidFill>
                          <a:latin typeface="Ubuntu" panose="020B0504030602030204" pitchFamily="34" charset="0"/>
                          <a:ea typeface="+mn-ea"/>
                          <a:cs typeface="+mn-cs"/>
                        </a:rPr>
                        <a:t> sit </a:t>
                      </a:r>
                      <a:r>
                        <a:rPr lang="en-GB" sz="1800" b="0" i="0" u="none" strike="noStrike" kern="1200" baseline="0" err="1">
                          <a:solidFill>
                            <a:schemeClr val="bg1"/>
                          </a:solidFill>
                          <a:latin typeface="Ubuntu" panose="020B0504030602030204" pitchFamily="34" charset="0"/>
                          <a:ea typeface="+mn-ea"/>
                          <a:cs typeface="+mn-cs"/>
                        </a:rPr>
                        <a:t>amet</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consetetur</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sadipscing</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elitr</a:t>
                      </a:r>
                      <a:endParaRPr lang="en-GB" sz="1800" b="0" i="0" u="none" strike="noStrike" kern="1200" baseline="0">
                        <a:solidFill>
                          <a:schemeClr val="bg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sed</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diam</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nonumy</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eirmod</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tempor</a:t>
                      </a:r>
                      <a:endParaRPr lang="en-GB" sz="1800" b="0" i="0" u="none" strike="noStrike" kern="1200" baseline="0">
                        <a:solidFill>
                          <a:schemeClr val="bg1"/>
                        </a:solidFill>
                        <a:latin typeface="Ubuntu" panose="020B0504030602030204" pitchFamily="34" charset="0"/>
                        <a:ea typeface="+mn-ea"/>
                        <a:cs typeface="+mn-cs"/>
                      </a:endParaRPr>
                    </a:p>
                  </a:txBody>
                  <a:tcPr anchor="ctr">
                    <a:lnL w="12700" cmpd="sng">
                      <a:noFill/>
                    </a:lnL>
                    <a:lnR w="12700" cap="flat" cmpd="sng" algn="ctr">
                      <a:solidFill>
                        <a:srgbClr val="BA2980"/>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750D5C"/>
                    </a:solidFill>
                  </a:tcPr>
                </a:tc>
                <a:tc>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bg1"/>
                          </a:solidFill>
                          <a:latin typeface="Ubuntu" panose="020B0504030602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err="1">
                          <a:solidFill>
                            <a:schemeClr val="bg1"/>
                          </a:solidFill>
                          <a:latin typeface="Ubuntu" panose="020B0504030602030204" pitchFamily="34" charset="0"/>
                          <a:ea typeface="+mn-ea"/>
                          <a:cs typeface="+mn-cs"/>
                        </a:rPr>
                        <a:t>dolor</a:t>
                      </a:r>
                      <a:r>
                        <a:rPr lang="en-GB" sz="1800" b="0" i="0" u="none" strike="noStrike" kern="1200" baseline="0">
                          <a:solidFill>
                            <a:schemeClr val="bg1"/>
                          </a:solidFill>
                          <a:latin typeface="Ubuntu" panose="020B0504030602030204" pitchFamily="34" charset="0"/>
                          <a:ea typeface="+mn-ea"/>
                          <a:cs typeface="+mn-cs"/>
                        </a:rPr>
                        <a:t> sit </a:t>
                      </a:r>
                      <a:r>
                        <a:rPr lang="en-GB" sz="1800" b="0" i="0" u="none" strike="noStrike" kern="1200" baseline="0" err="1">
                          <a:solidFill>
                            <a:schemeClr val="bg1"/>
                          </a:solidFill>
                          <a:latin typeface="Ubuntu" panose="020B0504030602030204" pitchFamily="34" charset="0"/>
                          <a:ea typeface="+mn-ea"/>
                          <a:cs typeface="+mn-cs"/>
                        </a:rPr>
                        <a:t>amet</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consetetur</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sadipscing</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elitr</a:t>
                      </a:r>
                      <a:endParaRPr lang="en-GB" sz="1800" b="0" i="0" u="none" strike="noStrike" kern="1200" baseline="0">
                        <a:solidFill>
                          <a:schemeClr val="bg1"/>
                        </a:solidFill>
                        <a:latin typeface="Ubuntu" panose="020B0504030602030204" pitchFamily="34" charset="0"/>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sed</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diam</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nonumy</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eirmod</a:t>
                      </a:r>
                      <a:r>
                        <a:rPr lang="en-GB" sz="1800" b="0" i="0" u="none" strike="noStrike" kern="1200" baseline="0">
                          <a:solidFill>
                            <a:schemeClr val="bg1"/>
                          </a:solidFill>
                          <a:latin typeface="Ubuntu" panose="020B0504030602030204" pitchFamily="34" charset="0"/>
                          <a:ea typeface="+mn-ea"/>
                          <a:cs typeface="+mn-cs"/>
                        </a:rPr>
                        <a:t> </a:t>
                      </a:r>
                      <a:r>
                        <a:rPr lang="en-GB" sz="1800" b="0" i="0" u="none" strike="noStrike" kern="1200" baseline="0" err="1">
                          <a:solidFill>
                            <a:schemeClr val="bg1"/>
                          </a:solidFill>
                          <a:latin typeface="Ubuntu" panose="020B0504030602030204" pitchFamily="34" charset="0"/>
                          <a:ea typeface="+mn-ea"/>
                          <a:cs typeface="+mn-cs"/>
                        </a:rPr>
                        <a:t>tempor</a:t>
                      </a:r>
                      <a:endParaRPr lang="en-GB" sz="1800" b="0" i="0" u="none" strike="noStrike" kern="1200" baseline="0">
                        <a:solidFill>
                          <a:schemeClr val="bg1"/>
                        </a:solidFill>
                        <a:latin typeface="Ubuntu" panose="020B0504030602030204" pitchFamily="34" charset="0"/>
                        <a:ea typeface="+mn-ea"/>
                        <a:cs typeface="+mn-cs"/>
                      </a:endParaRPr>
                    </a:p>
                  </a:txBody>
                  <a:tcPr anchor="ctr">
                    <a:lnL w="12700" cap="flat" cmpd="sng" algn="ctr">
                      <a:solidFill>
                        <a:srgbClr val="BA2980"/>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750D5C"/>
                    </a:solidFill>
                  </a:tcPr>
                </a:tc>
                <a:extLst>
                  <a:ext uri="{0D108BD9-81ED-4DB2-BD59-A6C34878D82A}">
                    <a16:rowId xmlns:a16="http://schemas.microsoft.com/office/drawing/2014/main" val="3851229521"/>
                  </a:ext>
                </a:extLst>
              </a:tr>
              <a:tr h="468000">
                <a:tc gridSpan="2">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a:solidFill>
                            <a:schemeClr val="tx1"/>
                          </a:solidFill>
                          <a:latin typeface="Ubuntu" panose="020B0504030602030204" pitchFamily="34" charset="0"/>
                          <a:ea typeface="+mn-ea"/>
                          <a:cs typeface="+mn-cs"/>
                        </a:rPr>
                        <a:t>Lorem ipsum</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hMerge="1">
                  <a:txBody>
                    <a:bodyPr/>
                    <a:lstStyle/>
                    <a:p>
                      <a:pPr marL="0" algn="ctr" defTabSz="914400" rtl="0" eaLnBrk="1" latinLnBrk="0" hangingPunct="1">
                        <a:spcAft>
                          <a:spcPts val="1200"/>
                        </a:spcAft>
                      </a:pPr>
                      <a:endParaRPr lang="en-GB" sz="1800" b="0" i="0" u="none" strike="noStrike" kern="1200" baseline="0">
                        <a:solidFill>
                          <a:schemeClr val="bg1"/>
                        </a:solidFill>
                        <a:latin typeface="+mn-lt"/>
                        <a:ea typeface="+mn-ea"/>
                        <a:cs typeface="+mn-cs"/>
                      </a:endParaRPr>
                    </a:p>
                  </a:txBody>
                  <a:tcPr anchor="ctr">
                    <a:lnL w="12700" cap="flat" cmpd="sng" algn="ctr">
                      <a:solidFill>
                        <a:srgbClr val="BA2980"/>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550663320"/>
                  </a:ext>
                </a:extLst>
              </a:tr>
              <a:tr h="468000">
                <a:tc gridSpan="2">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err="1">
                          <a:solidFill>
                            <a:schemeClr val="tx1"/>
                          </a:solidFill>
                          <a:latin typeface="Ubuntu" panose="020B0504030602030204" pitchFamily="34" charset="0"/>
                          <a:ea typeface="+mn-ea"/>
                          <a:cs typeface="+mn-cs"/>
                        </a:rPr>
                        <a:t>dolor</a:t>
                      </a:r>
                      <a:r>
                        <a:rPr lang="en-GB" sz="1800" b="0" i="0" u="none" strike="noStrike" kern="1200" baseline="0">
                          <a:solidFill>
                            <a:schemeClr val="tx1"/>
                          </a:solidFill>
                          <a:latin typeface="Ubuntu" panose="020B0504030602030204" pitchFamily="34" charset="0"/>
                          <a:ea typeface="+mn-ea"/>
                          <a:cs typeface="+mn-cs"/>
                        </a:rPr>
                        <a:t> sit </a:t>
                      </a:r>
                      <a:r>
                        <a:rPr lang="en-GB" sz="1800" b="0" i="0" u="none" strike="noStrike" kern="1200" baseline="0" err="1">
                          <a:solidFill>
                            <a:schemeClr val="tx1"/>
                          </a:solidFill>
                          <a:latin typeface="Ubuntu" panose="020B0504030602030204" pitchFamily="34" charset="0"/>
                          <a:ea typeface="+mn-ea"/>
                          <a:cs typeface="+mn-cs"/>
                        </a:rPr>
                        <a:t>amet</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consetetur</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sadipscing</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elitr</a:t>
                      </a:r>
                      <a:endParaRPr lang="en-GB" sz="1800" b="0" i="0" u="none" strike="noStrike" kern="1200" baseline="0">
                        <a:solidFill>
                          <a:schemeClr val="tx1"/>
                        </a:solidFill>
                        <a:latin typeface="Ubuntu" panose="020B0504030602030204" pitchFamily="34" charset="0"/>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tc hMerge="1">
                  <a:txBody>
                    <a:bodyPr/>
                    <a:lstStyle/>
                    <a:p>
                      <a:pPr marL="0" algn="ctr" defTabSz="914400" rtl="0" eaLnBrk="1" latinLnBrk="0" hangingPunct="1">
                        <a:spcAft>
                          <a:spcPts val="1200"/>
                        </a:spcAft>
                      </a:pPr>
                      <a:endParaRPr lang="en-GB" sz="1800" b="0" i="0" u="none" strike="noStrike" kern="1200" baseline="0">
                        <a:solidFill>
                          <a:schemeClr val="bg1"/>
                        </a:solidFill>
                        <a:latin typeface="+mn-lt"/>
                        <a:ea typeface="+mn-ea"/>
                        <a:cs typeface="+mn-cs"/>
                      </a:endParaRPr>
                    </a:p>
                  </a:txBody>
                  <a:tcPr anchor="ctr">
                    <a:lnL w="12700" cap="flat" cmpd="sng" algn="ctr">
                      <a:solidFill>
                        <a:srgbClr val="BA2980"/>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17639717"/>
                  </a:ext>
                </a:extLst>
              </a:tr>
              <a:tr h="468000">
                <a:tc gridSpan="2">
                  <a: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GB" sz="1800" b="0" i="0" u="none" strike="noStrike" kern="1200" baseline="0" err="1">
                          <a:solidFill>
                            <a:schemeClr val="tx1"/>
                          </a:solidFill>
                          <a:latin typeface="Ubuntu" panose="020B0504030602030204" pitchFamily="34" charset="0"/>
                          <a:ea typeface="+mn-ea"/>
                          <a:cs typeface="+mn-cs"/>
                        </a:rPr>
                        <a:t>sed</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diam</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nonumy</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eirmod</a:t>
                      </a:r>
                      <a:r>
                        <a:rPr lang="en-GB" sz="1800" b="0" i="0" u="none" strike="noStrike" kern="1200" baseline="0">
                          <a:solidFill>
                            <a:schemeClr val="tx1"/>
                          </a:solidFill>
                          <a:latin typeface="Ubuntu" panose="020B0504030602030204" pitchFamily="34" charset="0"/>
                          <a:ea typeface="+mn-ea"/>
                          <a:cs typeface="+mn-cs"/>
                        </a:rPr>
                        <a:t> </a:t>
                      </a:r>
                      <a:r>
                        <a:rPr lang="en-GB" sz="1800" b="0" i="0" u="none" strike="noStrike" kern="1200" baseline="0" err="1">
                          <a:solidFill>
                            <a:schemeClr val="tx1"/>
                          </a:solidFill>
                          <a:latin typeface="Ubuntu" panose="020B0504030602030204" pitchFamily="34" charset="0"/>
                          <a:ea typeface="+mn-ea"/>
                          <a:cs typeface="+mn-cs"/>
                        </a:rPr>
                        <a:t>tempor</a:t>
                      </a:r>
                      <a:endParaRPr lang="en-GB" sz="1800" b="0" i="0" u="none" strike="noStrike" kern="1200" baseline="0">
                        <a:solidFill>
                          <a:schemeClr val="tx1"/>
                        </a:solidFill>
                        <a:latin typeface="Ubuntu" panose="020B0504030602030204" pitchFamily="34" charset="0"/>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hMerge="1">
                  <a:txBody>
                    <a:bodyPr/>
                    <a:lstStyle/>
                    <a:p>
                      <a:endParaRPr lang="en-GB"/>
                    </a:p>
                  </a:txBody>
                  <a:tcPr/>
                </a:tc>
                <a:extLst>
                  <a:ext uri="{0D108BD9-81ED-4DB2-BD59-A6C34878D82A}">
                    <a16:rowId xmlns:a16="http://schemas.microsoft.com/office/drawing/2014/main" val="361269273"/>
                  </a:ext>
                </a:extLst>
              </a:tr>
            </a:tbl>
          </a:graphicData>
        </a:graphic>
      </p:graphicFrame>
      <p:sp>
        <p:nvSpPr>
          <p:cNvPr id="2" name="Isosceles Triangle 1">
            <a:extLst>
              <a:ext uri="{FF2B5EF4-FFF2-40B4-BE49-F238E27FC236}">
                <a16:creationId xmlns:a16="http://schemas.microsoft.com/office/drawing/2014/main" id="{6134C9EB-C299-45FF-A2F8-0EC8C4C1C9AD}"/>
              </a:ext>
            </a:extLst>
          </p:cNvPr>
          <p:cNvSpPr/>
          <p:nvPr/>
        </p:nvSpPr>
        <p:spPr>
          <a:xfrm rot="10800000">
            <a:off x="457200" y="5137800"/>
            <a:ext cx="11277600" cy="746525"/>
          </a:xfrm>
          <a:prstGeom prst="triangle">
            <a:avLst/>
          </a:prstGeom>
          <a:solidFill>
            <a:srgbClr val="75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1155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86090-BF8B-46A4-B679-3723F2652D74}"/>
              </a:ext>
            </a:extLst>
          </p:cNvPr>
          <p:cNvSpPr>
            <a:spLocks noGrp="1"/>
          </p:cNvSpPr>
          <p:nvPr>
            <p:ph type="title"/>
          </p:nvPr>
        </p:nvSpPr>
        <p:spPr>
          <a:xfrm>
            <a:off x="404813" y="388188"/>
            <a:ext cx="10947772" cy="716711"/>
          </a:xfrm>
        </p:spPr>
        <p:txBody>
          <a:bodyPr/>
          <a:lstStyle/>
          <a:p>
            <a:r>
              <a:rPr lang="en-GB"/>
              <a:t>Title</a:t>
            </a:r>
            <a:br>
              <a:rPr lang="en-GB"/>
            </a:br>
            <a:r>
              <a:rPr lang="en-GB"/>
              <a:t>(Work for 1 or 2 lines of title)</a:t>
            </a:r>
          </a:p>
        </p:txBody>
      </p:sp>
      <p:sp>
        <p:nvSpPr>
          <p:cNvPr id="44" name="Rectangle: Rounded Corners 43">
            <a:extLst>
              <a:ext uri="{FF2B5EF4-FFF2-40B4-BE49-F238E27FC236}">
                <a16:creationId xmlns:a16="http://schemas.microsoft.com/office/drawing/2014/main" id="{7FD89B3A-7EB7-4EE9-AE1A-D02041DB3660}"/>
              </a:ext>
            </a:extLst>
          </p:cNvPr>
          <p:cNvSpPr/>
          <p:nvPr/>
        </p:nvSpPr>
        <p:spPr>
          <a:xfrm>
            <a:off x="1504710" y="4906365"/>
            <a:ext cx="10279302" cy="1128258"/>
          </a:xfrm>
          <a:prstGeom prst="roundRect">
            <a:avLst>
              <a:gd name="adj" fmla="val 203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Rectangle: Rounded Corners 44">
            <a:extLst>
              <a:ext uri="{FF2B5EF4-FFF2-40B4-BE49-F238E27FC236}">
                <a16:creationId xmlns:a16="http://schemas.microsoft.com/office/drawing/2014/main" id="{4A65F35C-C24F-4DD7-A116-87F7A1C92085}"/>
              </a:ext>
            </a:extLst>
          </p:cNvPr>
          <p:cNvSpPr/>
          <p:nvPr/>
        </p:nvSpPr>
        <p:spPr>
          <a:xfrm>
            <a:off x="1504710" y="1910357"/>
            <a:ext cx="10279304" cy="1128258"/>
          </a:xfrm>
          <a:prstGeom prst="roundRect">
            <a:avLst>
              <a:gd name="adj" fmla="val 3361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46" name="Table Placeholder 4">
            <a:extLst>
              <a:ext uri="{FF2B5EF4-FFF2-40B4-BE49-F238E27FC236}">
                <a16:creationId xmlns:a16="http://schemas.microsoft.com/office/drawing/2014/main" id="{312B6EEE-8145-4620-A7E4-7E5802F1A9F0}"/>
              </a:ext>
            </a:extLst>
          </p:cNvPr>
          <p:cNvGraphicFramePr>
            <a:graphicFrameLocks/>
          </p:cNvGraphicFramePr>
          <p:nvPr>
            <p:extLst>
              <p:ext uri="{D42A27DB-BD31-4B8C-83A1-F6EECF244321}">
                <p14:modId xmlns:p14="http://schemas.microsoft.com/office/powerpoint/2010/main" val="656288984"/>
              </p:ext>
            </p:extLst>
          </p:nvPr>
        </p:nvGraphicFramePr>
        <p:xfrm>
          <a:off x="407989" y="2073275"/>
          <a:ext cx="11376023" cy="3887790"/>
        </p:xfrm>
        <a:graphic>
          <a:graphicData uri="http://schemas.openxmlformats.org/drawingml/2006/table">
            <a:tbl>
              <a:tblPr firstRow="1" bandRow="1">
                <a:tableStyleId>{5C22544A-7EE6-4342-B048-85BDC9FD1C3A}</a:tableStyleId>
              </a:tblPr>
              <a:tblGrid>
                <a:gridCol w="1098847">
                  <a:extLst>
                    <a:ext uri="{9D8B030D-6E8A-4147-A177-3AD203B41FA5}">
                      <a16:colId xmlns:a16="http://schemas.microsoft.com/office/drawing/2014/main" val="2607851620"/>
                    </a:ext>
                  </a:extLst>
                </a:gridCol>
                <a:gridCol w="1468168">
                  <a:extLst>
                    <a:ext uri="{9D8B030D-6E8A-4147-A177-3AD203B41FA5}">
                      <a16:colId xmlns:a16="http://schemas.microsoft.com/office/drawing/2014/main" val="1243403413"/>
                    </a:ext>
                  </a:extLst>
                </a:gridCol>
                <a:gridCol w="1468168">
                  <a:extLst>
                    <a:ext uri="{9D8B030D-6E8A-4147-A177-3AD203B41FA5}">
                      <a16:colId xmlns:a16="http://schemas.microsoft.com/office/drawing/2014/main" val="1389503925"/>
                    </a:ext>
                  </a:extLst>
                </a:gridCol>
                <a:gridCol w="1468168">
                  <a:extLst>
                    <a:ext uri="{9D8B030D-6E8A-4147-A177-3AD203B41FA5}">
                      <a16:colId xmlns:a16="http://schemas.microsoft.com/office/drawing/2014/main" val="3631262642"/>
                    </a:ext>
                  </a:extLst>
                </a:gridCol>
                <a:gridCol w="1468168">
                  <a:extLst>
                    <a:ext uri="{9D8B030D-6E8A-4147-A177-3AD203B41FA5}">
                      <a16:colId xmlns:a16="http://schemas.microsoft.com/office/drawing/2014/main" val="2121792064"/>
                    </a:ext>
                  </a:extLst>
                </a:gridCol>
                <a:gridCol w="1468168">
                  <a:extLst>
                    <a:ext uri="{9D8B030D-6E8A-4147-A177-3AD203B41FA5}">
                      <a16:colId xmlns:a16="http://schemas.microsoft.com/office/drawing/2014/main" val="2163038458"/>
                    </a:ext>
                  </a:extLst>
                </a:gridCol>
                <a:gridCol w="1468168">
                  <a:extLst>
                    <a:ext uri="{9D8B030D-6E8A-4147-A177-3AD203B41FA5}">
                      <a16:colId xmlns:a16="http://schemas.microsoft.com/office/drawing/2014/main" val="2134234959"/>
                    </a:ext>
                  </a:extLst>
                </a:gridCol>
                <a:gridCol w="1468168">
                  <a:extLst>
                    <a:ext uri="{9D8B030D-6E8A-4147-A177-3AD203B41FA5}">
                      <a16:colId xmlns:a16="http://schemas.microsoft.com/office/drawing/2014/main" val="1865152723"/>
                    </a:ext>
                  </a:extLst>
                </a:gridCol>
              </a:tblGrid>
              <a:tr h="532788">
                <a:tc>
                  <a:txBody>
                    <a:bodyPr/>
                    <a:lstStyle/>
                    <a:p>
                      <a:pPr algn="ctr"/>
                      <a:endParaRPr lang="en-GB" sz="1200" noProof="0"/>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a:solidFill>
                            <a:schemeClr val="accent2"/>
                          </a:solidFill>
                          <a:latin typeface="+mn-lt"/>
                        </a:rPr>
                        <a:t>TEXT</a:t>
                      </a:r>
                    </a:p>
                  </a:txBody>
                  <a:tcPr marL="110322" marR="110322"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a:solidFill>
                            <a:schemeClr val="accent2"/>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a:solidFill>
                            <a:schemeClr val="accent2"/>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400"/>
                        </a:lnSpc>
                      </a:pPr>
                      <a:r>
                        <a:rPr lang="en-GB" sz="1400" b="0" noProof="0">
                          <a:solidFill>
                            <a:schemeClr val="accent2"/>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0" noProof="0">
                          <a:solidFill>
                            <a:schemeClr val="accent2"/>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0" noProof="0">
                          <a:solidFill>
                            <a:schemeClr val="accent2"/>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GB" sz="1400" b="0" noProof="0">
                          <a:solidFill>
                            <a:schemeClr val="accent2"/>
                          </a:solidFill>
                          <a:latin typeface="+mn-lt"/>
                        </a:rPr>
                        <a:t>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lnSpc>
                          <a:spcPts val="1400"/>
                        </a:lnSpc>
                      </a:pPr>
                      <a:r>
                        <a:rPr lang="en-GB" sz="1200" b="0" noProof="0">
                          <a:solidFill>
                            <a:schemeClr val="bg1"/>
                          </a:solidFill>
                          <a:latin typeface="+mn-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l">
                        <a:lnSpc>
                          <a:spcPts val="1400"/>
                        </a:lnSpc>
                      </a:pPr>
                      <a:r>
                        <a:rPr lang="en-GB" sz="1200" noProof="0">
                          <a:solidFill>
                            <a:schemeClr val="tx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0348787"/>
                  </a:ext>
                </a:extLst>
              </a:tr>
              <a:tr h="847761">
                <a:tc>
                  <a:txBody>
                    <a:bodyPr/>
                    <a:lstStyle/>
                    <a:p>
                      <a:pPr algn="l">
                        <a:lnSpc>
                          <a:spcPts val="1400"/>
                        </a:lnSpc>
                      </a:pPr>
                      <a:r>
                        <a:rPr lang="en-GB" sz="1200" b="0" noProof="0">
                          <a:solidFill>
                            <a:schemeClr val="bg1"/>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lnSpc>
                          <a:spcPts val="1400"/>
                        </a:lnSpc>
                      </a:pPr>
                      <a:r>
                        <a:rPr lang="en-GB" sz="1200" b="0" noProof="0">
                          <a:solidFill>
                            <a:schemeClr val="bg1"/>
                          </a:solidFill>
                          <a:latin typeface="+mn-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0" i="0" u="none" strike="noStrike" kern="1200" cap="none" spc="0" normalizeH="0" baseline="0" noProof="0">
                          <a:ln>
                            <a:noFill/>
                          </a:ln>
                          <a:solidFill>
                            <a:srgbClr val="434343"/>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endParaRPr lang="en-GB" sz="1200" b="1" noProof="0">
                        <a:solidFill>
                          <a:schemeClr val="bg1"/>
                        </a:solidFill>
                        <a:latin typeface="+mn-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ts val="1400"/>
                        </a:lnSpc>
                      </a:pPr>
                      <a:r>
                        <a:rPr lang="en-GB" sz="1200" b="1" noProof="0">
                          <a:solidFill>
                            <a:schemeClr val="bg1"/>
                          </a:solidFill>
                          <a:latin typeface="+mn-lt"/>
                        </a:rPr>
                        <a:t>Example text</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lnSpc>
                          <a:spcPts val="1400"/>
                        </a:lnSpc>
                      </a:pPr>
                      <a:r>
                        <a:rPr lang="en-GB" sz="1200" b="1" noProof="0">
                          <a:solidFill>
                            <a:schemeClr val="bg1"/>
                          </a:solidFill>
                          <a:latin typeface="+mn-lt"/>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mn-lt"/>
                          <a:ea typeface="+mn-ea"/>
                          <a:cs typeface="+mn-cs"/>
                        </a:rPr>
                        <a:t>Example text</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extLst>
      <p:ext uri="{BB962C8B-B14F-4D97-AF65-F5344CB8AC3E}">
        <p14:creationId xmlns:p14="http://schemas.microsoft.com/office/powerpoint/2010/main" val="426090520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813" y="388188"/>
            <a:ext cx="10947772" cy="716711"/>
          </a:xfrm>
        </p:spPr>
        <p:txBody>
          <a:bodyPr/>
          <a:lstStyle/>
          <a:p>
            <a:r>
              <a:rPr lang="en-GB"/>
              <a:t>Title</a:t>
            </a:r>
            <a:br>
              <a:rPr lang="en-GB"/>
            </a:br>
            <a:r>
              <a:rPr lang="en-GB"/>
              <a:t>(Work for 1 or 2 lines of title)</a:t>
            </a:r>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tx1"/>
                  </a:solidFill>
                  <a:effectLst/>
                  <a:uLnTx/>
                  <a:uFillTx/>
                  <a:latin typeface="Ubuntu" panose="020B0504030602030204" pitchFamily="34" charset="0"/>
                </a:rPr>
                <a:t>Click to insert text</a:t>
              </a: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bg1"/>
                </a:solidFill>
                <a:effectLst/>
                <a:uLnTx/>
                <a:uFillTx/>
                <a:latin typeface="Ubuntu" panose="020B0504030602030204" pitchFamily="34" charset="0"/>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bg1"/>
                </a:solidFill>
                <a:effectLst/>
                <a:uLnTx/>
                <a:uFillTx/>
                <a:latin typeface="Ubuntu" panose="020B0504030602030204" pitchFamily="34" charset="0"/>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a:solidFill>
                <a:srgbClr val="FFFFFF"/>
              </a:solidFill>
              <a:latin typeface="Ubuntu" panose="020B0504030602030204" pitchFamily="34" charset="0"/>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a:solidFill>
                <a:srgbClr val="FFFFFF"/>
              </a:solidFill>
              <a:latin typeface="Ubuntu" panose="020B0504030602030204" pitchFamily="34" charset="0"/>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kern="0">
              <a:solidFill>
                <a:srgbClr val="FFFFFF"/>
              </a:solidFill>
              <a:latin typeface="Ubuntu" panose="020B0504030602030204" pitchFamily="34" charset="0"/>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GB" sz="1600" b="1" kern="0">
                <a:solidFill>
                  <a:schemeClr val="bg1"/>
                </a:solidFill>
                <a:latin typeface="Ubuntu" panose="020B0504030602030204" pitchFamily="34" charset="0"/>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GB">
                <a:latin typeface="Ubuntu" panose="020B0504030602030204" pitchFamily="34" charset="0"/>
              </a:rPr>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chemeClr val="bg1"/>
                </a:solidFill>
                <a:effectLst/>
                <a:uLnTx/>
                <a:uFillTx/>
                <a:latin typeface="Ubuntu" panose="020B0504030602030204" pitchFamily="34" charset="0"/>
              </a:rPr>
              <a:t>Insert Group Name</a:t>
            </a: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241DAC-8B16-4858-A360-7442E1626EB0}"/>
              </a:ext>
            </a:extLst>
          </p:cNvPr>
          <p:cNvSpPr>
            <a:spLocks noGrp="1"/>
          </p:cNvSpPr>
          <p:nvPr>
            <p:ph type="title"/>
          </p:nvPr>
        </p:nvSpPr>
        <p:spPr/>
        <p:txBody>
          <a:bodyPr/>
          <a:lstStyle/>
          <a:p>
            <a:r>
              <a:rPr lang="en-US"/>
              <a:t>What is data governance?</a:t>
            </a:r>
          </a:p>
        </p:txBody>
      </p:sp>
      <p:sp>
        <p:nvSpPr>
          <p:cNvPr id="4" name="Freeform 5">
            <a:extLst>
              <a:ext uri="{FF2B5EF4-FFF2-40B4-BE49-F238E27FC236}">
                <a16:creationId xmlns:a16="http://schemas.microsoft.com/office/drawing/2014/main" id="{D5ACC87C-ADD9-4EE9-985F-9E0E86DE453B}"/>
              </a:ext>
            </a:extLst>
          </p:cNvPr>
          <p:cNvSpPr>
            <a:spLocks/>
          </p:cNvSpPr>
          <p:nvPr/>
        </p:nvSpPr>
        <p:spPr bwMode="auto">
          <a:xfrm>
            <a:off x="5521772" y="4130940"/>
            <a:ext cx="1234346" cy="901208"/>
          </a:xfrm>
          <a:custGeom>
            <a:avLst/>
            <a:gdLst>
              <a:gd name="T0" fmla="*/ 290 w 297"/>
              <a:gd name="T1" fmla="*/ 226 h 226"/>
              <a:gd name="T2" fmla="*/ 287 w 297"/>
              <a:gd name="T3" fmla="*/ 225 h 226"/>
              <a:gd name="T4" fmla="*/ 138 w 297"/>
              <a:gd name="T5" fmla="*/ 14 h 226"/>
              <a:gd name="T6" fmla="*/ 8 w 297"/>
              <a:gd name="T7" fmla="*/ 44 h 226"/>
              <a:gd name="T8" fmla="*/ 1 w 297"/>
              <a:gd name="T9" fmla="*/ 39 h 226"/>
              <a:gd name="T10" fmla="*/ 6 w 297"/>
              <a:gd name="T11" fmla="*/ 32 h 226"/>
              <a:gd name="T12" fmla="*/ 141 w 297"/>
              <a:gd name="T13" fmla="*/ 1 h 226"/>
              <a:gd name="T14" fmla="*/ 149 w 297"/>
              <a:gd name="T15" fmla="*/ 6 h 226"/>
              <a:gd name="T16" fmla="*/ 294 w 297"/>
              <a:gd name="T17" fmla="*/ 215 h 226"/>
              <a:gd name="T18" fmla="*/ 295 w 297"/>
              <a:gd name="T19" fmla="*/ 223 h 226"/>
              <a:gd name="T20" fmla="*/ 290 w 297"/>
              <a:gd name="T2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7" h="226">
                <a:moveTo>
                  <a:pt x="290" y="226"/>
                </a:moveTo>
                <a:cubicBezTo>
                  <a:pt x="289" y="226"/>
                  <a:pt x="288" y="226"/>
                  <a:pt x="287" y="225"/>
                </a:cubicBezTo>
                <a:cubicBezTo>
                  <a:pt x="212" y="176"/>
                  <a:pt x="160" y="101"/>
                  <a:pt x="138" y="14"/>
                </a:cubicBezTo>
                <a:cubicBezTo>
                  <a:pt x="8" y="44"/>
                  <a:pt x="8" y="44"/>
                  <a:pt x="8" y="44"/>
                </a:cubicBezTo>
                <a:cubicBezTo>
                  <a:pt x="5" y="44"/>
                  <a:pt x="2" y="42"/>
                  <a:pt x="1" y="39"/>
                </a:cubicBezTo>
                <a:cubicBezTo>
                  <a:pt x="0" y="36"/>
                  <a:pt x="2" y="33"/>
                  <a:pt x="6" y="32"/>
                </a:cubicBezTo>
                <a:cubicBezTo>
                  <a:pt x="141" y="1"/>
                  <a:pt x="141" y="1"/>
                  <a:pt x="141" y="1"/>
                </a:cubicBezTo>
                <a:cubicBezTo>
                  <a:pt x="145" y="0"/>
                  <a:pt x="148" y="2"/>
                  <a:pt x="149" y="6"/>
                </a:cubicBezTo>
                <a:cubicBezTo>
                  <a:pt x="168" y="92"/>
                  <a:pt x="220" y="166"/>
                  <a:pt x="294" y="215"/>
                </a:cubicBezTo>
                <a:cubicBezTo>
                  <a:pt x="296" y="217"/>
                  <a:pt x="297" y="221"/>
                  <a:pt x="295" y="223"/>
                </a:cubicBezTo>
                <a:cubicBezTo>
                  <a:pt x="294" y="225"/>
                  <a:pt x="292" y="226"/>
                  <a:pt x="290" y="226"/>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 name="Group 4">
            <a:extLst>
              <a:ext uri="{FF2B5EF4-FFF2-40B4-BE49-F238E27FC236}">
                <a16:creationId xmlns:a16="http://schemas.microsoft.com/office/drawing/2014/main" id="{E64CFAED-7B0F-4374-B7D9-FDF68EF64245}"/>
              </a:ext>
            </a:extLst>
          </p:cNvPr>
          <p:cNvGrpSpPr/>
          <p:nvPr/>
        </p:nvGrpSpPr>
        <p:grpSpPr>
          <a:xfrm>
            <a:off x="6620327" y="5071590"/>
            <a:ext cx="1382466" cy="554134"/>
            <a:chOff x="4025750" y="3693811"/>
            <a:chExt cx="836700" cy="349869"/>
          </a:xfrm>
          <a:solidFill>
            <a:schemeClr val="accent2">
              <a:lumMod val="50000"/>
            </a:schemeClr>
          </a:solidFill>
        </p:grpSpPr>
        <p:sp>
          <p:nvSpPr>
            <p:cNvPr id="6" name="Freeform 6">
              <a:extLst>
                <a:ext uri="{FF2B5EF4-FFF2-40B4-BE49-F238E27FC236}">
                  <a16:creationId xmlns:a16="http://schemas.microsoft.com/office/drawing/2014/main" id="{F3C4D524-40C9-4898-BC30-2020533A9039}"/>
                </a:ext>
              </a:extLst>
            </p:cNvPr>
            <p:cNvSpPr>
              <a:spLocks/>
            </p:cNvSpPr>
            <p:nvPr/>
          </p:nvSpPr>
          <p:spPr bwMode="auto">
            <a:xfrm>
              <a:off x="4025750" y="3693811"/>
              <a:ext cx="185518" cy="349869"/>
            </a:xfrm>
            <a:custGeom>
              <a:avLst/>
              <a:gdLst>
                <a:gd name="T0" fmla="*/ 7 w 74"/>
                <a:gd name="T1" fmla="*/ 139 h 139"/>
                <a:gd name="T2" fmla="*/ 4 w 74"/>
                <a:gd name="T3" fmla="*/ 138 h 139"/>
                <a:gd name="T4" fmla="*/ 1 w 74"/>
                <a:gd name="T5" fmla="*/ 130 h 139"/>
                <a:gd name="T6" fmla="*/ 62 w 74"/>
                <a:gd name="T7" fmla="*/ 5 h 139"/>
                <a:gd name="T8" fmla="*/ 70 w 74"/>
                <a:gd name="T9" fmla="*/ 2 h 139"/>
                <a:gd name="T10" fmla="*/ 73 w 74"/>
                <a:gd name="T11" fmla="*/ 10 h 139"/>
                <a:gd name="T12" fmla="*/ 12 w 74"/>
                <a:gd name="T13" fmla="*/ 135 h 139"/>
                <a:gd name="T14" fmla="*/ 7 w 74"/>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39">
                  <a:moveTo>
                    <a:pt x="7" y="139"/>
                  </a:moveTo>
                  <a:cubicBezTo>
                    <a:pt x="6" y="139"/>
                    <a:pt x="5" y="138"/>
                    <a:pt x="4" y="138"/>
                  </a:cubicBezTo>
                  <a:cubicBezTo>
                    <a:pt x="1" y="137"/>
                    <a:pt x="0" y="133"/>
                    <a:pt x="1" y="130"/>
                  </a:cubicBezTo>
                  <a:cubicBezTo>
                    <a:pt x="62" y="5"/>
                    <a:pt x="62" y="5"/>
                    <a:pt x="62" y="5"/>
                  </a:cubicBezTo>
                  <a:cubicBezTo>
                    <a:pt x="63" y="2"/>
                    <a:pt x="67" y="0"/>
                    <a:pt x="70" y="2"/>
                  </a:cubicBezTo>
                  <a:cubicBezTo>
                    <a:pt x="73" y="3"/>
                    <a:pt x="74" y="7"/>
                    <a:pt x="73" y="10"/>
                  </a:cubicBezTo>
                  <a:cubicBezTo>
                    <a:pt x="12" y="135"/>
                    <a:pt x="12" y="135"/>
                    <a:pt x="12" y="135"/>
                  </a:cubicBezTo>
                  <a:cubicBezTo>
                    <a:pt x="11" y="137"/>
                    <a:pt x="9" y="139"/>
                    <a:pt x="7" y="1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7C539B79-69C8-43AB-B810-39D8175D50A0}"/>
                </a:ext>
              </a:extLst>
            </p:cNvPr>
            <p:cNvSpPr>
              <a:spLocks/>
            </p:cNvSpPr>
            <p:nvPr/>
          </p:nvSpPr>
          <p:spPr bwMode="auto">
            <a:xfrm>
              <a:off x="4176406" y="3693811"/>
              <a:ext cx="686044" cy="120773"/>
            </a:xfrm>
            <a:custGeom>
              <a:avLst/>
              <a:gdLst>
                <a:gd name="T0" fmla="*/ 158 w 273"/>
                <a:gd name="T1" fmla="*/ 48 h 48"/>
                <a:gd name="T2" fmla="*/ 5 w 273"/>
                <a:gd name="T3" fmla="*/ 13 h 48"/>
                <a:gd name="T4" fmla="*/ 2 w 273"/>
                <a:gd name="T5" fmla="*/ 5 h 48"/>
                <a:gd name="T6" fmla="*/ 10 w 273"/>
                <a:gd name="T7" fmla="*/ 2 h 48"/>
                <a:gd name="T8" fmla="*/ 264 w 273"/>
                <a:gd name="T9" fmla="*/ 19 h 48"/>
                <a:gd name="T10" fmla="*/ 272 w 273"/>
                <a:gd name="T11" fmla="*/ 23 h 48"/>
                <a:gd name="T12" fmla="*/ 268 w 273"/>
                <a:gd name="T13" fmla="*/ 30 h 48"/>
                <a:gd name="T14" fmla="*/ 158 w 273"/>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3" h="48">
                  <a:moveTo>
                    <a:pt x="158" y="48"/>
                  </a:moveTo>
                  <a:cubicBezTo>
                    <a:pt x="106" y="48"/>
                    <a:pt x="53" y="36"/>
                    <a:pt x="5" y="13"/>
                  </a:cubicBezTo>
                  <a:cubicBezTo>
                    <a:pt x="2" y="11"/>
                    <a:pt x="0" y="8"/>
                    <a:pt x="2" y="5"/>
                  </a:cubicBezTo>
                  <a:cubicBezTo>
                    <a:pt x="3" y="2"/>
                    <a:pt x="7" y="0"/>
                    <a:pt x="10" y="2"/>
                  </a:cubicBezTo>
                  <a:cubicBezTo>
                    <a:pt x="90" y="40"/>
                    <a:pt x="180" y="46"/>
                    <a:pt x="264" y="19"/>
                  </a:cubicBezTo>
                  <a:cubicBezTo>
                    <a:pt x="267" y="18"/>
                    <a:pt x="271" y="20"/>
                    <a:pt x="272" y="23"/>
                  </a:cubicBezTo>
                  <a:cubicBezTo>
                    <a:pt x="273" y="26"/>
                    <a:pt x="271" y="29"/>
                    <a:pt x="268" y="30"/>
                  </a:cubicBezTo>
                  <a:cubicBezTo>
                    <a:pt x="232" y="42"/>
                    <a:pt x="195" y="48"/>
                    <a:pt x="15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Freeform 8">
            <a:extLst>
              <a:ext uri="{FF2B5EF4-FFF2-40B4-BE49-F238E27FC236}">
                <a16:creationId xmlns:a16="http://schemas.microsoft.com/office/drawing/2014/main" id="{B56A9206-EB38-430B-81DC-CE33A177A338}"/>
              </a:ext>
            </a:extLst>
          </p:cNvPr>
          <p:cNvSpPr>
            <a:spLocks/>
          </p:cNvSpPr>
          <p:nvPr/>
        </p:nvSpPr>
        <p:spPr bwMode="auto">
          <a:xfrm>
            <a:off x="8128299" y="4310394"/>
            <a:ext cx="781751" cy="1315329"/>
          </a:xfrm>
          <a:custGeom>
            <a:avLst/>
            <a:gdLst>
              <a:gd name="T0" fmla="*/ 67 w 188"/>
              <a:gd name="T1" fmla="*/ 330 h 330"/>
              <a:gd name="T2" fmla="*/ 62 w 188"/>
              <a:gd name="T3" fmla="*/ 326 h 330"/>
              <a:gd name="T4" fmla="*/ 1 w 188"/>
              <a:gd name="T5" fmla="*/ 201 h 330"/>
              <a:gd name="T6" fmla="*/ 4 w 188"/>
              <a:gd name="T7" fmla="*/ 193 h 330"/>
              <a:gd name="T8" fmla="*/ 176 w 188"/>
              <a:gd name="T9" fmla="*/ 5 h 330"/>
              <a:gd name="T10" fmla="*/ 184 w 188"/>
              <a:gd name="T11" fmla="*/ 1 h 330"/>
              <a:gd name="T12" fmla="*/ 187 w 188"/>
              <a:gd name="T13" fmla="*/ 9 h 330"/>
              <a:gd name="T14" fmla="*/ 15 w 188"/>
              <a:gd name="T15" fmla="*/ 201 h 330"/>
              <a:gd name="T16" fmla="*/ 72 w 188"/>
              <a:gd name="T17" fmla="*/ 321 h 330"/>
              <a:gd name="T18" fmla="*/ 70 w 188"/>
              <a:gd name="T19" fmla="*/ 329 h 330"/>
              <a:gd name="T20" fmla="*/ 67 w 188"/>
              <a:gd name="T21"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330">
                <a:moveTo>
                  <a:pt x="67" y="330"/>
                </a:moveTo>
                <a:cubicBezTo>
                  <a:pt x="65" y="330"/>
                  <a:pt x="63" y="328"/>
                  <a:pt x="62" y="326"/>
                </a:cubicBezTo>
                <a:cubicBezTo>
                  <a:pt x="1" y="201"/>
                  <a:pt x="1" y="201"/>
                  <a:pt x="1" y="201"/>
                </a:cubicBezTo>
                <a:cubicBezTo>
                  <a:pt x="0" y="198"/>
                  <a:pt x="1" y="194"/>
                  <a:pt x="4" y="193"/>
                </a:cubicBezTo>
                <a:cubicBezTo>
                  <a:pt x="84" y="154"/>
                  <a:pt x="145" y="88"/>
                  <a:pt x="176" y="5"/>
                </a:cubicBezTo>
                <a:cubicBezTo>
                  <a:pt x="177" y="2"/>
                  <a:pt x="181" y="0"/>
                  <a:pt x="184" y="1"/>
                </a:cubicBezTo>
                <a:cubicBezTo>
                  <a:pt x="187" y="2"/>
                  <a:pt x="188" y="6"/>
                  <a:pt x="187" y="9"/>
                </a:cubicBezTo>
                <a:cubicBezTo>
                  <a:pt x="156" y="93"/>
                  <a:pt x="94" y="161"/>
                  <a:pt x="15" y="201"/>
                </a:cubicBezTo>
                <a:cubicBezTo>
                  <a:pt x="72" y="321"/>
                  <a:pt x="72" y="321"/>
                  <a:pt x="72" y="321"/>
                </a:cubicBezTo>
                <a:cubicBezTo>
                  <a:pt x="74" y="324"/>
                  <a:pt x="73" y="328"/>
                  <a:pt x="70" y="329"/>
                </a:cubicBezTo>
                <a:cubicBezTo>
                  <a:pt x="69" y="329"/>
                  <a:pt x="68" y="330"/>
                  <a:pt x="67" y="3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EDEBDFD1-597B-47D7-AFCC-68BC62B67915}"/>
              </a:ext>
            </a:extLst>
          </p:cNvPr>
          <p:cNvSpPr>
            <a:spLocks/>
          </p:cNvSpPr>
          <p:nvPr/>
        </p:nvSpPr>
        <p:spPr bwMode="auto">
          <a:xfrm>
            <a:off x="8743413" y="3109439"/>
            <a:ext cx="785867" cy="1197009"/>
          </a:xfrm>
          <a:custGeom>
            <a:avLst/>
            <a:gdLst>
              <a:gd name="T0" fmla="*/ 183 w 189"/>
              <a:gd name="T1" fmla="*/ 300 h 300"/>
              <a:gd name="T2" fmla="*/ 181 w 189"/>
              <a:gd name="T3" fmla="*/ 300 h 300"/>
              <a:gd name="T4" fmla="*/ 46 w 189"/>
              <a:gd name="T5" fmla="*/ 269 h 300"/>
              <a:gd name="T6" fmla="*/ 42 w 189"/>
              <a:gd name="T7" fmla="*/ 266 h 300"/>
              <a:gd name="T8" fmla="*/ 41 w 189"/>
              <a:gd name="T9" fmla="*/ 261 h 300"/>
              <a:gd name="T10" fmla="*/ 1 w 189"/>
              <a:gd name="T11" fmla="*/ 10 h 300"/>
              <a:gd name="T12" fmla="*/ 3 w 189"/>
              <a:gd name="T13" fmla="*/ 2 h 300"/>
              <a:gd name="T14" fmla="*/ 12 w 189"/>
              <a:gd name="T15" fmla="*/ 4 h 300"/>
              <a:gd name="T16" fmla="*/ 54 w 189"/>
              <a:gd name="T17" fmla="*/ 258 h 300"/>
              <a:gd name="T18" fmla="*/ 184 w 189"/>
              <a:gd name="T19" fmla="*/ 288 h 300"/>
              <a:gd name="T20" fmla="*/ 189 w 189"/>
              <a:gd name="T21" fmla="*/ 295 h 300"/>
              <a:gd name="T22" fmla="*/ 183 w 189"/>
              <a:gd name="T23"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300">
                <a:moveTo>
                  <a:pt x="183" y="300"/>
                </a:moveTo>
                <a:cubicBezTo>
                  <a:pt x="182" y="300"/>
                  <a:pt x="182" y="300"/>
                  <a:pt x="181" y="300"/>
                </a:cubicBezTo>
                <a:cubicBezTo>
                  <a:pt x="46" y="269"/>
                  <a:pt x="46" y="269"/>
                  <a:pt x="46" y="269"/>
                </a:cubicBezTo>
                <a:cubicBezTo>
                  <a:pt x="44" y="268"/>
                  <a:pt x="43" y="267"/>
                  <a:pt x="42" y="266"/>
                </a:cubicBezTo>
                <a:cubicBezTo>
                  <a:pt x="41" y="265"/>
                  <a:pt x="41" y="263"/>
                  <a:pt x="41" y="261"/>
                </a:cubicBezTo>
                <a:cubicBezTo>
                  <a:pt x="61" y="175"/>
                  <a:pt x="47" y="86"/>
                  <a:pt x="1" y="10"/>
                </a:cubicBezTo>
                <a:cubicBezTo>
                  <a:pt x="0" y="7"/>
                  <a:pt x="1" y="3"/>
                  <a:pt x="3" y="2"/>
                </a:cubicBezTo>
                <a:cubicBezTo>
                  <a:pt x="6" y="0"/>
                  <a:pt x="10" y="1"/>
                  <a:pt x="12" y="4"/>
                </a:cubicBezTo>
                <a:cubicBezTo>
                  <a:pt x="58" y="81"/>
                  <a:pt x="73" y="171"/>
                  <a:pt x="54" y="258"/>
                </a:cubicBezTo>
                <a:cubicBezTo>
                  <a:pt x="184" y="288"/>
                  <a:pt x="184" y="288"/>
                  <a:pt x="184" y="288"/>
                </a:cubicBezTo>
                <a:cubicBezTo>
                  <a:pt x="187" y="289"/>
                  <a:pt x="189" y="292"/>
                  <a:pt x="189" y="295"/>
                </a:cubicBezTo>
                <a:cubicBezTo>
                  <a:pt x="188" y="298"/>
                  <a:pt x="186" y="300"/>
                  <a:pt x="183" y="30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7FF9BAC8-526E-4C31-9C02-CDDBE39C1E40}"/>
              </a:ext>
            </a:extLst>
          </p:cNvPr>
          <p:cNvSpPr>
            <a:spLocks/>
          </p:cNvSpPr>
          <p:nvPr/>
        </p:nvSpPr>
        <p:spPr bwMode="auto">
          <a:xfrm>
            <a:off x="7696277" y="2446844"/>
            <a:ext cx="1442128" cy="558079"/>
          </a:xfrm>
          <a:custGeom>
            <a:avLst/>
            <a:gdLst>
              <a:gd name="T0" fmla="*/ 232 w 347"/>
              <a:gd name="T1" fmla="*/ 140 h 140"/>
              <a:gd name="T2" fmla="*/ 231 w 347"/>
              <a:gd name="T3" fmla="*/ 140 h 140"/>
              <a:gd name="T4" fmla="*/ 227 w 347"/>
              <a:gd name="T5" fmla="*/ 138 h 140"/>
              <a:gd name="T6" fmla="*/ 5 w 347"/>
              <a:gd name="T7" fmla="*/ 12 h 140"/>
              <a:gd name="T8" fmla="*/ 0 w 347"/>
              <a:gd name="T9" fmla="*/ 5 h 140"/>
              <a:gd name="T10" fmla="*/ 7 w 347"/>
              <a:gd name="T11" fmla="*/ 0 h 140"/>
              <a:gd name="T12" fmla="*/ 233 w 347"/>
              <a:gd name="T13" fmla="*/ 126 h 140"/>
              <a:gd name="T14" fmla="*/ 337 w 347"/>
              <a:gd name="T15" fmla="*/ 43 h 140"/>
              <a:gd name="T16" fmla="*/ 345 w 347"/>
              <a:gd name="T17" fmla="*/ 43 h 140"/>
              <a:gd name="T18" fmla="*/ 344 w 347"/>
              <a:gd name="T19" fmla="*/ 52 h 140"/>
              <a:gd name="T20" fmla="*/ 235 w 347"/>
              <a:gd name="T21" fmla="*/ 139 h 140"/>
              <a:gd name="T22" fmla="*/ 232 w 347"/>
              <a:gd name="T2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7" h="140">
                <a:moveTo>
                  <a:pt x="232" y="140"/>
                </a:moveTo>
                <a:cubicBezTo>
                  <a:pt x="231" y="140"/>
                  <a:pt x="231" y="140"/>
                  <a:pt x="231" y="140"/>
                </a:cubicBezTo>
                <a:cubicBezTo>
                  <a:pt x="229" y="140"/>
                  <a:pt x="228" y="139"/>
                  <a:pt x="227" y="138"/>
                </a:cubicBezTo>
                <a:cubicBezTo>
                  <a:pt x="172" y="69"/>
                  <a:pt x="93" y="24"/>
                  <a:pt x="5" y="12"/>
                </a:cubicBezTo>
                <a:cubicBezTo>
                  <a:pt x="2" y="12"/>
                  <a:pt x="0" y="9"/>
                  <a:pt x="0" y="5"/>
                </a:cubicBezTo>
                <a:cubicBezTo>
                  <a:pt x="1" y="2"/>
                  <a:pt x="4" y="0"/>
                  <a:pt x="7" y="0"/>
                </a:cubicBezTo>
                <a:cubicBezTo>
                  <a:pt x="96" y="12"/>
                  <a:pt x="176" y="57"/>
                  <a:pt x="233" y="126"/>
                </a:cubicBezTo>
                <a:cubicBezTo>
                  <a:pt x="337" y="43"/>
                  <a:pt x="337" y="43"/>
                  <a:pt x="337" y="43"/>
                </a:cubicBezTo>
                <a:cubicBezTo>
                  <a:pt x="339" y="40"/>
                  <a:pt x="343" y="41"/>
                  <a:pt x="345" y="43"/>
                </a:cubicBezTo>
                <a:cubicBezTo>
                  <a:pt x="347" y="46"/>
                  <a:pt x="347" y="50"/>
                  <a:pt x="344" y="52"/>
                </a:cubicBezTo>
                <a:cubicBezTo>
                  <a:pt x="235" y="139"/>
                  <a:pt x="235" y="139"/>
                  <a:pt x="235" y="139"/>
                </a:cubicBezTo>
                <a:cubicBezTo>
                  <a:pt x="234" y="140"/>
                  <a:pt x="233" y="140"/>
                  <a:pt x="232" y="140"/>
                </a:cubicBezTo>
                <a:close/>
              </a:path>
            </a:pathLst>
          </a:custGeom>
          <a:solidFill>
            <a:schemeClr val="accent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B40133D2-F081-4E6F-AE7A-7D0C6FC55911}"/>
              </a:ext>
            </a:extLst>
          </p:cNvPr>
          <p:cNvSpPr>
            <a:spLocks/>
          </p:cNvSpPr>
          <p:nvPr/>
        </p:nvSpPr>
        <p:spPr bwMode="auto">
          <a:xfrm>
            <a:off x="6498962" y="1880877"/>
            <a:ext cx="1051251" cy="989949"/>
          </a:xfrm>
          <a:custGeom>
            <a:avLst/>
            <a:gdLst>
              <a:gd name="T0" fmla="*/ 7 w 253"/>
              <a:gd name="T1" fmla="*/ 248 h 248"/>
              <a:gd name="T2" fmla="*/ 2 w 253"/>
              <a:gd name="T3" fmla="*/ 246 h 248"/>
              <a:gd name="T4" fmla="*/ 3 w 253"/>
              <a:gd name="T5" fmla="*/ 237 h 248"/>
              <a:gd name="T6" fmla="*/ 241 w 253"/>
              <a:gd name="T7" fmla="*/ 139 h 248"/>
              <a:gd name="T8" fmla="*/ 241 w 253"/>
              <a:gd name="T9" fmla="*/ 6 h 248"/>
              <a:gd name="T10" fmla="*/ 247 w 253"/>
              <a:gd name="T11" fmla="*/ 0 h 248"/>
              <a:gd name="T12" fmla="*/ 253 w 253"/>
              <a:gd name="T13" fmla="*/ 6 h 248"/>
              <a:gd name="T14" fmla="*/ 253 w 253"/>
              <a:gd name="T15" fmla="*/ 145 h 248"/>
              <a:gd name="T16" fmla="*/ 252 w 253"/>
              <a:gd name="T17" fmla="*/ 149 h 248"/>
              <a:gd name="T18" fmla="*/ 247 w 253"/>
              <a:gd name="T19" fmla="*/ 151 h 248"/>
              <a:gd name="T20" fmla="*/ 11 w 253"/>
              <a:gd name="T21" fmla="*/ 246 h 248"/>
              <a:gd name="T22" fmla="*/ 7 w 253"/>
              <a:gd name="T23"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3" h="248">
                <a:moveTo>
                  <a:pt x="7" y="248"/>
                </a:moveTo>
                <a:cubicBezTo>
                  <a:pt x="5" y="248"/>
                  <a:pt x="4" y="247"/>
                  <a:pt x="2" y="246"/>
                </a:cubicBezTo>
                <a:cubicBezTo>
                  <a:pt x="0" y="243"/>
                  <a:pt x="0" y="239"/>
                  <a:pt x="3" y="237"/>
                </a:cubicBezTo>
                <a:cubicBezTo>
                  <a:pt x="67" y="175"/>
                  <a:pt x="152" y="141"/>
                  <a:pt x="241" y="139"/>
                </a:cubicBezTo>
                <a:cubicBezTo>
                  <a:pt x="241" y="6"/>
                  <a:pt x="241" y="6"/>
                  <a:pt x="241" y="6"/>
                </a:cubicBezTo>
                <a:cubicBezTo>
                  <a:pt x="241" y="2"/>
                  <a:pt x="244" y="0"/>
                  <a:pt x="247" y="0"/>
                </a:cubicBezTo>
                <a:cubicBezTo>
                  <a:pt x="251" y="0"/>
                  <a:pt x="253" y="2"/>
                  <a:pt x="253" y="6"/>
                </a:cubicBezTo>
                <a:cubicBezTo>
                  <a:pt x="253" y="145"/>
                  <a:pt x="253" y="145"/>
                  <a:pt x="253" y="145"/>
                </a:cubicBezTo>
                <a:cubicBezTo>
                  <a:pt x="253" y="147"/>
                  <a:pt x="253" y="148"/>
                  <a:pt x="252" y="149"/>
                </a:cubicBezTo>
                <a:cubicBezTo>
                  <a:pt x="250" y="150"/>
                  <a:pt x="249" y="151"/>
                  <a:pt x="247" y="151"/>
                </a:cubicBezTo>
                <a:cubicBezTo>
                  <a:pt x="159" y="151"/>
                  <a:pt x="75" y="185"/>
                  <a:pt x="11" y="246"/>
                </a:cubicBezTo>
                <a:cubicBezTo>
                  <a:pt x="10" y="247"/>
                  <a:pt x="8" y="248"/>
                  <a:pt x="7" y="2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8CB4F488-F08C-4E17-8BAD-442029A2F9CF}"/>
              </a:ext>
            </a:extLst>
          </p:cNvPr>
          <p:cNvSpPr>
            <a:spLocks/>
          </p:cNvSpPr>
          <p:nvPr/>
        </p:nvSpPr>
        <p:spPr bwMode="auto">
          <a:xfrm>
            <a:off x="5912648" y="2610522"/>
            <a:ext cx="508140" cy="1388296"/>
          </a:xfrm>
          <a:custGeom>
            <a:avLst/>
            <a:gdLst>
              <a:gd name="T0" fmla="*/ 41 w 122"/>
              <a:gd name="T1" fmla="*/ 348 h 348"/>
              <a:gd name="T2" fmla="*/ 35 w 122"/>
              <a:gd name="T3" fmla="*/ 342 h 348"/>
              <a:gd name="T4" fmla="*/ 108 w 122"/>
              <a:gd name="T5" fmla="*/ 94 h 348"/>
              <a:gd name="T6" fmla="*/ 3 w 122"/>
              <a:gd name="T7" fmla="*/ 11 h 348"/>
              <a:gd name="T8" fmla="*/ 2 w 122"/>
              <a:gd name="T9" fmla="*/ 3 h 348"/>
              <a:gd name="T10" fmla="*/ 11 w 122"/>
              <a:gd name="T11" fmla="*/ 2 h 348"/>
              <a:gd name="T12" fmla="*/ 120 w 122"/>
              <a:gd name="T13" fmla="*/ 88 h 348"/>
              <a:gd name="T14" fmla="*/ 122 w 122"/>
              <a:gd name="T15" fmla="*/ 93 h 348"/>
              <a:gd name="T16" fmla="*/ 121 w 122"/>
              <a:gd name="T17" fmla="*/ 97 h 348"/>
              <a:gd name="T18" fmla="*/ 47 w 122"/>
              <a:gd name="T19" fmla="*/ 341 h 348"/>
              <a:gd name="T20" fmla="*/ 42 w 122"/>
              <a:gd name="T21" fmla="*/ 347 h 348"/>
              <a:gd name="T22" fmla="*/ 41 w 122"/>
              <a:gd name="T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348">
                <a:moveTo>
                  <a:pt x="41" y="348"/>
                </a:moveTo>
                <a:cubicBezTo>
                  <a:pt x="38" y="348"/>
                  <a:pt x="36" y="345"/>
                  <a:pt x="35" y="342"/>
                </a:cubicBezTo>
                <a:cubicBezTo>
                  <a:pt x="27" y="253"/>
                  <a:pt x="53" y="165"/>
                  <a:pt x="108" y="94"/>
                </a:cubicBezTo>
                <a:cubicBezTo>
                  <a:pt x="3" y="11"/>
                  <a:pt x="3" y="11"/>
                  <a:pt x="3" y="11"/>
                </a:cubicBezTo>
                <a:cubicBezTo>
                  <a:pt x="1" y="9"/>
                  <a:pt x="0" y="5"/>
                  <a:pt x="2" y="3"/>
                </a:cubicBezTo>
                <a:cubicBezTo>
                  <a:pt x="4" y="0"/>
                  <a:pt x="8" y="0"/>
                  <a:pt x="11" y="2"/>
                </a:cubicBezTo>
                <a:cubicBezTo>
                  <a:pt x="120" y="88"/>
                  <a:pt x="120" y="88"/>
                  <a:pt x="120" y="88"/>
                </a:cubicBezTo>
                <a:cubicBezTo>
                  <a:pt x="121" y="89"/>
                  <a:pt x="122" y="91"/>
                  <a:pt x="122" y="93"/>
                </a:cubicBezTo>
                <a:cubicBezTo>
                  <a:pt x="122" y="94"/>
                  <a:pt x="122" y="96"/>
                  <a:pt x="121" y="97"/>
                </a:cubicBezTo>
                <a:cubicBezTo>
                  <a:pt x="65" y="166"/>
                  <a:pt x="39" y="253"/>
                  <a:pt x="47" y="341"/>
                </a:cubicBezTo>
                <a:cubicBezTo>
                  <a:pt x="48" y="344"/>
                  <a:pt x="45" y="347"/>
                  <a:pt x="42" y="347"/>
                </a:cubicBezTo>
                <a:cubicBezTo>
                  <a:pt x="42" y="348"/>
                  <a:pt x="42" y="348"/>
                  <a:pt x="41" y="3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3">
            <a:extLst>
              <a:ext uri="{FF2B5EF4-FFF2-40B4-BE49-F238E27FC236}">
                <a16:creationId xmlns:a16="http://schemas.microsoft.com/office/drawing/2014/main" id="{2B79395B-1A24-4095-A1C3-180F7CE03DA5}"/>
              </a:ext>
            </a:extLst>
          </p:cNvPr>
          <p:cNvSpPr>
            <a:spLocks/>
          </p:cNvSpPr>
          <p:nvPr/>
        </p:nvSpPr>
        <p:spPr bwMode="auto">
          <a:xfrm>
            <a:off x="5525885" y="4150660"/>
            <a:ext cx="224240" cy="191284"/>
          </a:xfrm>
          <a:custGeom>
            <a:avLst/>
            <a:gdLst>
              <a:gd name="T0" fmla="*/ 47 w 54"/>
              <a:gd name="T1" fmla="*/ 48 h 48"/>
              <a:gd name="T2" fmla="*/ 46 w 54"/>
              <a:gd name="T3" fmla="*/ 48 h 48"/>
              <a:gd name="T4" fmla="*/ 5 w 54"/>
              <a:gd name="T5" fmla="*/ 39 h 48"/>
              <a:gd name="T6" fmla="*/ 0 w 54"/>
              <a:gd name="T7" fmla="*/ 34 h 48"/>
              <a:gd name="T8" fmla="*/ 2 w 54"/>
              <a:gd name="T9" fmla="*/ 28 h 48"/>
              <a:gd name="T10" fmla="*/ 36 w 54"/>
              <a:gd name="T11" fmla="*/ 2 h 48"/>
              <a:gd name="T12" fmla="*/ 44 w 54"/>
              <a:gd name="T13" fmla="*/ 3 h 48"/>
              <a:gd name="T14" fmla="*/ 43 w 54"/>
              <a:gd name="T15" fmla="*/ 11 h 48"/>
              <a:gd name="T16" fmla="*/ 20 w 54"/>
              <a:gd name="T17" fmla="*/ 30 h 48"/>
              <a:gd name="T18" fmla="*/ 49 w 54"/>
              <a:gd name="T19" fmla="*/ 36 h 48"/>
              <a:gd name="T20" fmla="*/ 53 w 54"/>
              <a:gd name="T21" fmla="*/ 43 h 48"/>
              <a:gd name="T22" fmla="*/ 47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47" y="48"/>
                </a:moveTo>
                <a:cubicBezTo>
                  <a:pt x="47" y="48"/>
                  <a:pt x="47" y="48"/>
                  <a:pt x="46" y="48"/>
                </a:cubicBezTo>
                <a:cubicBezTo>
                  <a:pt x="5" y="39"/>
                  <a:pt x="5" y="39"/>
                  <a:pt x="5" y="39"/>
                </a:cubicBezTo>
                <a:cubicBezTo>
                  <a:pt x="2" y="38"/>
                  <a:pt x="1" y="36"/>
                  <a:pt x="0" y="34"/>
                </a:cubicBezTo>
                <a:cubicBezTo>
                  <a:pt x="0" y="32"/>
                  <a:pt x="0" y="30"/>
                  <a:pt x="2" y="28"/>
                </a:cubicBezTo>
                <a:cubicBezTo>
                  <a:pt x="36" y="2"/>
                  <a:pt x="36" y="2"/>
                  <a:pt x="36" y="2"/>
                </a:cubicBezTo>
                <a:cubicBezTo>
                  <a:pt x="38" y="0"/>
                  <a:pt x="42" y="0"/>
                  <a:pt x="44" y="3"/>
                </a:cubicBezTo>
                <a:cubicBezTo>
                  <a:pt x="46" y="6"/>
                  <a:pt x="46" y="9"/>
                  <a:pt x="43" y="11"/>
                </a:cubicBezTo>
                <a:cubicBezTo>
                  <a:pt x="20" y="30"/>
                  <a:pt x="20" y="30"/>
                  <a:pt x="20" y="30"/>
                </a:cubicBezTo>
                <a:cubicBezTo>
                  <a:pt x="49" y="36"/>
                  <a:pt x="49" y="36"/>
                  <a:pt x="49" y="36"/>
                </a:cubicBezTo>
                <a:cubicBezTo>
                  <a:pt x="52" y="37"/>
                  <a:pt x="54" y="40"/>
                  <a:pt x="53" y="43"/>
                </a:cubicBezTo>
                <a:cubicBezTo>
                  <a:pt x="53" y="46"/>
                  <a:pt x="50" y="48"/>
                  <a:pt x="47"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4">
            <a:extLst>
              <a:ext uri="{FF2B5EF4-FFF2-40B4-BE49-F238E27FC236}">
                <a16:creationId xmlns:a16="http://schemas.microsoft.com/office/drawing/2014/main" id="{96235668-C2C4-47AF-B529-4A7F85BA4021}"/>
              </a:ext>
            </a:extLst>
          </p:cNvPr>
          <p:cNvSpPr>
            <a:spLocks/>
          </p:cNvSpPr>
          <p:nvPr/>
        </p:nvSpPr>
        <p:spPr bwMode="auto">
          <a:xfrm>
            <a:off x="6624453" y="5406832"/>
            <a:ext cx="189266" cy="218892"/>
          </a:xfrm>
          <a:custGeom>
            <a:avLst/>
            <a:gdLst>
              <a:gd name="T0" fmla="*/ 6 w 46"/>
              <a:gd name="T1" fmla="*/ 55 h 55"/>
              <a:gd name="T2" fmla="*/ 3 w 46"/>
              <a:gd name="T3" fmla="*/ 54 h 55"/>
              <a:gd name="T4" fmla="*/ 0 w 46"/>
              <a:gd name="T5" fmla="*/ 49 h 55"/>
              <a:gd name="T6" fmla="*/ 0 w 46"/>
              <a:gd name="T7" fmla="*/ 6 h 55"/>
              <a:gd name="T8" fmla="*/ 6 w 46"/>
              <a:gd name="T9" fmla="*/ 0 h 55"/>
              <a:gd name="T10" fmla="*/ 6 w 46"/>
              <a:gd name="T11" fmla="*/ 0 h 55"/>
              <a:gd name="T12" fmla="*/ 12 w 46"/>
              <a:gd name="T13" fmla="*/ 6 h 55"/>
              <a:gd name="T14" fmla="*/ 12 w 46"/>
              <a:gd name="T15" fmla="*/ 36 h 55"/>
              <a:gd name="T16" fmla="*/ 35 w 46"/>
              <a:gd name="T17" fmla="*/ 17 h 55"/>
              <a:gd name="T18" fmla="*/ 43 w 46"/>
              <a:gd name="T19" fmla="*/ 18 h 55"/>
              <a:gd name="T20" fmla="*/ 43 w 46"/>
              <a:gd name="T21" fmla="*/ 27 h 55"/>
              <a:gd name="T22" fmla="*/ 10 w 46"/>
              <a:gd name="T23" fmla="*/ 53 h 55"/>
              <a:gd name="T24" fmla="*/ 6 w 46"/>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5">
                <a:moveTo>
                  <a:pt x="6" y="55"/>
                </a:moveTo>
                <a:cubicBezTo>
                  <a:pt x="5" y="55"/>
                  <a:pt x="4" y="54"/>
                  <a:pt x="3" y="54"/>
                </a:cubicBezTo>
                <a:cubicBezTo>
                  <a:pt x="1" y="53"/>
                  <a:pt x="0" y="51"/>
                  <a:pt x="0" y="49"/>
                </a:cubicBezTo>
                <a:cubicBezTo>
                  <a:pt x="0" y="6"/>
                  <a:pt x="0" y="6"/>
                  <a:pt x="0" y="6"/>
                </a:cubicBezTo>
                <a:cubicBezTo>
                  <a:pt x="0" y="3"/>
                  <a:pt x="3" y="0"/>
                  <a:pt x="6" y="0"/>
                </a:cubicBezTo>
                <a:cubicBezTo>
                  <a:pt x="6" y="0"/>
                  <a:pt x="6" y="0"/>
                  <a:pt x="6" y="0"/>
                </a:cubicBezTo>
                <a:cubicBezTo>
                  <a:pt x="9" y="0"/>
                  <a:pt x="12" y="3"/>
                  <a:pt x="12" y="6"/>
                </a:cubicBezTo>
                <a:cubicBezTo>
                  <a:pt x="12" y="36"/>
                  <a:pt x="12" y="36"/>
                  <a:pt x="12" y="36"/>
                </a:cubicBezTo>
                <a:cubicBezTo>
                  <a:pt x="35" y="17"/>
                  <a:pt x="35" y="17"/>
                  <a:pt x="35" y="17"/>
                </a:cubicBezTo>
                <a:cubicBezTo>
                  <a:pt x="38" y="15"/>
                  <a:pt x="41" y="16"/>
                  <a:pt x="43" y="18"/>
                </a:cubicBezTo>
                <a:cubicBezTo>
                  <a:pt x="46" y="21"/>
                  <a:pt x="45" y="25"/>
                  <a:pt x="43" y="27"/>
                </a:cubicBezTo>
                <a:cubicBezTo>
                  <a:pt x="10" y="53"/>
                  <a:pt x="10" y="53"/>
                  <a:pt x="10" y="53"/>
                </a:cubicBezTo>
                <a:cubicBezTo>
                  <a:pt x="9" y="54"/>
                  <a:pt x="7" y="55"/>
                  <a:pt x="6" y="5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6">
            <a:extLst>
              <a:ext uri="{FF2B5EF4-FFF2-40B4-BE49-F238E27FC236}">
                <a16:creationId xmlns:a16="http://schemas.microsoft.com/office/drawing/2014/main" id="{A5F50408-C5BB-4E21-A69A-417ED4D7FEAB}"/>
              </a:ext>
            </a:extLst>
          </p:cNvPr>
          <p:cNvSpPr>
            <a:spLocks/>
          </p:cNvSpPr>
          <p:nvPr/>
        </p:nvSpPr>
        <p:spPr bwMode="auto">
          <a:xfrm>
            <a:off x="9305041" y="4150660"/>
            <a:ext cx="224240" cy="191284"/>
          </a:xfrm>
          <a:custGeom>
            <a:avLst/>
            <a:gdLst>
              <a:gd name="T0" fmla="*/ 6 w 54"/>
              <a:gd name="T1" fmla="*/ 48 h 48"/>
              <a:gd name="T2" fmla="*/ 1 w 54"/>
              <a:gd name="T3" fmla="*/ 43 h 48"/>
              <a:gd name="T4" fmla="*/ 5 w 54"/>
              <a:gd name="T5" fmla="*/ 36 h 48"/>
              <a:gd name="T6" fmla="*/ 34 w 54"/>
              <a:gd name="T7" fmla="*/ 30 h 48"/>
              <a:gd name="T8" fmla="*/ 11 w 54"/>
              <a:gd name="T9" fmla="*/ 11 h 48"/>
              <a:gd name="T10" fmla="*/ 10 w 54"/>
              <a:gd name="T11" fmla="*/ 3 h 48"/>
              <a:gd name="T12" fmla="*/ 18 w 54"/>
              <a:gd name="T13" fmla="*/ 2 h 48"/>
              <a:gd name="T14" fmla="*/ 52 w 54"/>
              <a:gd name="T15" fmla="*/ 28 h 48"/>
              <a:gd name="T16" fmla="*/ 54 w 54"/>
              <a:gd name="T17" fmla="*/ 34 h 48"/>
              <a:gd name="T18" fmla="*/ 49 w 54"/>
              <a:gd name="T19" fmla="*/ 39 h 48"/>
              <a:gd name="T20" fmla="*/ 8 w 54"/>
              <a:gd name="T21" fmla="*/ 48 h 48"/>
              <a:gd name="T22" fmla="*/ 6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6" y="48"/>
                </a:moveTo>
                <a:cubicBezTo>
                  <a:pt x="4" y="48"/>
                  <a:pt x="1" y="46"/>
                  <a:pt x="1" y="43"/>
                </a:cubicBezTo>
                <a:cubicBezTo>
                  <a:pt x="0" y="40"/>
                  <a:pt x="2" y="37"/>
                  <a:pt x="5" y="36"/>
                </a:cubicBezTo>
                <a:cubicBezTo>
                  <a:pt x="34" y="30"/>
                  <a:pt x="34" y="30"/>
                  <a:pt x="34" y="30"/>
                </a:cubicBezTo>
                <a:cubicBezTo>
                  <a:pt x="11" y="11"/>
                  <a:pt x="11" y="11"/>
                  <a:pt x="11" y="11"/>
                </a:cubicBezTo>
                <a:cubicBezTo>
                  <a:pt x="8" y="9"/>
                  <a:pt x="8" y="5"/>
                  <a:pt x="10" y="3"/>
                </a:cubicBezTo>
                <a:cubicBezTo>
                  <a:pt x="12" y="0"/>
                  <a:pt x="16" y="0"/>
                  <a:pt x="18" y="2"/>
                </a:cubicBezTo>
                <a:cubicBezTo>
                  <a:pt x="52" y="28"/>
                  <a:pt x="52" y="28"/>
                  <a:pt x="52" y="28"/>
                </a:cubicBezTo>
                <a:cubicBezTo>
                  <a:pt x="53" y="29"/>
                  <a:pt x="54" y="32"/>
                  <a:pt x="54" y="34"/>
                </a:cubicBezTo>
                <a:cubicBezTo>
                  <a:pt x="53" y="36"/>
                  <a:pt x="51" y="38"/>
                  <a:pt x="49" y="39"/>
                </a:cubicBezTo>
                <a:cubicBezTo>
                  <a:pt x="8" y="48"/>
                  <a:pt x="8" y="48"/>
                  <a:pt x="8" y="48"/>
                </a:cubicBezTo>
                <a:cubicBezTo>
                  <a:pt x="7" y="48"/>
                  <a:pt x="7" y="48"/>
                  <a:pt x="6"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7">
            <a:extLst>
              <a:ext uri="{FF2B5EF4-FFF2-40B4-BE49-F238E27FC236}">
                <a16:creationId xmlns:a16="http://schemas.microsoft.com/office/drawing/2014/main" id="{3738B4F9-0124-46A0-853E-9F72C3BC3170}"/>
              </a:ext>
            </a:extLst>
          </p:cNvPr>
          <p:cNvSpPr>
            <a:spLocks/>
          </p:cNvSpPr>
          <p:nvPr/>
        </p:nvSpPr>
        <p:spPr bwMode="auto">
          <a:xfrm>
            <a:off x="8914164" y="2610522"/>
            <a:ext cx="224240" cy="199173"/>
          </a:xfrm>
          <a:custGeom>
            <a:avLst/>
            <a:gdLst>
              <a:gd name="T0" fmla="*/ 29 w 54"/>
              <a:gd name="T1" fmla="*/ 50 h 50"/>
              <a:gd name="T2" fmla="*/ 26 w 54"/>
              <a:gd name="T3" fmla="*/ 50 h 50"/>
              <a:gd name="T4" fmla="*/ 24 w 54"/>
              <a:gd name="T5" fmla="*/ 42 h 50"/>
              <a:gd name="T6" fmla="*/ 37 w 54"/>
              <a:gd name="T7" fmla="*/ 15 h 50"/>
              <a:gd name="T8" fmla="*/ 8 w 54"/>
              <a:gd name="T9" fmla="*/ 22 h 50"/>
              <a:gd name="T10" fmla="*/ 0 w 54"/>
              <a:gd name="T11" fmla="*/ 17 h 50"/>
              <a:gd name="T12" fmla="*/ 5 w 54"/>
              <a:gd name="T13" fmla="*/ 10 h 50"/>
              <a:gd name="T14" fmla="*/ 46 w 54"/>
              <a:gd name="T15" fmla="*/ 0 h 50"/>
              <a:gd name="T16" fmla="*/ 52 w 54"/>
              <a:gd name="T17" fmla="*/ 2 h 50"/>
              <a:gd name="T18" fmla="*/ 53 w 54"/>
              <a:gd name="T19" fmla="*/ 9 h 50"/>
              <a:gd name="T20" fmla="*/ 34 w 54"/>
              <a:gd name="T21" fmla="*/ 47 h 50"/>
              <a:gd name="T22" fmla="*/ 29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9" y="50"/>
                </a:moveTo>
                <a:cubicBezTo>
                  <a:pt x="28" y="50"/>
                  <a:pt x="27" y="50"/>
                  <a:pt x="26" y="50"/>
                </a:cubicBezTo>
                <a:cubicBezTo>
                  <a:pt x="23" y="48"/>
                  <a:pt x="22" y="45"/>
                  <a:pt x="24" y="42"/>
                </a:cubicBezTo>
                <a:cubicBezTo>
                  <a:pt x="37" y="15"/>
                  <a:pt x="37" y="15"/>
                  <a:pt x="37" y="15"/>
                </a:cubicBezTo>
                <a:cubicBezTo>
                  <a:pt x="8" y="22"/>
                  <a:pt x="8" y="22"/>
                  <a:pt x="8" y="22"/>
                </a:cubicBezTo>
                <a:cubicBezTo>
                  <a:pt x="4" y="23"/>
                  <a:pt x="1" y="21"/>
                  <a:pt x="0" y="17"/>
                </a:cubicBezTo>
                <a:cubicBezTo>
                  <a:pt x="0" y="14"/>
                  <a:pt x="2" y="11"/>
                  <a:pt x="5" y="10"/>
                </a:cubicBezTo>
                <a:cubicBezTo>
                  <a:pt x="46" y="0"/>
                  <a:pt x="46" y="0"/>
                  <a:pt x="46" y="0"/>
                </a:cubicBezTo>
                <a:cubicBezTo>
                  <a:pt x="48" y="0"/>
                  <a:pt x="51" y="1"/>
                  <a:pt x="52" y="2"/>
                </a:cubicBezTo>
                <a:cubicBezTo>
                  <a:pt x="54" y="4"/>
                  <a:pt x="54" y="7"/>
                  <a:pt x="53" y="9"/>
                </a:cubicBezTo>
                <a:cubicBezTo>
                  <a:pt x="34" y="47"/>
                  <a:pt x="34" y="47"/>
                  <a:pt x="34" y="47"/>
                </a:cubicBezTo>
                <a:cubicBezTo>
                  <a:pt x="33" y="49"/>
                  <a:pt x="31" y="50"/>
                  <a:pt x="29" y="5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8">
            <a:extLst>
              <a:ext uri="{FF2B5EF4-FFF2-40B4-BE49-F238E27FC236}">
                <a16:creationId xmlns:a16="http://schemas.microsoft.com/office/drawing/2014/main" id="{2BD0D3FB-88AB-4397-A897-BCA37ECE6052}"/>
              </a:ext>
            </a:extLst>
          </p:cNvPr>
          <p:cNvSpPr>
            <a:spLocks/>
          </p:cNvSpPr>
          <p:nvPr/>
        </p:nvSpPr>
        <p:spPr bwMode="auto">
          <a:xfrm>
            <a:off x="7420608" y="1880877"/>
            <a:ext cx="209838" cy="203117"/>
          </a:xfrm>
          <a:custGeom>
            <a:avLst/>
            <a:gdLst>
              <a:gd name="T0" fmla="*/ 7 w 50"/>
              <a:gd name="T1" fmla="*/ 50 h 51"/>
              <a:gd name="T2" fmla="*/ 5 w 50"/>
              <a:gd name="T3" fmla="*/ 49 h 51"/>
              <a:gd name="T4" fmla="*/ 2 w 50"/>
              <a:gd name="T5" fmla="*/ 41 h 51"/>
              <a:gd name="T6" fmla="*/ 20 w 50"/>
              <a:gd name="T7" fmla="*/ 3 h 51"/>
              <a:gd name="T8" fmla="*/ 25 w 50"/>
              <a:gd name="T9" fmla="*/ 0 h 51"/>
              <a:gd name="T10" fmla="*/ 31 w 50"/>
              <a:gd name="T11" fmla="*/ 3 h 51"/>
              <a:gd name="T12" fmla="*/ 49 w 50"/>
              <a:gd name="T13" fmla="*/ 41 h 51"/>
              <a:gd name="T14" fmla="*/ 46 w 50"/>
              <a:gd name="T15" fmla="*/ 49 h 51"/>
              <a:gd name="T16" fmla="*/ 38 w 50"/>
              <a:gd name="T17" fmla="*/ 47 h 51"/>
              <a:gd name="T18" fmla="*/ 25 w 50"/>
              <a:gd name="T19" fmla="*/ 20 h 51"/>
              <a:gd name="T20" fmla="*/ 13 w 50"/>
              <a:gd name="T21" fmla="*/ 47 h 51"/>
              <a:gd name="T22" fmla="*/ 7 w 50"/>
              <a:gd name="T23"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1">
                <a:moveTo>
                  <a:pt x="7" y="50"/>
                </a:moveTo>
                <a:cubicBezTo>
                  <a:pt x="6" y="50"/>
                  <a:pt x="5" y="50"/>
                  <a:pt x="5" y="49"/>
                </a:cubicBezTo>
                <a:cubicBezTo>
                  <a:pt x="2" y="48"/>
                  <a:pt x="0" y="44"/>
                  <a:pt x="2" y="41"/>
                </a:cubicBezTo>
                <a:cubicBezTo>
                  <a:pt x="20" y="3"/>
                  <a:pt x="20" y="3"/>
                  <a:pt x="20" y="3"/>
                </a:cubicBezTo>
                <a:cubicBezTo>
                  <a:pt x="21" y="1"/>
                  <a:pt x="23" y="0"/>
                  <a:pt x="25" y="0"/>
                </a:cubicBezTo>
                <a:cubicBezTo>
                  <a:pt x="28" y="0"/>
                  <a:pt x="30" y="1"/>
                  <a:pt x="31" y="3"/>
                </a:cubicBezTo>
                <a:cubicBezTo>
                  <a:pt x="49" y="41"/>
                  <a:pt x="49" y="41"/>
                  <a:pt x="49" y="41"/>
                </a:cubicBezTo>
                <a:cubicBezTo>
                  <a:pt x="50" y="44"/>
                  <a:pt x="49" y="48"/>
                  <a:pt x="46" y="49"/>
                </a:cubicBezTo>
                <a:cubicBezTo>
                  <a:pt x="43" y="51"/>
                  <a:pt x="39" y="50"/>
                  <a:pt x="38" y="47"/>
                </a:cubicBezTo>
                <a:cubicBezTo>
                  <a:pt x="25" y="20"/>
                  <a:pt x="25" y="20"/>
                  <a:pt x="25" y="20"/>
                </a:cubicBezTo>
                <a:cubicBezTo>
                  <a:pt x="13" y="47"/>
                  <a:pt x="13" y="47"/>
                  <a:pt x="13" y="47"/>
                </a:cubicBezTo>
                <a:cubicBezTo>
                  <a:pt x="12" y="49"/>
                  <a:pt x="9" y="50"/>
                  <a:pt x="7" y="5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9">
            <a:extLst>
              <a:ext uri="{FF2B5EF4-FFF2-40B4-BE49-F238E27FC236}">
                <a16:creationId xmlns:a16="http://schemas.microsoft.com/office/drawing/2014/main" id="{0FE27C37-CA88-443D-848B-BAE25BFB3356}"/>
              </a:ext>
            </a:extLst>
          </p:cNvPr>
          <p:cNvSpPr>
            <a:spLocks/>
          </p:cNvSpPr>
          <p:nvPr/>
        </p:nvSpPr>
        <p:spPr bwMode="auto">
          <a:xfrm>
            <a:off x="5916762" y="2610522"/>
            <a:ext cx="224240" cy="199173"/>
          </a:xfrm>
          <a:custGeom>
            <a:avLst/>
            <a:gdLst>
              <a:gd name="T0" fmla="*/ 25 w 54"/>
              <a:gd name="T1" fmla="*/ 50 h 50"/>
              <a:gd name="T2" fmla="*/ 19 w 54"/>
              <a:gd name="T3" fmla="*/ 47 h 50"/>
              <a:gd name="T4" fmla="*/ 1 w 54"/>
              <a:gd name="T5" fmla="*/ 9 h 50"/>
              <a:gd name="T6" fmla="*/ 1 w 54"/>
              <a:gd name="T7" fmla="*/ 3 h 50"/>
              <a:gd name="T8" fmla="*/ 7 w 54"/>
              <a:gd name="T9" fmla="*/ 1 h 50"/>
              <a:gd name="T10" fmla="*/ 49 w 54"/>
              <a:gd name="T11" fmla="*/ 10 h 50"/>
              <a:gd name="T12" fmla="*/ 53 w 54"/>
              <a:gd name="T13" fmla="*/ 17 h 50"/>
              <a:gd name="T14" fmla="*/ 46 w 54"/>
              <a:gd name="T15" fmla="*/ 22 h 50"/>
              <a:gd name="T16" fmla="*/ 17 w 54"/>
              <a:gd name="T17" fmla="*/ 15 h 50"/>
              <a:gd name="T18" fmla="*/ 30 w 54"/>
              <a:gd name="T19" fmla="*/ 42 h 50"/>
              <a:gd name="T20" fmla="*/ 27 w 54"/>
              <a:gd name="T21" fmla="*/ 50 h 50"/>
              <a:gd name="T22" fmla="*/ 25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5" y="50"/>
                </a:moveTo>
                <a:cubicBezTo>
                  <a:pt x="23" y="50"/>
                  <a:pt x="20" y="49"/>
                  <a:pt x="19" y="47"/>
                </a:cubicBezTo>
                <a:cubicBezTo>
                  <a:pt x="1" y="9"/>
                  <a:pt x="1" y="9"/>
                  <a:pt x="1" y="9"/>
                </a:cubicBezTo>
                <a:cubicBezTo>
                  <a:pt x="0" y="7"/>
                  <a:pt x="0" y="4"/>
                  <a:pt x="1" y="3"/>
                </a:cubicBezTo>
                <a:cubicBezTo>
                  <a:pt x="3" y="1"/>
                  <a:pt x="5" y="0"/>
                  <a:pt x="7" y="1"/>
                </a:cubicBezTo>
                <a:cubicBezTo>
                  <a:pt x="49" y="10"/>
                  <a:pt x="49" y="10"/>
                  <a:pt x="49" y="10"/>
                </a:cubicBezTo>
                <a:cubicBezTo>
                  <a:pt x="52" y="11"/>
                  <a:pt x="54" y="14"/>
                  <a:pt x="53" y="17"/>
                </a:cubicBezTo>
                <a:cubicBezTo>
                  <a:pt x="52" y="21"/>
                  <a:pt x="49" y="23"/>
                  <a:pt x="46" y="22"/>
                </a:cubicBezTo>
                <a:cubicBezTo>
                  <a:pt x="17" y="15"/>
                  <a:pt x="17" y="15"/>
                  <a:pt x="17" y="15"/>
                </a:cubicBezTo>
                <a:cubicBezTo>
                  <a:pt x="30" y="42"/>
                  <a:pt x="30" y="42"/>
                  <a:pt x="30" y="42"/>
                </a:cubicBezTo>
                <a:cubicBezTo>
                  <a:pt x="32" y="45"/>
                  <a:pt x="30" y="48"/>
                  <a:pt x="27" y="50"/>
                </a:cubicBezTo>
                <a:cubicBezTo>
                  <a:pt x="27" y="50"/>
                  <a:pt x="26" y="50"/>
                  <a:pt x="25"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2">
            <a:extLst>
              <a:ext uri="{FF2B5EF4-FFF2-40B4-BE49-F238E27FC236}">
                <a16:creationId xmlns:a16="http://schemas.microsoft.com/office/drawing/2014/main" id="{6E19C658-9EC2-40C2-B241-23248250FFAC}"/>
              </a:ext>
            </a:extLst>
          </p:cNvPr>
          <p:cNvSpPr>
            <a:spLocks/>
          </p:cNvSpPr>
          <p:nvPr/>
        </p:nvSpPr>
        <p:spPr bwMode="auto">
          <a:xfrm>
            <a:off x="6241394" y="2610732"/>
            <a:ext cx="2596814" cy="2491527"/>
          </a:xfrm>
          <a:custGeom>
            <a:avLst/>
            <a:gdLst>
              <a:gd name="T0" fmla="*/ 909 w 3233"/>
              <a:gd name="T1" fmla="*/ 391 h 3233"/>
              <a:gd name="T2" fmla="*/ 2843 w 3233"/>
              <a:gd name="T3" fmla="*/ 909 h 3233"/>
              <a:gd name="T4" fmla="*/ 2325 w 3233"/>
              <a:gd name="T5" fmla="*/ 2842 h 3233"/>
              <a:gd name="T6" fmla="*/ 391 w 3233"/>
              <a:gd name="T7" fmla="*/ 2324 h 3233"/>
              <a:gd name="T8" fmla="*/ 909 w 3233"/>
              <a:gd name="T9" fmla="*/ 391 h 3233"/>
            </a:gdLst>
            <a:ahLst/>
            <a:cxnLst>
              <a:cxn ang="0">
                <a:pos x="T0" y="T1"/>
              </a:cxn>
              <a:cxn ang="0">
                <a:pos x="T2" y="T3"/>
              </a:cxn>
              <a:cxn ang="0">
                <a:pos x="T4" y="T5"/>
              </a:cxn>
              <a:cxn ang="0">
                <a:pos x="T6" y="T7"/>
              </a:cxn>
              <a:cxn ang="0">
                <a:pos x="T8" y="T9"/>
              </a:cxn>
            </a:cxnLst>
            <a:rect l="0" t="0" r="r" b="b"/>
            <a:pathLst>
              <a:path w="3233" h="3233">
                <a:moveTo>
                  <a:pt x="909" y="391"/>
                </a:moveTo>
                <a:cubicBezTo>
                  <a:pt x="1586" y="0"/>
                  <a:pt x="2452" y="232"/>
                  <a:pt x="2843" y="909"/>
                </a:cubicBezTo>
                <a:cubicBezTo>
                  <a:pt x="3233" y="1586"/>
                  <a:pt x="3001" y="2452"/>
                  <a:pt x="2325" y="2842"/>
                </a:cubicBezTo>
                <a:cubicBezTo>
                  <a:pt x="1648" y="3233"/>
                  <a:pt x="782" y="3001"/>
                  <a:pt x="391" y="2324"/>
                </a:cubicBezTo>
                <a:cubicBezTo>
                  <a:pt x="0" y="1648"/>
                  <a:pt x="232" y="782"/>
                  <a:pt x="909" y="391"/>
                </a:cubicBezTo>
                <a:close/>
              </a:path>
            </a:pathLst>
          </a:custGeom>
          <a:solidFill>
            <a:schemeClr val="bg1"/>
          </a:solidFill>
          <a:ln>
            <a:noFill/>
          </a:ln>
          <a:effectLst/>
        </p:spPr>
        <p:txBody>
          <a:bodyPr vert="horz" wrap="square" lIns="91440" tIns="45720" rIns="91440" bIns="45720" numCol="1" anchor="ctr" anchorCtr="0" compatLnSpc="1">
            <a:prstTxWarp prst="textNoShape">
              <a:avLst/>
            </a:prstTxWarp>
          </a:bodyPr>
          <a:lstStyle/>
          <a:p>
            <a:pPr algn="ctr"/>
            <a:endParaRPr lang="en-US" b="1">
              <a:solidFill>
                <a:schemeClr val="accent1"/>
              </a:solidFill>
            </a:endParaRPr>
          </a:p>
        </p:txBody>
      </p:sp>
      <p:sp>
        <p:nvSpPr>
          <p:cNvPr id="20" name="Oval 19">
            <a:extLst>
              <a:ext uri="{FF2B5EF4-FFF2-40B4-BE49-F238E27FC236}">
                <a16:creationId xmlns:a16="http://schemas.microsoft.com/office/drawing/2014/main" id="{92EF6745-8D81-45CC-B19E-40AEA3189173}"/>
              </a:ext>
            </a:extLst>
          </p:cNvPr>
          <p:cNvSpPr/>
          <p:nvPr/>
        </p:nvSpPr>
        <p:spPr bwMode="auto">
          <a:xfrm>
            <a:off x="7094826" y="1449919"/>
            <a:ext cx="788999" cy="756311"/>
          </a:xfrm>
          <a:prstGeom prst="ellipse">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1" name="Oval 20">
            <a:extLst>
              <a:ext uri="{FF2B5EF4-FFF2-40B4-BE49-F238E27FC236}">
                <a16:creationId xmlns:a16="http://schemas.microsoft.com/office/drawing/2014/main" id="{60D72E11-FD56-4294-8267-E0CF3FD70572}"/>
              </a:ext>
            </a:extLst>
          </p:cNvPr>
          <p:cNvSpPr/>
          <p:nvPr/>
        </p:nvSpPr>
        <p:spPr bwMode="auto">
          <a:xfrm>
            <a:off x="8832304" y="2214277"/>
            <a:ext cx="788999" cy="756311"/>
          </a:xfrm>
          <a:prstGeom prst="ellipse">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2" name="Oval 21">
            <a:extLst>
              <a:ext uri="{FF2B5EF4-FFF2-40B4-BE49-F238E27FC236}">
                <a16:creationId xmlns:a16="http://schemas.microsoft.com/office/drawing/2014/main" id="{CB952DC0-AD87-4599-9508-78635B9310C0}"/>
              </a:ext>
            </a:extLst>
          </p:cNvPr>
          <p:cNvSpPr/>
          <p:nvPr/>
        </p:nvSpPr>
        <p:spPr bwMode="auto">
          <a:xfrm>
            <a:off x="9218411" y="3920000"/>
            <a:ext cx="788999" cy="756311"/>
          </a:xfrm>
          <a:prstGeom prst="ellipse">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3" name="Oval 22">
            <a:extLst>
              <a:ext uri="{FF2B5EF4-FFF2-40B4-BE49-F238E27FC236}">
                <a16:creationId xmlns:a16="http://schemas.microsoft.com/office/drawing/2014/main" id="{124A0628-2086-4535-B0FB-A28D70B6A068}"/>
              </a:ext>
            </a:extLst>
          </p:cNvPr>
          <p:cNvSpPr/>
          <p:nvPr/>
        </p:nvSpPr>
        <p:spPr bwMode="auto">
          <a:xfrm>
            <a:off x="8051699" y="5328027"/>
            <a:ext cx="788999" cy="756311"/>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4" name="Oval 23">
            <a:extLst>
              <a:ext uri="{FF2B5EF4-FFF2-40B4-BE49-F238E27FC236}">
                <a16:creationId xmlns:a16="http://schemas.microsoft.com/office/drawing/2014/main" id="{8AA786AD-3DC8-473C-BC6C-3090A2DE1239}"/>
              </a:ext>
            </a:extLst>
          </p:cNvPr>
          <p:cNvSpPr/>
          <p:nvPr/>
        </p:nvSpPr>
        <p:spPr bwMode="auto">
          <a:xfrm>
            <a:off x="6213497" y="5311935"/>
            <a:ext cx="788999" cy="756311"/>
          </a:xfrm>
          <a:prstGeom prst="ellipse">
            <a:avLst/>
          </a:prstGeom>
          <a:solidFill>
            <a:schemeClr val="accent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5" name="Oval 24">
            <a:extLst>
              <a:ext uri="{FF2B5EF4-FFF2-40B4-BE49-F238E27FC236}">
                <a16:creationId xmlns:a16="http://schemas.microsoft.com/office/drawing/2014/main" id="{152D96B1-75BB-4CD9-AC7B-F009641CCDFC}"/>
              </a:ext>
            </a:extLst>
          </p:cNvPr>
          <p:cNvSpPr/>
          <p:nvPr/>
        </p:nvSpPr>
        <p:spPr bwMode="auto">
          <a:xfrm>
            <a:off x="5029997" y="3936092"/>
            <a:ext cx="788999" cy="756311"/>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6" name="Oval 25">
            <a:extLst>
              <a:ext uri="{FF2B5EF4-FFF2-40B4-BE49-F238E27FC236}">
                <a16:creationId xmlns:a16="http://schemas.microsoft.com/office/drawing/2014/main" id="{E5EB8978-5638-48D6-B978-0A0B7FFE5012}"/>
              </a:ext>
            </a:extLst>
          </p:cNvPr>
          <p:cNvSpPr/>
          <p:nvPr/>
        </p:nvSpPr>
        <p:spPr bwMode="auto">
          <a:xfrm>
            <a:off x="5424496" y="2198185"/>
            <a:ext cx="788999" cy="756311"/>
          </a:xfrm>
          <a:prstGeom prst="ellipse">
            <a:avLst/>
          </a:prstGeom>
          <a:solidFill>
            <a:schemeClr val="tx2">
              <a:lumMod val="90000"/>
              <a:lumOff val="1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grpSp>
        <p:nvGrpSpPr>
          <p:cNvPr id="117" name="Groupe 299">
            <a:extLst>
              <a:ext uri="{FF2B5EF4-FFF2-40B4-BE49-F238E27FC236}">
                <a16:creationId xmlns:a16="http://schemas.microsoft.com/office/drawing/2014/main" id="{C8352A97-FB98-461A-BFA1-ACA381450628}"/>
              </a:ext>
            </a:extLst>
          </p:cNvPr>
          <p:cNvGrpSpPr/>
          <p:nvPr/>
        </p:nvGrpSpPr>
        <p:grpSpPr>
          <a:xfrm>
            <a:off x="5581443" y="2432127"/>
            <a:ext cx="490466" cy="282474"/>
            <a:chOff x="4572000" y="4300538"/>
            <a:chExt cx="385763" cy="231775"/>
          </a:xfrm>
        </p:grpSpPr>
        <p:sp>
          <p:nvSpPr>
            <p:cNvPr id="118" name="Freeform 828">
              <a:extLst>
                <a:ext uri="{FF2B5EF4-FFF2-40B4-BE49-F238E27FC236}">
                  <a16:creationId xmlns:a16="http://schemas.microsoft.com/office/drawing/2014/main" id="{34186393-10F4-403C-B8B7-6CBE10ED2F62}"/>
                </a:ext>
              </a:extLst>
            </p:cNvPr>
            <p:cNvSpPr>
              <a:spLocks/>
            </p:cNvSpPr>
            <p:nvPr/>
          </p:nvSpPr>
          <p:spPr bwMode="auto">
            <a:xfrm>
              <a:off x="4572000" y="4306888"/>
              <a:ext cx="385763" cy="225425"/>
            </a:xfrm>
            <a:custGeom>
              <a:avLst/>
              <a:gdLst/>
              <a:ahLst/>
              <a:cxnLst>
                <a:cxn ang="0">
                  <a:pos x="0" y="0"/>
                </a:cxn>
                <a:cxn ang="0">
                  <a:pos x="0" y="142"/>
                </a:cxn>
                <a:cxn ang="0">
                  <a:pos x="243" y="142"/>
                </a:cxn>
              </a:cxnLst>
              <a:rect l="0" t="0" r="r" b="b"/>
              <a:pathLst>
                <a:path w="243" h="142">
                  <a:moveTo>
                    <a:pt x="0" y="0"/>
                  </a:moveTo>
                  <a:lnTo>
                    <a:pt x="0" y="142"/>
                  </a:lnTo>
                  <a:lnTo>
                    <a:pt x="243" y="142"/>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19" name="Freeform 829">
              <a:extLst>
                <a:ext uri="{FF2B5EF4-FFF2-40B4-BE49-F238E27FC236}">
                  <a16:creationId xmlns:a16="http://schemas.microsoft.com/office/drawing/2014/main" id="{BE280F3F-94BC-4C1B-9D1C-A06B62D47BD7}"/>
                </a:ext>
              </a:extLst>
            </p:cNvPr>
            <p:cNvSpPr>
              <a:spLocks/>
            </p:cNvSpPr>
            <p:nvPr/>
          </p:nvSpPr>
          <p:spPr bwMode="auto">
            <a:xfrm>
              <a:off x="4611688" y="4337051"/>
              <a:ext cx="260350" cy="168275"/>
            </a:xfrm>
            <a:custGeom>
              <a:avLst/>
              <a:gdLst/>
              <a:ahLst/>
              <a:cxnLst>
                <a:cxn ang="0">
                  <a:pos x="0" y="106"/>
                </a:cxn>
                <a:cxn ang="0">
                  <a:pos x="48" y="57"/>
                </a:cxn>
                <a:cxn ang="0">
                  <a:pos x="77" y="86"/>
                </a:cxn>
                <a:cxn ang="0">
                  <a:pos x="164" y="0"/>
                </a:cxn>
              </a:cxnLst>
              <a:rect l="0" t="0" r="r" b="b"/>
              <a:pathLst>
                <a:path w="164" h="106">
                  <a:moveTo>
                    <a:pt x="0" y="106"/>
                  </a:moveTo>
                  <a:lnTo>
                    <a:pt x="48" y="57"/>
                  </a:lnTo>
                  <a:lnTo>
                    <a:pt x="77" y="86"/>
                  </a:lnTo>
                  <a:lnTo>
                    <a:pt x="164" y="0"/>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20" name="Freeform 831">
              <a:extLst>
                <a:ext uri="{FF2B5EF4-FFF2-40B4-BE49-F238E27FC236}">
                  <a16:creationId xmlns:a16="http://schemas.microsoft.com/office/drawing/2014/main" id="{7A7BBAE7-7208-4B9A-B4D4-63541770FD3E}"/>
                </a:ext>
              </a:extLst>
            </p:cNvPr>
            <p:cNvSpPr>
              <a:spLocks/>
            </p:cNvSpPr>
            <p:nvPr/>
          </p:nvSpPr>
          <p:spPr bwMode="auto">
            <a:xfrm>
              <a:off x="4829175" y="4300538"/>
              <a:ext cx="74613" cy="77788"/>
            </a:xfrm>
            <a:custGeom>
              <a:avLst/>
              <a:gdLst/>
              <a:ahLst/>
              <a:cxnLst>
                <a:cxn ang="0">
                  <a:pos x="0" y="0"/>
                </a:cxn>
                <a:cxn ang="0">
                  <a:pos x="47" y="0"/>
                </a:cxn>
                <a:cxn ang="0">
                  <a:pos x="47" y="49"/>
                </a:cxn>
              </a:cxnLst>
              <a:rect l="0" t="0" r="r" b="b"/>
              <a:pathLst>
                <a:path w="47" h="49">
                  <a:moveTo>
                    <a:pt x="0" y="0"/>
                  </a:moveTo>
                  <a:lnTo>
                    <a:pt x="47" y="0"/>
                  </a:lnTo>
                  <a:lnTo>
                    <a:pt x="47" y="49"/>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sp>
        <p:nvSpPr>
          <p:cNvPr id="129" name="Text Placeholder 2">
            <a:extLst>
              <a:ext uri="{FF2B5EF4-FFF2-40B4-BE49-F238E27FC236}">
                <a16:creationId xmlns:a16="http://schemas.microsoft.com/office/drawing/2014/main" id="{B37FDAB7-8D97-47E1-BF0B-3131104836E3}"/>
              </a:ext>
            </a:extLst>
          </p:cNvPr>
          <p:cNvSpPr>
            <a:spLocks noGrp="1"/>
          </p:cNvSpPr>
          <p:nvPr>
            <p:ph type="body" sz="quarter" idx="10"/>
          </p:nvPr>
        </p:nvSpPr>
        <p:spPr>
          <a:xfrm>
            <a:off x="6600056" y="1127232"/>
            <a:ext cx="4464496" cy="379884"/>
          </a:xfrm>
        </p:spPr>
        <p:txBody>
          <a:bodyPr>
            <a:normAutofit/>
          </a:bodyPr>
          <a:lstStyle/>
          <a:p>
            <a:r>
              <a:rPr lang="nb-NO" sz="1800"/>
              <a:t>Data Management</a:t>
            </a:r>
          </a:p>
          <a:p>
            <a:endParaRPr lang="nb-NO" sz="1800"/>
          </a:p>
        </p:txBody>
      </p:sp>
      <p:sp>
        <p:nvSpPr>
          <p:cNvPr id="134" name="TextBox 133">
            <a:extLst>
              <a:ext uri="{FF2B5EF4-FFF2-40B4-BE49-F238E27FC236}">
                <a16:creationId xmlns:a16="http://schemas.microsoft.com/office/drawing/2014/main" id="{065B4607-6A64-4F40-872A-6FC523FB5AF2}"/>
              </a:ext>
            </a:extLst>
          </p:cNvPr>
          <p:cNvSpPr txBox="1"/>
          <p:nvPr/>
        </p:nvSpPr>
        <p:spPr>
          <a:xfrm>
            <a:off x="3933877" y="2304834"/>
            <a:ext cx="2592288" cy="369332"/>
          </a:xfrm>
          <a:prstGeom prst="rect">
            <a:avLst/>
          </a:prstGeom>
          <a:noFill/>
        </p:spPr>
        <p:txBody>
          <a:bodyPr wrap="square" rtlCol="0">
            <a:spAutoFit/>
          </a:bodyPr>
          <a:lstStyle/>
          <a:p>
            <a:r>
              <a:rPr lang="nb-NO" dirty="0"/>
              <a:t>Data </a:t>
            </a:r>
            <a:r>
              <a:rPr lang="nb-NO" dirty="0" err="1"/>
              <a:t>Quality</a:t>
            </a:r>
            <a:endParaRPr lang="nb-NO" dirty="0"/>
          </a:p>
        </p:txBody>
      </p:sp>
      <p:sp>
        <p:nvSpPr>
          <p:cNvPr id="138" name="TextBox 137">
            <a:extLst>
              <a:ext uri="{FF2B5EF4-FFF2-40B4-BE49-F238E27FC236}">
                <a16:creationId xmlns:a16="http://schemas.microsoft.com/office/drawing/2014/main" id="{90380516-9C9C-4176-88A2-225F3967286A}"/>
              </a:ext>
            </a:extLst>
          </p:cNvPr>
          <p:cNvSpPr txBox="1"/>
          <p:nvPr/>
        </p:nvSpPr>
        <p:spPr>
          <a:xfrm>
            <a:off x="10007410" y="4129581"/>
            <a:ext cx="3024336" cy="369332"/>
          </a:xfrm>
          <a:prstGeom prst="rect">
            <a:avLst/>
          </a:prstGeom>
          <a:noFill/>
        </p:spPr>
        <p:txBody>
          <a:bodyPr wrap="square" rtlCol="0">
            <a:spAutoFit/>
          </a:bodyPr>
          <a:lstStyle/>
          <a:p>
            <a:r>
              <a:rPr lang="nb-NO"/>
              <a:t>Data </a:t>
            </a:r>
            <a:r>
              <a:rPr lang="nb-NO" err="1"/>
              <a:t>Privacy</a:t>
            </a:r>
            <a:endParaRPr lang="nb-NO"/>
          </a:p>
        </p:txBody>
      </p:sp>
      <p:sp>
        <p:nvSpPr>
          <p:cNvPr id="141" name="Text Placeholder 2">
            <a:extLst>
              <a:ext uri="{FF2B5EF4-FFF2-40B4-BE49-F238E27FC236}">
                <a16:creationId xmlns:a16="http://schemas.microsoft.com/office/drawing/2014/main" id="{C2CCBCE7-0B5E-4C89-BD9D-3C8C28A3B29E}"/>
              </a:ext>
            </a:extLst>
          </p:cNvPr>
          <p:cNvSpPr txBox="1">
            <a:spLocks/>
          </p:cNvSpPr>
          <p:nvPr/>
        </p:nvSpPr>
        <p:spPr>
          <a:xfrm>
            <a:off x="9697259" y="2410081"/>
            <a:ext cx="4464496"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a:t>Data Architecture</a:t>
            </a:r>
          </a:p>
          <a:p>
            <a:endParaRPr lang="nb-NO" sz="1800"/>
          </a:p>
        </p:txBody>
      </p:sp>
      <p:sp>
        <p:nvSpPr>
          <p:cNvPr id="143" name="Text Placeholder 2">
            <a:extLst>
              <a:ext uri="{FF2B5EF4-FFF2-40B4-BE49-F238E27FC236}">
                <a16:creationId xmlns:a16="http://schemas.microsoft.com/office/drawing/2014/main" id="{603A37C6-02A0-46D9-ADFF-9687AC583F38}"/>
              </a:ext>
            </a:extLst>
          </p:cNvPr>
          <p:cNvSpPr txBox="1">
            <a:spLocks/>
          </p:cNvSpPr>
          <p:nvPr/>
        </p:nvSpPr>
        <p:spPr>
          <a:xfrm>
            <a:off x="3330964" y="4150660"/>
            <a:ext cx="4464496"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a:t>Data </a:t>
            </a:r>
            <a:r>
              <a:rPr lang="nb-NO" sz="1800" err="1"/>
              <a:t>Modelling</a:t>
            </a:r>
            <a:endParaRPr lang="nb-NO" sz="1800"/>
          </a:p>
          <a:p>
            <a:endParaRPr lang="nb-NO" sz="1800"/>
          </a:p>
        </p:txBody>
      </p:sp>
      <p:sp>
        <p:nvSpPr>
          <p:cNvPr id="144" name="TextBox 143">
            <a:extLst>
              <a:ext uri="{FF2B5EF4-FFF2-40B4-BE49-F238E27FC236}">
                <a16:creationId xmlns:a16="http://schemas.microsoft.com/office/drawing/2014/main" id="{62DB5779-885E-4C34-BAA4-94F35CC481CE}"/>
              </a:ext>
            </a:extLst>
          </p:cNvPr>
          <p:cNvSpPr txBox="1"/>
          <p:nvPr/>
        </p:nvSpPr>
        <p:spPr>
          <a:xfrm>
            <a:off x="8832304" y="5740923"/>
            <a:ext cx="2880320" cy="369332"/>
          </a:xfrm>
          <a:prstGeom prst="rect">
            <a:avLst/>
          </a:prstGeom>
          <a:noFill/>
        </p:spPr>
        <p:txBody>
          <a:bodyPr wrap="square" rtlCol="0">
            <a:spAutoFit/>
          </a:bodyPr>
          <a:lstStyle/>
          <a:p>
            <a:r>
              <a:rPr lang="nb-NO"/>
              <a:t>Metadata</a:t>
            </a:r>
          </a:p>
        </p:txBody>
      </p:sp>
      <p:sp>
        <p:nvSpPr>
          <p:cNvPr id="145" name="TextBox 144">
            <a:extLst>
              <a:ext uri="{FF2B5EF4-FFF2-40B4-BE49-F238E27FC236}">
                <a16:creationId xmlns:a16="http://schemas.microsoft.com/office/drawing/2014/main" id="{0830D84A-6645-4A0C-8472-0630991843CE}"/>
              </a:ext>
            </a:extLst>
          </p:cNvPr>
          <p:cNvSpPr txBox="1"/>
          <p:nvPr/>
        </p:nvSpPr>
        <p:spPr>
          <a:xfrm>
            <a:off x="4520215" y="5782809"/>
            <a:ext cx="2085995" cy="369332"/>
          </a:xfrm>
          <a:prstGeom prst="rect">
            <a:avLst/>
          </a:prstGeom>
          <a:noFill/>
        </p:spPr>
        <p:txBody>
          <a:bodyPr wrap="square" rtlCol="0">
            <a:spAutoFit/>
          </a:bodyPr>
          <a:lstStyle/>
          <a:p>
            <a:r>
              <a:rPr lang="nb-NO" err="1"/>
              <a:t>Documentation</a:t>
            </a:r>
            <a:endParaRPr lang="nb-NO"/>
          </a:p>
        </p:txBody>
      </p:sp>
      <p:pic>
        <p:nvPicPr>
          <p:cNvPr id="122" name="Graphic 121" descr="Label with solid fill">
            <a:extLst>
              <a:ext uri="{FF2B5EF4-FFF2-40B4-BE49-F238E27FC236}">
                <a16:creationId xmlns:a16="http://schemas.microsoft.com/office/drawing/2014/main" id="{265EA163-75B5-418B-A8D1-0BC40BB752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48724" y="5429555"/>
            <a:ext cx="610338" cy="610338"/>
          </a:xfrm>
          <a:prstGeom prst="rect">
            <a:avLst/>
          </a:prstGeom>
        </p:spPr>
      </p:pic>
      <p:pic>
        <p:nvPicPr>
          <p:cNvPr id="146" name="Graphic 145" descr="Blockchain with solid fill">
            <a:extLst>
              <a:ext uri="{FF2B5EF4-FFF2-40B4-BE49-F238E27FC236}">
                <a16:creationId xmlns:a16="http://schemas.microsoft.com/office/drawing/2014/main" id="{2D57AD4C-A153-44E3-89F5-E4AF840186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27064" y="3963192"/>
            <a:ext cx="610338" cy="610338"/>
          </a:xfrm>
          <a:prstGeom prst="rect">
            <a:avLst/>
          </a:prstGeom>
        </p:spPr>
      </p:pic>
      <p:pic>
        <p:nvPicPr>
          <p:cNvPr id="148" name="Graphic 147" descr="Drawing compass with solid fill">
            <a:extLst>
              <a:ext uri="{FF2B5EF4-FFF2-40B4-BE49-F238E27FC236}">
                <a16:creationId xmlns:a16="http://schemas.microsoft.com/office/drawing/2014/main" id="{94A47B4E-A779-4279-936A-AFD045537C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44548" y="2290355"/>
            <a:ext cx="610338" cy="610338"/>
          </a:xfrm>
          <a:prstGeom prst="rect">
            <a:avLst/>
          </a:prstGeom>
        </p:spPr>
      </p:pic>
      <p:pic>
        <p:nvPicPr>
          <p:cNvPr id="150" name="Graphic 149" descr="Board Of Directors with solid fill">
            <a:extLst>
              <a:ext uri="{FF2B5EF4-FFF2-40B4-BE49-F238E27FC236}">
                <a16:creationId xmlns:a16="http://schemas.microsoft.com/office/drawing/2014/main" id="{FFD7AD13-770B-43E5-8B7E-907AA0BAA96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97443" y="1499305"/>
            <a:ext cx="610338" cy="610338"/>
          </a:xfrm>
          <a:prstGeom prst="rect">
            <a:avLst/>
          </a:prstGeom>
        </p:spPr>
      </p:pic>
      <p:pic>
        <p:nvPicPr>
          <p:cNvPr id="154" name="Graphic 153" descr="Folder Search with solid fill">
            <a:extLst>
              <a:ext uri="{FF2B5EF4-FFF2-40B4-BE49-F238E27FC236}">
                <a16:creationId xmlns:a16="http://schemas.microsoft.com/office/drawing/2014/main" id="{C359D303-3C1A-4207-AA46-BF1CF727666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30197" y="5378295"/>
            <a:ext cx="599452" cy="599452"/>
          </a:xfrm>
          <a:prstGeom prst="rect">
            <a:avLst/>
          </a:prstGeom>
        </p:spPr>
      </p:pic>
      <p:sp>
        <p:nvSpPr>
          <p:cNvPr id="52" name="Text Placeholder 2">
            <a:extLst>
              <a:ext uri="{FF2B5EF4-FFF2-40B4-BE49-F238E27FC236}">
                <a16:creationId xmlns:a16="http://schemas.microsoft.com/office/drawing/2014/main" id="{AA4A6385-DEB8-4F1E-B148-26F78DB92D6F}"/>
              </a:ext>
            </a:extLst>
          </p:cNvPr>
          <p:cNvSpPr txBox="1">
            <a:spLocks/>
          </p:cNvSpPr>
          <p:nvPr/>
        </p:nvSpPr>
        <p:spPr>
          <a:xfrm>
            <a:off x="6629923" y="3533636"/>
            <a:ext cx="1833445" cy="74104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nb-NO" sz="1800" dirty="0"/>
              <a:t>DATA GOVERNANCE</a:t>
            </a:r>
          </a:p>
          <a:p>
            <a:pPr algn="ctr"/>
            <a:endParaRPr lang="nb-NO" sz="1800" dirty="0"/>
          </a:p>
        </p:txBody>
      </p:sp>
      <p:sp>
        <p:nvSpPr>
          <p:cNvPr id="53" name="Oval 52">
            <a:extLst>
              <a:ext uri="{FF2B5EF4-FFF2-40B4-BE49-F238E27FC236}">
                <a16:creationId xmlns:a16="http://schemas.microsoft.com/office/drawing/2014/main" id="{38B395AC-9DFA-4379-B632-AD1CAF7715C6}"/>
              </a:ext>
            </a:extLst>
          </p:cNvPr>
          <p:cNvSpPr/>
          <p:nvPr/>
        </p:nvSpPr>
        <p:spPr bwMode="auto">
          <a:xfrm>
            <a:off x="5076823" y="3016890"/>
            <a:ext cx="788999" cy="756311"/>
          </a:xfrm>
          <a:prstGeom prst="ellipse">
            <a:avLst/>
          </a:prstGeom>
          <a:solidFill>
            <a:schemeClr val="tx2">
              <a:lumMod val="90000"/>
              <a:lumOff val="1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4" name="Oval 53">
            <a:extLst>
              <a:ext uri="{FF2B5EF4-FFF2-40B4-BE49-F238E27FC236}">
                <a16:creationId xmlns:a16="http://schemas.microsoft.com/office/drawing/2014/main" id="{9336BEEE-AA0C-4285-B362-D5EA297899C7}"/>
              </a:ext>
            </a:extLst>
          </p:cNvPr>
          <p:cNvSpPr/>
          <p:nvPr/>
        </p:nvSpPr>
        <p:spPr bwMode="auto">
          <a:xfrm>
            <a:off x="5440136" y="4743823"/>
            <a:ext cx="788999" cy="756311"/>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5" name="Oval 54">
            <a:extLst>
              <a:ext uri="{FF2B5EF4-FFF2-40B4-BE49-F238E27FC236}">
                <a16:creationId xmlns:a16="http://schemas.microsoft.com/office/drawing/2014/main" id="{82237457-7B31-46BC-9B3F-9AB50A205A89}"/>
              </a:ext>
            </a:extLst>
          </p:cNvPr>
          <p:cNvSpPr/>
          <p:nvPr/>
        </p:nvSpPr>
        <p:spPr bwMode="auto">
          <a:xfrm>
            <a:off x="7131027" y="5453958"/>
            <a:ext cx="788999" cy="756311"/>
          </a:xfrm>
          <a:prstGeom prst="ellipse">
            <a:avLst/>
          </a:prstGeom>
          <a:solidFill>
            <a:schemeClr val="accent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6" name="Oval 55">
            <a:extLst>
              <a:ext uri="{FF2B5EF4-FFF2-40B4-BE49-F238E27FC236}">
                <a16:creationId xmlns:a16="http://schemas.microsoft.com/office/drawing/2014/main" id="{1C6F6ABF-20BA-4864-B7E1-F795B4E02870}"/>
              </a:ext>
            </a:extLst>
          </p:cNvPr>
          <p:cNvSpPr/>
          <p:nvPr/>
        </p:nvSpPr>
        <p:spPr bwMode="auto">
          <a:xfrm>
            <a:off x="8830845" y="4726589"/>
            <a:ext cx="788999" cy="756311"/>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7" name="Oval 56">
            <a:extLst>
              <a:ext uri="{FF2B5EF4-FFF2-40B4-BE49-F238E27FC236}">
                <a16:creationId xmlns:a16="http://schemas.microsoft.com/office/drawing/2014/main" id="{75A6203A-1162-4F2E-AA32-B99878C96E21}"/>
              </a:ext>
            </a:extLst>
          </p:cNvPr>
          <p:cNvSpPr/>
          <p:nvPr/>
        </p:nvSpPr>
        <p:spPr bwMode="auto">
          <a:xfrm>
            <a:off x="9209578" y="3039544"/>
            <a:ext cx="788999" cy="756311"/>
          </a:xfrm>
          <a:prstGeom prst="ellipse">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8" name="Oval 57">
            <a:extLst>
              <a:ext uri="{FF2B5EF4-FFF2-40B4-BE49-F238E27FC236}">
                <a16:creationId xmlns:a16="http://schemas.microsoft.com/office/drawing/2014/main" id="{3EF13A74-153B-4109-A0BC-6B4379768288}"/>
              </a:ext>
            </a:extLst>
          </p:cNvPr>
          <p:cNvSpPr/>
          <p:nvPr/>
        </p:nvSpPr>
        <p:spPr bwMode="auto">
          <a:xfrm>
            <a:off x="8129544" y="1604279"/>
            <a:ext cx="788999" cy="756311"/>
          </a:xfrm>
          <a:prstGeom prst="ellipse">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9" name="Oval 58">
            <a:extLst>
              <a:ext uri="{FF2B5EF4-FFF2-40B4-BE49-F238E27FC236}">
                <a16:creationId xmlns:a16="http://schemas.microsoft.com/office/drawing/2014/main" id="{692517F4-9C03-4CF6-ACE3-91979496ED93}"/>
              </a:ext>
            </a:extLst>
          </p:cNvPr>
          <p:cNvSpPr/>
          <p:nvPr/>
        </p:nvSpPr>
        <p:spPr bwMode="auto">
          <a:xfrm>
            <a:off x="6204698" y="1581107"/>
            <a:ext cx="788999" cy="756311"/>
          </a:xfrm>
          <a:prstGeom prst="ellipse">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60" name="TextBox 59">
            <a:extLst>
              <a:ext uri="{FF2B5EF4-FFF2-40B4-BE49-F238E27FC236}">
                <a16:creationId xmlns:a16="http://schemas.microsoft.com/office/drawing/2014/main" id="{BDBC6530-A1BF-44B4-91F4-EBF9CDF59D28}"/>
              </a:ext>
            </a:extLst>
          </p:cNvPr>
          <p:cNvSpPr txBox="1"/>
          <p:nvPr/>
        </p:nvSpPr>
        <p:spPr>
          <a:xfrm>
            <a:off x="6779325" y="6178407"/>
            <a:ext cx="2085995" cy="646331"/>
          </a:xfrm>
          <a:prstGeom prst="rect">
            <a:avLst/>
          </a:prstGeom>
          <a:noFill/>
        </p:spPr>
        <p:txBody>
          <a:bodyPr wrap="square" rtlCol="0">
            <a:spAutoFit/>
          </a:bodyPr>
          <a:lstStyle/>
          <a:p>
            <a:r>
              <a:rPr lang="nb-NO"/>
              <a:t>Data Catalog</a:t>
            </a:r>
          </a:p>
          <a:p>
            <a:endParaRPr lang="nb-NO"/>
          </a:p>
        </p:txBody>
      </p:sp>
      <p:sp>
        <p:nvSpPr>
          <p:cNvPr id="61" name="TextBox 60">
            <a:extLst>
              <a:ext uri="{FF2B5EF4-FFF2-40B4-BE49-F238E27FC236}">
                <a16:creationId xmlns:a16="http://schemas.microsoft.com/office/drawing/2014/main" id="{5A4FD6D8-ED8C-4FF1-B05B-43412BDCBB74}"/>
              </a:ext>
            </a:extLst>
          </p:cNvPr>
          <p:cNvSpPr txBox="1"/>
          <p:nvPr/>
        </p:nvSpPr>
        <p:spPr>
          <a:xfrm>
            <a:off x="8838208" y="1471670"/>
            <a:ext cx="2268252" cy="369332"/>
          </a:xfrm>
          <a:prstGeom prst="rect">
            <a:avLst/>
          </a:prstGeom>
          <a:noFill/>
        </p:spPr>
        <p:txBody>
          <a:bodyPr wrap="square" rtlCol="0">
            <a:spAutoFit/>
          </a:bodyPr>
          <a:lstStyle/>
          <a:p>
            <a:r>
              <a:rPr lang="nb-NO"/>
              <a:t>Business </a:t>
            </a:r>
            <a:r>
              <a:rPr lang="nb-NO" err="1"/>
              <a:t>Glossary</a:t>
            </a:r>
            <a:endParaRPr lang="nb-NO"/>
          </a:p>
        </p:txBody>
      </p:sp>
      <p:sp>
        <p:nvSpPr>
          <p:cNvPr id="62" name="TextBox 61">
            <a:extLst>
              <a:ext uri="{FF2B5EF4-FFF2-40B4-BE49-F238E27FC236}">
                <a16:creationId xmlns:a16="http://schemas.microsoft.com/office/drawing/2014/main" id="{4C211ACA-D01C-4A8E-9DC3-1AC40D28EA81}"/>
              </a:ext>
            </a:extLst>
          </p:cNvPr>
          <p:cNvSpPr txBox="1"/>
          <p:nvPr/>
        </p:nvSpPr>
        <p:spPr>
          <a:xfrm>
            <a:off x="3495228" y="3222602"/>
            <a:ext cx="1860790" cy="369332"/>
          </a:xfrm>
          <a:prstGeom prst="rect">
            <a:avLst/>
          </a:prstGeom>
          <a:noFill/>
        </p:spPr>
        <p:txBody>
          <a:bodyPr wrap="square" rtlCol="0">
            <a:spAutoFit/>
          </a:bodyPr>
          <a:lstStyle/>
          <a:p>
            <a:r>
              <a:rPr lang="nb-NO"/>
              <a:t>Data </a:t>
            </a:r>
            <a:r>
              <a:rPr lang="nb-NO" err="1"/>
              <a:t>Lineage</a:t>
            </a:r>
            <a:endParaRPr lang="nb-NO"/>
          </a:p>
        </p:txBody>
      </p:sp>
      <p:pic>
        <p:nvPicPr>
          <p:cNvPr id="63" name="Graphic 62" descr="Books with solid fill">
            <a:extLst>
              <a:ext uri="{FF2B5EF4-FFF2-40B4-BE49-F238E27FC236}">
                <a16:creationId xmlns:a16="http://schemas.microsoft.com/office/drawing/2014/main" id="{E760C45F-EDCC-47C2-956A-A32EF530E96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286157" y="5596833"/>
            <a:ext cx="496944" cy="496944"/>
          </a:xfrm>
          <a:prstGeom prst="rect">
            <a:avLst/>
          </a:prstGeom>
        </p:spPr>
      </p:pic>
      <p:pic>
        <p:nvPicPr>
          <p:cNvPr id="64" name="Graphic 63" descr="Cause And Effect with solid fill">
            <a:extLst>
              <a:ext uri="{FF2B5EF4-FFF2-40B4-BE49-F238E27FC236}">
                <a16:creationId xmlns:a16="http://schemas.microsoft.com/office/drawing/2014/main" id="{8BD94A63-31D7-4134-B216-17325DD75B2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155417" y="3139861"/>
            <a:ext cx="610338" cy="610338"/>
          </a:xfrm>
          <a:prstGeom prst="rect">
            <a:avLst/>
          </a:prstGeom>
        </p:spPr>
      </p:pic>
      <p:pic>
        <p:nvPicPr>
          <p:cNvPr id="65" name="Graphic 64" descr="Calligraphy Pen with solid fill">
            <a:extLst>
              <a:ext uri="{FF2B5EF4-FFF2-40B4-BE49-F238E27FC236}">
                <a16:creationId xmlns:a16="http://schemas.microsoft.com/office/drawing/2014/main" id="{323F2383-9340-4A16-AA21-077FE7F73EE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273827" y="1729084"/>
            <a:ext cx="457826" cy="457826"/>
          </a:xfrm>
          <a:prstGeom prst="rect">
            <a:avLst/>
          </a:prstGeom>
        </p:spPr>
      </p:pic>
      <p:pic>
        <p:nvPicPr>
          <p:cNvPr id="27" name="Graphic 26" descr="Continuous Improvement with solid fill">
            <a:extLst>
              <a:ext uri="{FF2B5EF4-FFF2-40B4-BE49-F238E27FC236}">
                <a16:creationId xmlns:a16="http://schemas.microsoft.com/office/drawing/2014/main" id="{5D9F01D5-28FC-4430-85D3-B3ECF73F182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39289" y="4814166"/>
            <a:ext cx="607200" cy="607200"/>
          </a:xfrm>
          <a:prstGeom prst="rect">
            <a:avLst/>
          </a:prstGeom>
        </p:spPr>
      </p:pic>
      <p:pic>
        <p:nvPicPr>
          <p:cNvPr id="29" name="Graphic 28" descr="Box with solid fill">
            <a:extLst>
              <a:ext uri="{FF2B5EF4-FFF2-40B4-BE49-F238E27FC236}">
                <a16:creationId xmlns:a16="http://schemas.microsoft.com/office/drawing/2014/main" id="{ABCAB84B-8C5B-41C4-8998-D78C04A7849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300477" y="3105493"/>
            <a:ext cx="607200" cy="607200"/>
          </a:xfrm>
          <a:prstGeom prst="rect">
            <a:avLst/>
          </a:prstGeom>
        </p:spPr>
      </p:pic>
      <p:pic>
        <p:nvPicPr>
          <p:cNvPr id="71" name="Graphic 70" descr="Checklist">
            <a:extLst>
              <a:ext uri="{FF2B5EF4-FFF2-40B4-BE49-F238E27FC236}">
                <a16:creationId xmlns:a16="http://schemas.microsoft.com/office/drawing/2014/main" id="{D2C5906F-67CD-49B5-8236-2CF6981D6B0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552095" y="4863607"/>
            <a:ext cx="533460" cy="533460"/>
          </a:xfrm>
          <a:prstGeom prst="rect">
            <a:avLst/>
          </a:prstGeom>
        </p:spPr>
      </p:pic>
      <p:pic>
        <p:nvPicPr>
          <p:cNvPr id="72" name="Graphic 71" descr="Target Audience">
            <a:extLst>
              <a:ext uri="{FF2B5EF4-FFF2-40B4-BE49-F238E27FC236}">
                <a16:creationId xmlns:a16="http://schemas.microsoft.com/office/drawing/2014/main" id="{0EE8E924-26F2-4A78-AC82-07D7BE4922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6291669" y="1654532"/>
            <a:ext cx="583297" cy="583297"/>
          </a:xfrm>
          <a:prstGeom prst="rect">
            <a:avLst/>
          </a:prstGeom>
        </p:spPr>
      </p:pic>
      <p:sp>
        <p:nvSpPr>
          <p:cNvPr id="73" name="TextBox 72">
            <a:extLst>
              <a:ext uri="{FF2B5EF4-FFF2-40B4-BE49-F238E27FC236}">
                <a16:creationId xmlns:a16="http://schemas.microsoft.com/office/drawing/2014/main" id="{5BF1D4E2-7215-43BD-B974-46C405A86C65}"/>
              </a:ext>
            </a:extLst>
          </p:cNvPr>
          <p:cNvSpPr txBox="1"/>
          <p:nvPr/>
        </p:nvSpPr>
        <p:spPr>
          <a:xfrm>
            <a:off x="10136525" y="3222602"/>
            <a:ext cx="3024336" cy="369332"/>
          </a:xfrm>
          <a:prstGeom prst="rect">
            <a:avLst/>
          </a:prstGeom>
          <a:noFill/>
        </p:spPr>
        <p:txBody>
          <a:bodyPr wrap="square" rtlCol="0">
            <a:spAutoFit/>
          </a:bodyPr>
          <a:lstStyle/>
          <a:p>
            <a:r>
              <a:rPr lang="nb-NO"/>
              <a:t>Data Storage</a:t>
            </a:r>
          </a:p>
        </p:txBody>
      </p:sp>
      <p:sp>
        <p:nvSpPr>
          <p:cNvPr id="74" name="TextBox 73">
            <a:extLst>
              <a:ext uri="{FF2B5EF4-FFF2-40B4-BE49-F238E27FC236}">
                <a16:creationId xmlns:a16="http://schemas.microsoft.com/office/drawing/2014/main" id="{4B9D27CA-68F1-4C52-AB63-15D5F6714E22}"/>
              </a:ext>
            </a:extLst>
          </p:cNvPr>
          <p:cNvSpPr txBox="1"/>
          <p:nvPr/>
        </p:nvSpPr>
        <p:spPr>
          <a:xfrm>
            <a:off x="9691627" y="5008963"/>
            <a:ext cx="3024336" cy="369332"/>
          </a:xfrm>
          <a:prstGeom prst="rect">
            <a:avLst/>
          </a:prstGeom>
          <a:noFill/>
        </p:spPr>
        <p:txBody>
          <a:bodyPr wrap="square" rtlCol="0">
            <a:spAutoFit/>
          </a:bodyPr>
          <a:lstStyle/>
          <a:p>
            <a:r>
              <a:rPr lang="nb-NO" err="1"/>
              <a:t>Processes</a:t>
            </a:r>
            <a:endParaRPr lang="nb-NO"/>
          </a:p>
        </p:txBody>
      </p:sp>
      <p:sp>
        <p:nvSpPr>
          <p:cNvPr id="75" name="TextBox 74">
            <a:extLst>
              <a:ext uri="{FF2B5EF4-FFF2-40B4-BE49-F238E27FC236}">
                <a16:creationId xmlns:a16="http://schemas.microsoft.com/office/drawing/2014/main" id="{0545D77D-F10C-4930-8BE5-0E83A9280A5D}"/>
              </a:ext>
            </a:extLst>
          </p:cNvPr>
          <p:cNvSpPr txBox="1"/>
          <p:nvPr/>
        </p:nvSpPr>
        <p:spPr>
          <a:xfrm>
            <a:off x="4083911" y="5063758"/>
            <a:ext cx="3024336" cy="369332"/>
          </a:xfrm>
          <a:prstGeom prst="rect">
            <a:avLst/>
          </a:prstGeom>
          <a:noFill/>
        </p:spPr>
        <p:txBody>
          <a:bodyPr wrap="square" rtlCol="0">
            <a:spAutoFit/>
          </a:bodyPr>
          <a:lstStyle/>
          <a:p>
            <a:r>
              <a:rPr lang="nb-NO" err="1"/>
              <a:t>Policies</a:t>
            </a:r>
            <a:endParaRPr lang="nb-NO"/>
          </a:p>
        </p:txBody>
      </p:sp>
      <p:sp>
        <p:nvSpPr>
          <p:cNvPr id="76" name="TextBox 75">
            <a:extLst>
              <a:ext uri="{FF2B5EF4-FFF2-40B4-BE49-F238E27FC236}">
                <a16:creationId xmlns:a16="http://schemas.microsoft.com/office/drawing/2014/main" id="{96025B90-1E78-46AA-BCCB-D63CDFB3A2F3}"/>
              </a:ext>
            </a:extLst>
          </p:cNvPr>
          <p:cNvSpPr txBox="1"/>
          <p:nvPr/>
        </p:nvSpPr>
        <p:spPr>
          <a:xfrm>
            <a:off x="5351769" y="1429490"/>
            <a:ext cx="3024336" cy="369332"/>
          </a:xfrm>
          <a:prstGeom prst="rect">
            <a:avLst/>
          </a:prstGeom>
          <a:noFill/>
        </p:spPr>
        <p:txBody>
          <a:bodyPr wrap="square" rtlCol="0">
            <a:spAutoFit/>
          </a:bodyPr>
          <a:lstStyle/>
          <a:p>
            <a:r>
              <a:rPr lang="nb-NO" dirty="0" err="1"/>
              <a:t>Roles</a:t>
            </a:r>
            <a:endParaRPr lang="nb-NO" dirty="0"/>
          </a:p>
        </p:txBody>
      </p:sp>
      <p:sp>
        <p:nvSpPr>
          <p:cNvPr id="2" name="Rectangle: Rounded Corners 1">
            <a:extLst>
              <a:ext uri="{FF2B5EF4-FFF2-40B4-BE49-F238E27FC236}">
                <a16:creationId xmlns:a16="http://schemas.microsoft.com/office/drawing/2014/main" id="{3DBAACBC-5B00-4CF6-B71E-C7639DCE15D8}"/>
              </a:ext>
            </a:extLst>
          </p:cNvPr>
          <p:cNvSpPr/>
          <p:nvPr/>
        </p:nvSpPr>
        <p:spPr>
          <a:xfrm>
            <a:off x="810738" y="2010223"/>
            <a:ext cx="2389845" cy="3525955"/>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Calibri" panose="020F0502020204030204" pitchFamily="34" charset="0"/>
                <a:ea typeface="Calibri" panose="020F0502020204030204" pitchFamily="34" charset="0"/>
                <a:cs typeface="Times New Roman" panose="02020603050405020304" pitchFamily="18" charset="0"/>
              </a:rPr>
              <a:t>… the specification of decision rights and an accountability framework to ensure the appropriate behavior in the valuation, creation, consumption and control of data and analytics</a:t>
            </a:r>
            <a:endParaRPr lang="en-US" sz="1600" b="1">
              <a:solidFill>
                <a:schemeClr val="tx1"/>
              </a:solidFill>
            </a:endParaRPr>
          </a:p>
        </p:txBody>
      </p:sp>
      <p:pic>
        <p:nvPicPr>
          <p:cNvPr id="68" name="Graphic 67" descr="Police female outline">
            <a:extLst>
              <a:ext uri="{FF2B5EF4-FFF2-40B4-BE49-F238E27FC236}">
                <a16:creationId xmlns:a16="http://schemas.microsoft.com/office/drawing/2014/main" id="{C94F0C92-41E5-413D-AC00-B31D38A86FA6}"/>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354142" y="4039386"/>
            <a:ext cx="517537" cy="517537"/>
          </a:xfrm>
          <a:prstGeom prst="rect">
            <a:avLst/>
          </a:prstGeom>
        </p:spPr>
      </p:pic>
    </p:spTree>
    <p:extLst>
      <p:ext uri="{BB962C8B-B14F-4D97-AF65-F5344CB8AC3E}">
        <p14:creationId xmlns:p14="http://schemas.microsoft.com/office/powerpoint/2010/main" val="35163764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2E2CC9B-882A-4CB6-9837-1BA8E8A72B9A}"/>
              </a:ext>
            </a:extLst>
          </p:cNvPr>
          <p:cNvSpPr>
            <a:spLocks noGrp="1"/>
          </p:cNvSpPr>
          <p:nvPr>
            <p:ph type="body" sz="quarter" idx="11"/>
          </p:nvPr>
        </p:nvSpPr>
        <p:spPr/>
        <p:txBody>
          <a:bodyPr/>
          <a:lstStyle/>
          <a:p>
            <a:r>
              <a:rPr lang="en-GB">
                <a:solidFill>
                  <a:schemeClr val="accent1"/>
                </a:solidFill>
              </a:rPr>
              <a:t>For more information please contact</a:t>
            </a:r>
          </a:p>
        </p:txBody>
      </p:sp>
      <p:sp>
        <p:nvSpPr>
          <p:cNvPr id="282" name="Title 3"/>
          <p:cNvSpPr>
            <a:spLocks noGrp="1"/>
          </p:cNvSpPr>
          <p:nvPr>
            <p:ph type="title"/>
          </p:nvPr>
        </p:nvSpPr>
        <p:spPr/>
        <p:txBody>
          <a:bodyPr/>
          <a:lstStyle/>
          <a:p>
            <a:r>
              <a:rPr lang="en-GB"/>
              <a:t>Contacts </a:t>
            </a:r>
          </a:p>
        </p:txBody>
      </p:sp>
      <p:grpSp>
        <p:nvGrpSpPr>
          <p:cNvPr id="5" name="Group 4"/>
          <p:cNvGrpSpPr/>
          <p:nvPr/>
        </p:nvGrpSpPr>
        <p:grpSpPr>
          <a:xfrm>
            <a:off x="516158" y="1962883"/>
            <a:ext cx="2085334" cy="2085334"/>
            <a:chOff x="1321594" y="2238375"/>
            <a:chExt cx="1733550" cy="1733550"/>
          </a:xfrm>
        </p:grpSpPr>
        <p:sp>
          <p:nvSpPr>
            <p:cNvPr id="3" name="Oval 2"/>
            <p:cNvSpPr/>
            <p:nvPr/>
          </p:nvSpPr>
          <p:spPr>
            <a:xfrm>
              <a:off x="1321594" y="2238375"/>
              <a:ext cx="1733550" cy="17335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Rectangle 3"/>
          <p:cNvSpPr/>
          <p:nvPr/>
        </p:nvSpPr>
        <p:spPr>
          <a:xfrm>
            <a:off x="1229891" y="4724995"/>
            <a:ext cx="447238" cy="215444"/>
          </a:xfrm>
          <a:prstGeom prst="rect">
            <a:avLst/>
          </a:prstGeom>
        </p:spPr>
        <p:txBody>
          <a:bodyPr wrap="none" lIns="0" tIns="0" rIns="0" bIns="0">
            <a:spAutoFit/>
          </a:bodyPr>
          <a:lstStyle/>
          <a:p>
            <a:pPr algn="ctr"/>
            <a:r>
              <a:rPr lang="en-GB" sz="1400">
                <a:latin typeface="Ubuntu" panose="020B0504030602030204" pitchFamily="34" charset="0"/>
              </a:rPr>
              <a:t>ROLE</a:t>
            </a:r>
          </a:p>
        </p:txBody>
      </p:sp>
      <p:sp>
        <p:nvSpPr>
          <p:cNvPr id="33" name="Rectangle 32"/>
          <p:cNvSpPr/>
          <p:nvPr/>
        </p:nvSpPr>
        <p:spPr>
          <a:xfrm>
            <a:off x="1194786" y="4388248"/>
            <a:ext cx="517449" cy="200055"/>
          </a:xfrm>
          <a:prstGeom prst="rect">
            <a:avLst/>
          </a:prstGeom>
        </p:spPr>
        <p:txBody>
          <a:bodyPr wrap="none" lIns="0" tIns="0" rIns="0" bIns="0">
            <a:spAutoFit/>
          </a:bodyPr>
          <a:lstStyle/>
          <a:p>
            <a:pPr algn="ctr"/>
            <a:r>
              <a:rPr lang="en-GB" sz="1300" spc="140">
                <a:solidFill>
                  <a:schemeClr val="accent3"/>
                </a:solidFill>
                <a:latin typeface="Ubuntu" panose="020B0504030602030204" pitchFamily="34" charset="0"/>
              </a:rPr>
              <a:t>Name</a:t>
            </a:r>
          </a:p>
        </p:txBody>
      </p:sp>
      <p:grpSp>
        <p:nvGrpSpPr>
          <p:cNvPr id="24" name="Group 23"/>
          <p:cNvGrpSpPr/>
          <p:nvPr/>
        </p:nvGrpSpPr>
        <p:grpSpPr>
          <a:xfrm>
            <a:off x="3427936" y="1962883"/>
            <a:ext cx="2085334" cy="2085334"/>
            <a:chOff x="1321594" y="2238375"/>
            <a:chExt cx="1733550" cy="1733550"/>
          </a:xfrm>
        </p:grpSpPr>
        <p:sp>
          <p:nvSpPr>
            <p:cNvPr id="25" name="Oval 24"/>
            <p:cNvSpPr/>
            <p:nvPr/>
          </p:nvSpPr>
          <p:spPr>
            <a:xfrm>
              <a:off x="1321594" y="2238375"/>
              <a:ext cx="1733550" cy="173355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7" name="Rectangle 36"/>
          <p:cNvSpPr/>
          <p:nvPr/>
        </p:nvSpPr>
        <p:spPr>
          <a:xfrm>
            <a:off x="10206042" y="4724995"/>
            <a:ext cx="447238" cy="215444"/>
          </a:xfrm>
          <a:prstGeom prst="rect">
            <a:avLst/>
          </a:prstGeom>
        </p:spPr>
        <p:txBody>
          <a:bodyPr wrap="none" lIns="0" tIns="0" rIns="0" bIns="0">
            <a:spAutoFit/>
          </a:bodyPr>
          <a:lstStyle/>
          <a:p>
            <a:pPr algn="ctr"/>
            <a:r>
              <a:rPr lang="en-GB" sz="1400">
                <a:latin typeface="Ubuntu" panose="020B0504030602030204" pitchFamily="34" charset="0"/>
              </a:rPr>
              <a:t>ROLE</a:t>
            </a:r>
          </a:p>
        </p:txBody>
      </p:sp>
      <p:cxnSp>
        <p:nvCxnSpPr>
          <p:cNvPr id="261" name="Straight Connector 260"/>
          <p:cNvCxnSpPr/>
          <p:nvPr/>
        </p:nvCxnSpPr>
        <p:spPr>
          <a:xfrm>
            <a:off x="3563438" y="4657618"/>
            <a:ext cx="1814330" cy="0"/>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475216" y="4657618"/>
            <a:ext cx="1814330" cy="0"/>
          </a:xfrm>
          <a:prstGeom prst="line">
            <a:avLst/>
          </a:prstGeom>
          <a:ln>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9522496" y="4657618"/>
            <a:ext cx="1814330" cy="0"/>
          </a:xfrm>
          <a:prstGeom prst="line">
            <a:avLst/>
          </a:prstGeom>
          <a:ln>
            <a:solidFill>
              <a:srgbClr val="214554"/>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51660" y="4657618"/>
            <a:ext cx="1814330" cy="0"/>
          </a:xfrm>
          <a:prstGeom prst="line">
            <a:avLst/>
          </a:prstGeom>
          <a:ln>
            <a:solidFill>
              <a:srgbClr val="2B143D"/>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45" name="Group 23">
            <a:extLst>
              <a:ext uri="{FF2B5EF4-FFF2-40B4-BE49-F238E27FC236}">
                <a16:creationId xmlns:a16="http://schemas.microsoft.com/office/drawing/2014/main" id="{0E70DEC6-0620-49AE-97A7-863CAE3CCC86}"/>
              </a:ext>
            </a:extLst>
          </p:cNvPr>
          <p:cNvGrpSpPr/>
          <p:nvPr/>
        </p:nvGrpSpPr>
        <p:grpSpPr>
          <a:xfrm>
            <a:off x="6339714" y="1962883"/>
            <a:ext cx="2085334" cy="2085334"/>
            <a:chOff x="1321594" y="2238375"/>
            <a:chExt cx="1733550" cy="1733550"/>
          </a:xfrm>
        </p:grpSpPr>
        <p:sp>
          <p:nvSpPr>
            <p:cNvPr id="46" name="Oval 24">
              <a:extLst>
                <a:ext uri="{FF2B5EF4-FFF2-40B4-BE49-F238E27FC236}">
                  <a16:creationId xmlns:a16="http://schemas.microsoft.com/office/drawing/2014/main" id="{3D7C07C7-1DFC-4831-BF08-B627081A2BC8}"/>
                </a:ext>
              </a:extLst>
            </p:cNvPr>
            <p:cNvSpPr/>
            <p:nvPr/>
          </p:nvSpPr>
          <p:spPr>
            <a:xfrm>
              <a:off x="1321594" y="2238375"/>
              <a:ext cx="1733550" cy="17335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25">
              <a:extLst>
                <a:ext uri="{FF2B5EF4-FFF2-40B4-BE49-F238E27FC236}">
                  <a16:creationId xmlns:a16="http://schemas.microsoft.com/office/drawing/2014/main" id="{DF917A99-6D49-485B-99EF-20FD7ACD9EB1}"/>
                </a:ext>
              </a:extLst>
            </p:cNvPr>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8" name="Group 23">
            <a:extLst>
              <a:ext uri="{FF2B5EF4-FFF2-40B4-BE49-F238E27FC236}">
                <a16:creationId xmlns:a16="http://schemas.microsoft.com/office/drawing/2014/main" id="{BB071A21-7EB3-4EB3-8ED0-EA53D9C0D273}"/>
              </a:ext>
            </a:extLst>
          </p:cNvPr>
          <p:cNvGrpSpPr/>
          <p:nvPr/>
        </p:nvGrpSpPr>
        <p:grpSpPr>
          <a:xfrm>
            <a:off x="9251492" y="1962883"/>
            <a:ext cx="2085334" cy="2085334"/>
            <a:chOff x="1321594" y="2238375"/>
            <a:chExt cx="1733550" cy="1733550"/>
          </a:xfrm>
        </p:grpSpPr>
        <p:sp>
          <p:nvSpPr>
            <p:cNvPr id="49" name="Oval 24">
              <a:extLst>
                <a:ext uri="{FF2B5EF4-FFF2-40B4-BE49-F238E27FC236}">
                  <a16:creationId xmlns:a16="http://schemas.microsoft.com/office/drawing/2014/main" id="{3D25CAA8-765B-4656-BFF9-294718E62F31}"/>
                </a:ext>
              </a:extLst>
            </p:cNvPr>
            <p:cNvSpPr/>
            <p:nvPr/>
          </p:nvSpPr>
          <p:spPr>
            <a:xfrm>
              <a:off x="1321594" y="2238375"/>
              <a:ext cx="1733550" cy="17335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Oval 25">
              <a:extLst>
                <a:ext uri="{FF2B5EF4-FFF2-40B4-BE49-F238E27FC236}">
                  <a16:creationId xmlns:a16="http://schemas.microsoft.com/office/drawing/2014/main" id="{57060FB5-F157-419B-A82F-964B500BBA7A}"/>
                </a:ext>
              </a:extLst>
            </p:cNvPr>
            <p:cNvSpPr/>
            <p:nvPr/>
          </p:nvSpPr>
          <p:spPr>
            <a:xfrm>
              <a:off x="1490663" y="2407444"/>
              <a:ext cx="1395412" cy="139541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09089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622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234767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descr="A picture containing light, dark&#10;&#10;Description automatically generated">
            <a:extLst>
              <a:ext uri="{FF2B5EF4-FFF2-40B4-BE49-F238E27FC236}">
                <a16:creationId xmlns:a16="http://schemas.microsoft.com/office/drawing/2014/main" id="{82321FBA-9126-4CE3-85AE-F46EBAC0B1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12" name="Subtitle 11">
            <a:extLst>
              <a:ext uri="{FF2B5EF4-FFF2-40B4-BE49-F238E27FC236}">
                <a16:creationId xmlns:a16="http://schemas.microsoft.com/office/drawing/2014/main" id="{D6FB26B8-F14B-4E9A-8E4A-83A5389E8665}"/>
              </a:ext>
            </a:extLst>
          </p:cNvPr>
          <p:cNvSpPr>
            <a:spLocks noGrp="1"/>
          </p:cNvSpPr>
          <p:nvPr>
            <p:ph type="subTitle" idx="1"/>
          </p:nvPr>
        </p:nvSpPr>
        <p:spPr/>
        <p:txBody>
          <a:bodyPr/>
          <a:lstStyle/>
          <a:p>
            <a:r>
              <a:rPr lang="en-GB"/>
              <a:t>capgemini.com</a:t>
            </a:r>
          </a:p>
        </p:txBody>
      </p:sp>
      <p:sp>
        <p:nvSpPr>
          <p:cNvPr id="3" name="Text Placeholder 2">
            <a:extLst>
              <a:ext uri="{FF2B5EF4-FFF2-40B4-BE49-F238E27FC236}">
                <a16:creationId xmlns:a16="http://schemas.microsoft.com/office/drawing/2014/main" id="{F84584AC-DBBE-4B47-9A7E-7A7C2D8CF196}"/>
              </a:ext>
            </a:extLst>
          </p:cNvPr>
          <p:cNvSpPr>
            <a:spLocks noGrp="1"/>
          </p:cNvSpPr>
          <p:nvPr>
            <p:ph type="body" sz="quarter" idx="10"/>
          </p:nvPr>
        </p:nvSpPr>
        <p:spPr>
          <a:xfrm>
            <a:off x="2819400" y="1644650"/>
            <a:ext cx="8547100" cy="3567113"/>
          </a:xfrm>
        </p:spPr>
        <p:txBody>
          <a:bodyPr/>
          <a:lstStyle/>
          <a:p>
            <a:r>
              <a:rPr lang="en-GB"/>
              <a:t>GET THE</a:t>
            </a:r>
            <a:br>
              <a:rPr lang="en-GB"/>
            </a:br>
            <a:r>
              <a:rPr lang="en-GB"/>
              <a:t>		FUTURE</a:t>
            </a:r>
            <a:br>
              <a:rPr lang="en-GB"/>
            </a:br>
            <a:r>
              <a:rPr lang="en-GB"/>
              <a:t>	YOU WANT</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0820805-BF15-405B-A7C4-A4477BF1FF1D}"/>
              </a:ext>
            </a:extLst>
          </p:cNvPr>
          <p:cNvSpPr>
            <a:spLocks noGrp="1"/>
          </p:cNvSpPr>
          <p:nvPr>
            <p:ph type="title"/>
          </p:nvPr>
        </p:nvSpPr>
        <p:spPr>
          <a:xfrm>
            <a:off x="5375920" y="692696"/>
            <a:ext cx="6816080" cy="2421466"/>
          </a:xfrm>
        </p:spPr>
        <p:txBody>
          <a:bodyPr/>
          <a:lstStyle/>
          <a:p>
            <a:r>
              <a:rPr lang="en-GB" sz="5400"/>
              <a:t>SUPPORTING 	GRAPHIC ELEMENT STYLE</a:t>
            </a:r>
          </a:p>
        </p:txBody>
      </p:sp>
      <p:sp>
        <p:nvSpPr>
          <p:cNvPr id="4" name="Espace réservé du texte 3">
            <a:extLst>
              <a:ext uri="{FF2B5EF4-FFF2-40B4-BE49-F238E27FC236}">
                <a16:creationId xmlns:a16="http://schemas.microsoft.com/office/drawing/2014/main" id="{40B552E3-DAAA-42BA-B3AB-1FC698D137C3}"/>
              </a:ext>
            </a:extLst>
          </p:cNvPr>
          <p:cNvSpPr>
            <a:spLocks noGrp="1"/>
          </p:cNvSpPr>
          <p:nvPr>
            <p:ph type="body" sz="quarter" idx="12"/>
          </p:nvPr>
        </p:nvSpPr>
        <p:spPr>
          <a:xfrm>
            <a:off x="5375920" y="3573040"/>
            <a:ext cx="6192688" cy="2808288"/>
          </a:xfrm>
        </p:spPr>
        <p:txBody>
          <a:bodyPr/>
          <a:lstStyle/>
          <a:p>
            <a:pPr marL="342900" indent="-342900">
              <a:buFont typeface="Wingdings" panose="05000000000000000000" pitchFamily="2" charset="2"/>
              <a:buChar char="§"/>
            </a:pPr>
            <a:r>
              <a:rPr lang="en-GB"/>
              <a:t>Grid</a:t>
            </a:r>
          </a:p>
          <a:p>
            <a:pPr marL="342900" indent="-342900">
              <a:buFont typeface="Wingdings" panose="05000000000000000000" pitchFamily="2" charset="2"/>
              <a:buChar char="§"/>
            </a:pPr>
            <a:r>
              <a:rPr lang="en-GB" err="1"/>
              <a:t>Color</a:t>
            </a:r>
            <a:r>
              <a:rPr lang="en-GB"/>
              <a:t> palette: Primary, Secondary (Cool and warm)</a:t>
            </a:r>
          </a:p>
          <a:p>
            <a:pPr marL="342900" indent="-342900">
              <a:buFont typeface="Wingdings" panose="05000000000000000000" pitchFamily="2" charset="2"/>
              <a:buChar char="§"/>
            </a:pPr>
            <a:r>
              <a:rPr lang="en-GB"/>
              <a:t>Shapes: Vibrant blue and Capgemini Blue</a:t>
            </a:r>
          </a:p>
          <a:p>
            <a:pPr marL="342900" indent="-342900">
              <a:buFont typeface="Wingdings" panose="05000000000000000000" pitchFamily="2" charset="2"/>
              <a:buChar char="§"/>
            </a:pPr>
            <a:r>
              <a:rPr lang="en-GB"/>
              <a:t>Illustration style</a:t>
            </a:r>
          </a:p>
          <a:p>
            <a:pPr marL="342900" indent="-342900">
              <a:buFont typeface="Wingdings" panose="05000000000000000000" pitchFamily="2" charset="2"/>
              <a:buChar char="§"/>
            </a:pPr>
            <a:r>
              <a:rPr lang="en-GB"/>
              <a:t>Icons style</a:t>
            </a:r>
          </a:p>
        </p:txBody>
      </p:sp>
    </p:spTree>
    <p:extLst>
      <p:ext uri="{BB962C8B-B14F-4D97-AF65-F5344CB8AC3E}">
        <p14:creationId xmlns:p14="http://schemas.microsoft.com/office/powerpoint/2010/main" val="28349022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peech Bubble: Rectangle with Corners Rounded 3">
            <a:extLst>
              <a:ext uri="{FF2B5EF4-FFF2-40B4-BE49-F238E27FC236}">
                <a16:creationId xmlns:a16="http://schemas.microsoft.com/office/drawing/2014/main" id="{2EF8F8BC-50C8-43D0-A0DF-E95E6D53CC59}"/>
              </a:ext>
            </a:extLst>
          </p:cNvPr>
          <p:cNvSpPr/>
          <p:nvPr/>
        </p:nvSpPr>
        <p:spPr>
          <a:xfrm>
            <a:off x="636381" y="4813761"/>
            <a:ext cx="3888432" cy="1376944"/>
          </a:xfrm>
          <a:prstGeom prst="wedgeRoundRectCallout">
            <a:avLst>
              <a:gd name="adj1" fmla="val -33494"/>
              <a:gd name="adj2" fmla="val 74732"/>
              <a:gd name="adj3" fmla="val 16667"/>
            </a:avLst>
          </a:pr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GB" b="1">
                <a:solidFill>
                  <a:schemeClr val="bg1"/>
                </a:solidFill>
                <a:latin typeface="+mj-lt"/>
              </a:rPr>
              <a:t>Tip:</a:t>
            </a:r>
          </a:p>
          <a:p>
            <a:r>
              <a:rPr lang="en-GB" sz="1600"/>
              <a:t>Update in the initial Slide Master</a:t>
            </a:r>
          </a:p>
          <a:p>
            <a:r>
              <a:rPr lang="en-GB" sz="1600"/>
              <a:t>(click View &gt; Slide Master)</a:t>
            </a:r>
          </a:p>
        </p:txBody>
      </p:sp>
      <p:sp>
        <p:nvSpPr>
          <p:cNvPr id="3" name="Speech Bubble: Rectangle with Corners Rounded 4">
            <a:extLst>
              <a:ext uri="{FF2B5EF4-FFF2-40B4-BE49-F238E27FC236}">
                <a16:creationId xmlns:a16="http://schemas.microsoft.com/office/drawing/2014/main" id="{607AC420-3F07-483E-862D-4340BA0FDA69}"/>
              </a:ext>
            </a:extLst>
          </p:cNvPr>
          <p:cNvSpPr/>
          <p:nvPr/>
        </p:nvSpPr>
        <p:spPr>
          <a:xfrm>
            <a:off x="6528048" y="2996952"/>
            <a:ext cx="4608512" cy="2460171"/>
          </a:xfrm>
          <a:prstGeom prst="wedgeRoundRectCallout">
            <a:avLst>
              <a:gd name="adj1" fmla="val 17252"/>
              <a:gd name="adj2" fmla="val 94664"/>
              <a:gd name="adj3" fmla="val 16667"/>
            </a:avLst>
          </a:pr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GB" sz="2000" b="1">
                <a:solidFill>
                  <a:schemeClr val="bg1"/>
                </a:solidFill>
                <a:latin typeface="+mj-lt"/>
              </a:rPr>
              <a:t>Tip:</a:t>
            </a:r>
          </a:p>
          <a:p>
            <a:r>
              <a:rPr lang="en-GB" sz="1600"/>
              <a:t>Update security classification in the initial Slide Master. Choose from:</a:t>
            </a:r>
            <a:endParaRPr lang="en-GB" sz="1600" b="1"/>
          </a:p>
          <a:p>
            <a:r>
              <a:rPr lang="en-GB" sz="1600"/>
              <a:t>* Public</a:t>
            </a:r>
          </a:p>
          <a:p>
            <a:r>
              <a:rPr lang="en-GB" sz="1600"/>
              <a:t>* Company Confidential</a:t>
            </a:r>
          </a:p>
          <a:p>
            <a:r>
              <a:rPr lang="en-GB" sz="1600"/>
              <a:t>* Company Restricted</a:t>
            </a:r>
          </a:p>
          <a:p>
            <a:r>
              <a:rPr lang="en-GB" sz="1600"/>
              <a:t>* Customer Confidential</a:t>
            </a:r>
          </a:p>
          <a:p>
            <a:r>
              <a:rPr lang="en-GB" sz="1600"/>
              <a:t>* Sensitive</a:t>
            </a:r>
          </a:p>
        </p:txBody>
      </p:sp>
      <p:sp>
        <p:nvSpPr>
          <p:cNvPr id="4" name="ZoneTexte 3">
            <a:extLst>
              <a:ext uri="{FF2B5EF4-FFF2-40B4-BE49-F238E27FC236}">
                <a16:creationId xmlns:a16="http://schemas.microsoft.com/office/drawing/2014/main" id="{77E0D939-E9DA-4FE4-824A-B650404CED5D}"/>
              </a:ext>
            </a:extLst>
          </p:cNvPr>
          <p:cNvSpPr txBox="1"/>
          <p:nvPr/>
        </p:nvSpPr>
        <p:spPr>
          <a:xfrm>
            <a:off x="6705600" y="2450068"/>
            <a:ext cx="4267200" cy="369332"/>
          </a:xfrm>
          <a:prstGeom prst="rect">
            <a:avLst/>
          </a:prstGeom>
          <a:noFill/>
        </p:spPr>
        <p:txBody>
          <a:bodyPr wrap="square" rtlCol="0">
            <a:spAutoFit/>
          </a:bodyPr>
          <a:lstStyle/>
          <a:p>
            <a:pPr algn="ctr"/>
            <a:r>
              <a:rPr lang="en-US"/>
              <a:t>Data security classification</a:t>
            </a:r>
          </a:p>
        </p:txBody>
      </p:sp>
      <p:sp>
        <p:nvSpPr>
          <p:cNvPr id="5" name="ZoneTexte 4">
            <a:extLst>
              <a:ext uri="{FF2B5EF4-FFF2-40B4-BE49-F238E27FC236}">
                <a16:creationId xmlns:a16="http://schemas.microsoft.com/office/drawing/2014/main" id="{1FA529A6-2944-4828-ABBF-0CDE49DF9908}"/>
              </a:ext>
            </a:extLst>
          </p:cNvPr>
          <p:cNvSpPr txBox="1"/>
          <p:nvPr/>
        </p:nvSpPr>
        <p:spPr>
          <a:xfrm>
            <a:off x="762000" y="4343400"/>
            <a:ext cx="3657600" cy="369332"/>
          </a:xfrm>
          <a:prstGeom prst="rect">
            <a:avLst/>
          </a:prstGeom>
          <a:noFill/>
        </p:spPr>
        <p:txBody>
          <a:bodyPr wrap="square" rtlCol="0">
            <a:spAutoFit/>
          </a:bodyPr>
          <a:lstStyle/>
          <a:p>
            <a:pPr algn="ctr"/>
            <a:r>
              <a:rPr lang="en-US"/>
              <a:t>Footer update</a:t>
            </a:r>
          </a:p>
        </p:txBody>
      </p:sp>
    </p:spTree>
    <p:extLst>
      <p:ext uri="{BB962C8B-B14F-4D97-AF65-F5344CB8AC3E}">
        <p14:creationId xmlns:p14="http://schemas.microsoft.com/office/powerpoint/2010/main" val="101078213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813" y="388188"/>
            <a:ext cx="10947772" cy="716711"/>
          </a:xfrm>
        </p:spPr>
        <p:txBody>
          <a:bodyPr/>
          <a:lstStyle/>
          <a:p>
            <a:r>
              <a:rPr lang="en-GB" err="1"/>
              <a:t>Color</a:t>
            </a:r>
            <a:r>
              <a:rPr lang="en-GB"/>
              <a:t> palette</a:t>
            </a:r>
            <a:br>
              <a:rPr lang="en-GB"/>
            </a:br>
            <a:endParaRPr lang="en-GB"/>
          </a:p>
        </p:txBody>
      </p:sp>
      <p:grpSp>
        <p:nvGrpSpPr>
          <p:cNvPr id="25" name="Groupe 24">
            <a:extLst>
              <a:ext uri="{FF2B5EF4-FFF2-40B4-BE49-F238E27FC236}">
                <a16:creationId xmlns:a16="http://schemas.microsoft.com/office/drawing/2014/main" id="{9AA4EF7C-9E91-4181-8795-4A0267976507}"/>
              </a:ext>
            </a:extLst>
          </p:cNvPr>
          <p:cNvGrpSpPr/>
          <p:nvPr/>
        </p:nvGrpSpPr>
        <p:grpSpPr>
          <a:xfrm>
            <a:off x="404813" y="5776491"/>
            <a:ext cx="10145406" cy="624309"/>
            <a:chOff x="404813" y="5652260"/>
            <a:chExt cx="10145406" cy="624309"/>
          </a:xfrm>
        </p:grpSpPr>
        <p:pic>
          <p:nvPicPr>
            <p:cNvPr id="4" name="Image 3">
              <a:extLst>
                <a:ext uri="{FF2B5EF4-FFF2-40B4-BE49-F238E27FC236}">
                  <a16:creationId xmlns:a16="http://schemas.microsoft.com/office/drawing/2014/main" id="{618A2FFF-5F59-4283-9CE2-F80D50F2CFDA}"/>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5980890" y="5966403"/>
              <a:ext cx="419610" cy="310166"/>
            </a:xfrm>
            <a:prstGeom prst="rect">
              <a:avLst/>
            </a:prstGeom>
            <a:solidFill>
              <a:schemeClr val="accent3"/>
            </a:solidFill>
          </p:spPr>
        </p:pic>
        <p:sp>
          <p:nvSpPr>
            <p:cNvPr id="3" name="ZoneTexte 2">
              <a:extLst>
                <a:ext uri="{FF2B5EF4-FFF2-40B4-BE49-F238E27FC236}">
                  <a16:creationId xmlns:a16="http://schemas.microsoft.com/office/drawing/2014/main" id="{C699697E-A85D-4733-B970-7766CF178E56}"/>
                </a:ext>
              </a:extLst>
            </p:cNvPr>
            <p:cNvSpPr txBox="1"/>
            <p:nvPr/>
          </p:nvSpPr>
          <p:spPr>
            <a:xfrm>
              <a:off x="404813" y="5652260"/>
              <a:ext cx="10145406" cy="538609"/>
            </a:xfrm>
            <a:prstGeom prst="rect">
              <a:avLst/>
            </a:prstGeom>
            <a:noFill/>
          </p:spPr>
          <p:txBody>
            <a:bodyPr wrap="none" lIns="0" tIns="0" rIns="0" bIns="0" rtlCol="0">
              <a:spAutoFit/>
            </a:bodyPr>
            <a:lstStyle/>
            <a:p>
              <a:r>
                <a:rPr lang="en-GB" sz="1400">
                  <a:latin typeface="Ubuntu" panose="020B0504030602030204" pitchFamily="34" charset="0"/>
                </a:rPr>
                <a:t>NOTE:</a:t>
              </a:r>
            </a:p>
            <a:p>
              <a:pPr marL="171450" indent="-171450">
                <a:buFont typeface="Arial" panose="020B0604020202020204" pitchFamily="34" charset="0"/>
                <a:buChar char="•"/>
              </a:pPr>
              <a:r>
                <a:rPr lang="en-GB" sz="1050">
                  <a:latin typeface="Ubuntu" panose="020B0504030602030204" pitchFamily="34" charset="0"/>
                </a:rPr>
                <a:t>The primary, cool and warm palettes </a:t>
              </a:r>
              <a:r>
                <a:rPr lang="en-GB" sz="1050">
                  <a:solidFill>
                    <a:srgbClr val="E30021"/>
                  </a:solidFill>
                  <a:latin typeface="Ubuntu" panose="020B0504030602030204" pitchFamily="34" charset="0"/>
                </a:rPr>
                <a:t>cannot be mixed </a:t>
              </a:r>
              <a:r>
                <a:rPr lang="en-GB" sz="1050">
                  <a:latin typeface="Ubuntu" panose="020B0504030602030204" pitchFamily="34" charset="0"/>
                </a:rPr>
                <a:t>on a same type of element (e.g. a graph, chart). Use either the primary palette, warm palette, OR cool palette. </a:t>
              </a:r>
            </a:p>
            <a:p>
              <a:pPr marL="171450" indent="-171450">
                <a:buFont typeface="Arial" panose="020B0604020202020204" pitchFamily="34" charset="0"/>
                <a:buChar char="•"/>
              </a:pPr>
              <a:r>
                <a:rPr lang="en-GB" sz="1050">
                  <a:latin typeface="Ubuntu" panose="020B0504030602030204" pitchFamily="34" charset="0"/>
                </a:rPr>
                <a:t>The colors are embedded in the masters (see on the right side of the slide). Use the pipette         to easily change the colors in the shape, charts, graphics.</a:t>
              </a:r>
            </a:p>
          </p:txBody>
        </p:sp>
      </p:grpSp>
      <p:grpSp>
        <p:nvGrpSpPr>
          <p:cNvPr id="52" name="Graphique 5">
            <a:extLst>
              <a:ext uri="{FF2B5EF4-FFF2-40B4-BE49-F238E27FC236}">
                <a16:creationId xmlns:a16="http://schemas.microsoft.com/office/drawing/2014/main" id="{D5C4F380-DE38-4159-83EE-0B7C39BC0E32}"/>
              </a:ext>
            </a:extLst>
          </p:cNvPr>
          <p:cNvGrpSpPr/>
          <p:nvPr/>
        </p:nvGrpSpPr>
        <p:grpSpPr>
          <a:xfrm>
            <a:off x="7456009" y="2293036"/>
            <a:ext cx="3670364" cy="3472150"/>
            <a:chOff x="7742622" y="1326700"/>
            <a:chExt cx="4447033" cy="4206876"/>
          </a:xfrm>
        </p:grpSpPr>
        <p:sp>
          <p:nvSpPr>
            <p:cNvPr id="53" name="Forme libre : forme 52">
              <a:extLst>
                <a:ext uri="{FF2B5EF4-FFF2-40B4-BE49-F238E27FC236}">
                  <a16:creationId xmlns:a16="http://schemas.microsoft.com/office/drawing/2014/main" id="{FE4926A8-8A05-4E1D-9733-B93B66604B1B}"/>
                </a:ext>
              </a:extLst>
            </p:cNvPr>
            <p:cNvSpPr/>
            <p:nvPr/>
          </p:nvSpPr>
          <p:spPr>
            <a:xfrm>
              <a:off x="8852423"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spcAft>
                  <a:spcPts val="300"/>
                </a:spcAft>
              </a:pPr>
              <a:r>
                <a:rPr lang="en-GB" sz="900">
                  <a:latin typeface="Ubuntu" panose="020B0504030602030204" pitchFamily="34" charset="0"/>
                </a:rPr>
                <a:t>05</a:t>
              </a:r>
            </a:p>
            <a:p>
              <a:pPr>
                <a:spcAft>
                  <a:spcPts val="300"/>
                </a:spcAft>
              </a:pPr>
              <a:r>
                <a:rPr lang="en-GB" sz="900">
                  <a:latin typeface="Ubuntu" panose="020B0504030602030204" pitchFamily="34" charset="0"/>
                </a:rPr>
                <a:t>255/142/18</a:t>
              </a:r>
            </a:p>
            <a:p>
              <a:pPr>
                <a:spcAft>
                  <a:spcPts val="300"/>
                </a:spcAft>
              </a:pPr>
              <a:r>
                <a:rPr lang="en-GB" sz="900">
                  <a:latin typeface="Ubuntu" panose="020B0504030602030204" pitchFamily="34" charset="0"/>
                </a:rPr>
                <a:t>#FF8E12</a:t>
              </a:r>
            </a:p>
          </p:txBody>
        </p:sp>
        <p:sp>
          <p:nvSpPr>
            <p:cNvPr id="54" name="Forme libre : forme 53">
              <a:extLst>
                <a:ext uri="{FF2B5EF4-FFF2-40B4-BE49-F238E27FC236}">
                  <a16:creationId xmlns:a16="http://schemas.microsoft.com/office/drawing/2014/main" id="{9FB5E6F2-CB0C-44B9-B875-5524375D446E}"/>
                </a:ext>
              </a:extLst>
            </p:cNvPr>
            <p:cNvSpPr/>
            <p:nvPr/>
          </p:nvSpPr>
          <p:spPr>
            <a:xfrm>
              <a:off x="8852423"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spcAft>
                  <a:spcPts val="300"/>
                </a:spcAft>
              </a:pPr>
              <a:r>
                <a:rPr lang="en-GB" sz="900">
                  <a:latin typeface="Ubuntu" panose="020B0504030602030204" pitchFamily="34" charset="0"/>
                </a:rPr>
                <a:t>04</a:t>
              </a:r>
            </a:p>
            <a:p>
              <a:pPr>
                <a:spcAft>
                  <a:spcPts val="300"/>
                </a:spcAft>
              </a:pPr>
              <a:r>
                <a:rPr lang="en-GB" sz="900">
                  <a:latin typeface="Ubuntu" panose="020B0504030602030204" pitchFamily="34" charset="0"/>
                </a:rPr>
                <a:t>255/156/41</a:t>
              </a:r>
            </a:p>
            <a:p>
              <a:pPr>
                <a:spcAft>
                  <a:spcPts val="300"/>
                </a:spcAft>
              </a:pPr>
              <a:r>
                <a:rPr lang="en-GB" sz="900">
                  <a:latin typeface="Ubuntu" panose="020B0504030602030204" pitchFamily="34" charset="0"/>
                </a:rPr>
                <a:t>#FF9C29</a:t>
              </a:r>
            </a:p>
          </p:txBody>
        </p:sp>
        <p:sp>
          <p:nvSpPr>
            <p:cNvPr id="55" name="Forme libre : forme 54">
              <a:extLst>
                <a:ext uri="{FF2B5EF4-FFF2-40B4-BE49-F238E27FC236}">
                  <a16:creationId xmlns:a16="http://schemas.microsoft.com/office/drawing/2014/main" id="{05F19932-345D-4B9E-8F83-7AD10EBE15D2}"/>
                </a:ext>
              </a:extLst>
            </p:cNvPr>
            <p:cNvSpPr/>
            <p:nvPr/>
          </p:nvSpPr>
          <p:spPr>
            <a:xfrm>
              <a:off x="8852423"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spcAft>
                  <a:spcPts val="300"/>
                </a:spcAft>
              </a:pPr>
              <a:r>
                <a:rPr lang="en-GB" sz="900">
                  <a:latin typeface="Ubuntu" panose="020B0504030602030204" pitchFamily="34" charset="0"/>
                </a:rPr>
                <a:t>YELLOW</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255/178/74</a:t>
              </a:r>
            </a:p>
            <a:p>
              <a:pPr>
                <a:spcAft>
                  <a:spcPts val="300"/>
                </a:spcAft>
              </a:pPr>
              <a:r>
                <a:rPr lang="en-GB" sz="900">
                  <a:latin typeface="Ubuntu" panose="020B0504030602030204" pitchFamily="34" charset="0"/>
                </a:rPr>
                <a:t>#FFB24A</a:t>
              </a:r>
            </a:p>
          </p:txBody>
        </p:sp>
        <p:sp>
          <p:nvSpPr>
            <p:cNvPr id="56" name="Forme libre : forme 55">
              <a:extLst>
                <a:ext uri="{FF2B5EF4-FFF2-40B4-BE49-F238E27FC236}">
                  <a16:creationId xmlns:a16="http://schemas.microsoft.com/office/drawing/2014/main" id="{28D2FAC3-6610-4D6C-92AB-0E56637B241D}"/>
                </a:ext>
              </a:extLst>
            </p:cNvPr>
            <p:cNvSpPr/>
            <p:nvPr/>
          </p:nvSpPr>
          <p:spPr>
            <a:xfrm>
              <a:off x="8852423"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55/208/104</a:t>
              </a:r>
            </a:p>
            <a:p>
              <a:pPr>
                <a:spcAft>
                  <a:spcPts val="300"/>
                </a:spcAft>
              </a:pPr>
              <a:r>
                <a:rPr lang="en-GB" sz="900">
                  <a:latin typeface="Ubuntu" panose="020B0504030602030204" pitchFamily="34" charset="0"/>
                </a:rPr>
                <a:t>#FFD068</a:t>
              </a:r>
            </a:p>
          </p:txBody>
        </p:sp>
        <p:sp>
          <p:nvSpPr>
            <p:cNvPr id="57" name="Forme libre : forme 56">
              <a:extLst>
                <a:ext uri="{FF2B5EF4-FFF2-40B4-BE49-F238E27FC236}">
                  <a16:creationId xmlns:a16="http://schemas.microsoft.com/office/drawing/2014/main" id="{228B2D24-599A-47ED-A9DB-C51ED8248433}"/>
                </a:ext>
              </a:extLst>
            </p:cNvPr>
            <p:cNvSpPr/>
            <p:nvPr/>
          </p:nvSpPr>
          <p:spPr>
            <a:xfrm>
              <a:off x="8852423"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55/218/128</a:t>
              </a:r>
            </a:p>
            <a:p>
              <a:pPr>
                <a:spcAft>
                  <a:spcPts val="300"/>
                </a:spcAft>
              </a:pPr>
              <a:r>
                <a:rPr lang="en-GB" sz="900">
                  <a:latin typeface="Ubuntu" panose="020B0504030602030204" pitchFamily="34" charset="0"/>
                </a:rPr>
                <a:t>#FFDA80</a:t>
              </a:r>
            </a:p>
          </p:txBody>
        </p:sp>
        <p:sp>
          <p:nvSpPr>
            <p:cNvPr id="58" name="Forme libre : forme 57">
              <a:extLst>
                <a:ext uri="{FF2B5EF4-FFF2-40B4-BE49-F238E27FC236}">
                  <a16:creationId xmlns:a16="http://schemas.microsoft.com/office/drawing/2014/main" id="{CB8FEA88-A5F3-42FD-BB6D-F4909EC7DF83}"/>
                </a:ext>
              </a:extLst>
            </p:cNvPr>
            <p:cNvSpPr/>
            <p:nvPr/>
          </p:nvSpPr>
          <p:spPr>
            <a:xfrm>
              <a:off x="9966374"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66/20/46</a:t>
              </a:r>
            </a:p>
            <a:p>
              <a:pPr>
                <a:spcAft>
                  <a:spcPts val="300"/>
                </a:spcAft>
              </a:pPr>
              <a:r>
                <a:rPr lang="en-GB" sz="900">
                  <a:solidFill>
                    <a:schemeClr val="bg1"/>
                  </a:solidFill>
                  <a:latin typeface="Ubuntu" panose="020B0504030602030204" pitchFamily="34" charset="0"/>
                </a:rPr>
                <a:t>#42142E</a:t>
              </a:r>
            </a:p>
          </p:txBody>
        </p:sp>
        <p:sp>
          <p:nvSpPr>
            <p:cNvPr id="59" name="Forme libre : forme 58">
              <a:extLst>
                <a:ext uri="{FF2B5EF4-FFF2-40B4-BE49-F238E27FC236}">
                  <a16:creationId xmlns:a16="http://schemas.microsoft.com/office/drawing/2014/main" id="{39C5C16D-BAAA-4A8E-BD84-FF6276DEE0D6}"/>
                </a:ext>
              </a:extLst>
            </p:cNvPr>
            <p:cNvSpPr/>
            <p:nvPr/>
          </p:nvSpPr>
          <p:spPr>
            <a:xfrm>
              <a:off x="9966374"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89/10/66</a:t>
              </a:r>
            </a:p>
            <a:p>
              <a:pPr>
                <a:spcAft>
                  <a:spcPts val="300"/>
                </a:spcAft>
              </a:pPr>
              <a:r>
                <a:rPr lang="en-GB" sz="900">
                  <a:solidFill>
                    <a:schemeClr val="bg1"/>
                  </a:solidFill>
                  <a:latin typeface="Ubuntu" panose="020B0504030602030204" pitchFamily="34" charset="0"/>
                </a:rPr>
                <a:t>#590A42</a:t>
              </a:r>
            </a:p>
          </p:txBody>
        </p:sp>
        <p:sp>
          <p:nvSpPr>
            <p:cNvPr id="60" name="Forme libre : forme 59">
              <a:extLst>
                <a:ext uri="{FF2B5EF4-FFF2-40B4-BE49-F238E27FC236}">
                  <a16:creationId xmlns:a16="http://schemas.microsoft.com/office/drawing/2014/main" id="{209F41B6-BD7F-411A-A347-49C239FCBD49}"/>
                </a:ext>
              </a:extLst>
            </p:cNvPr>
            <p:cNvSpPr/>
            <p:nvPr/>
          </p:nvSpPr>
          <p:spPr>
            <a:xfrm>
              <a:off x="9966374"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VELVET</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117/13/92</a:t>
              </a:r>
            </a:p>
            <a:p>
              <a:pPr>
                <a:spcAft>
                  <a:spcPts val="300"/>
                </a:spcAft>
              </a:pPr>
              <a:r>
                <a:rPr lang="en-GB" sz="900">
                  <a:solidFill>
                    <a:schemeClr val="bg1"/>
                  </a:solidFill>
                  <a:latin typeface="Ubuntu" panose="020B0504030602030204" pitchFamily="34" charset="0"/>
                </a:rPr>
                <a:t>#750D5C</a:t>
              </a:r>
            </a:p>
          </p:txBody>
        </p:sp>
        <p:sp>
          <p:nvSpPr>
            <p:cNvPr id="61" name="Forme libre : forme 60">
              <a:extLst>
                <a:ext uri="{FF2B5EF4-FFF2-40B4-BE49-F238E27FC236}">
                  <a16:creationId xmlns:a16="http://schemas.microsoft.com/office/drawing/2014/main" id="{724E852F-B03F-4D96-9E93-97422B4514E2}"/>
                </a:ext>
              </a:extLst>
            </p:cNvPr>
            <p:cNvSpPr/>
            <p:nvPr/>
          </p:nvSpPr>
          <p:spPr>
            <a:xfrm>
              <a:off x="9966374"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2</a:t>
              </a:r>
            </a:p>
            <a:p>
              <a:pPr>
                <a:spcAft>
                  <a:spcPts val="300"/>
                </a:spcAft>
              </a:pPr>
              <a:r>
                <a:rPr lang="en-GB" sz="900">
                  <a:solidFill>
                    <a:schemeClr val="bg1"/>
                  </a:solidFill>
                  <a:latin typeface="Ubuntu" panose="020B0504030602030204" pitchFamily="34" charset="0"/>
                </a:rPr>
                <a:t>128/43/115</a:t>
              </a:r>
            </a:p>
            <a:p>
              <a:pPr>
                <a:spcAft>
                  <a:spcPts val="300"/>
                </a:spcAft>
              </a:pPr>
              <a:r>
                <a:rPr lang="en-GB" sz="900">
                  <a:solidFill>
                    <a:schemeClr val="bg1"/>
                  </a:solidFill>
                  <a:latin typeface="Ubuntu" panose="020B0504030602030204" pitchFamily="34" charset="0"/>
                </a:rPr>
                <a:t>#802B73</a:t>
              </a:r>
            </a:p>
          </p:txBody>
        </p:sp>
        <p:sp>
          <p:nvSpPr>
            <p:cNvPr id="62" name="Forme libre : forme 61">
              <a:extLst>
                <a:ext uri="{FF2B5EF4-FFF2-40B4-BE49-F238E27FC236}">
                  <a16:creationId xmlns:a16="http://schemas.microsoft.com/office/drawing/2014/main" id="{7769C553-8ACF-4FE4-96C9-1268C6E941F0}"/>
                </a:ext>
              </a:extLst>
            </p:cNvPr>
            <p:cNvSpPr/>
            <p:nvPr/>
          </p:nvSpPr>
          <p:spPr>
            <a:xfrm>
              <a:off x="9966374"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1</a:t>
              </a:r>
            </a:p>
            <a:p>
              <a:pPr>
                <a:spcAft>
                  <a:spcPts val="300"/>
                </a:spcAft>
              </a:pPr>
              <a:r>
                <a:rPr lang="en-GB" sz="900">
                  <a:solidFill>
                    <a:schemeClr val="bg1"/>
                  </a:solidFill>
                  <a:latin typeface="Ubuntu" panose="020B0504030602030204" pitchFamily="34" charset="0"/>
                </a:rPr>
                <a:t>158/71/128</a:t>
              </a:r>
            </a:p>
            <a:p>
              <a:pPr>
                <a:spcAft>
                  <a:spcPts val="300"/>
                </a:spcAft>
              </a:pPr>
              <a:r>
                <a:rPr lang="en-GB" sz="900">
                  <a:solidFill>
                    <a:schemeClr val="bg1"/>
                  </a:solidFill>
                  <a:latin typeface="Ubuntu" panose="020B0504030602030204" pitchFamily="34" charset="0"/>
                </a:rPr>
                <a:t>#9E4780</a:t>
              </a:r>
            </a:p>
          </p:txBody>
        </p:sp>
        <p:sp>
          <p:nvSpPr>
            <p:cNvPr id="63" name="Forme libre : forme 62">
              <a:extLst>
                <a:ext uri="{FF2B5EF4-FFF2-40B4-BE49-F238E27FC236}">
                  <a16:creationId xmlns:a16="http://schemas.microsoft.com/office/drawing/2014/main" id="{670B8C30-9CF8-4820-9739-B06011C6BC02}"/>
                </a:ext>
              </a:extLst>
            </p:cNvPr>
            <p:cNvSpPr/>
            <p:nvPr/>
          </p:nvSpPr>
          <p:spPr>
            <a:xfrm>
              <a:off x="11078249"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66/0/26</a:t>
              </a:r>
            </a:p>
            <a:p>
              <a:pPr>
                <a:spcAft>
                  <a:spcPts val="300"/>
                </a:spcAft>
              </a:pPr>
              <a:r>
                <a:rPr lang="en-GB" sz="900">
                  <a:solidFill>
                    <a:schemeClr val="bg1"/>
                  </a:solidFill>
                  <a:latin typeface="Ubuntu" panose="020B0504030602030204" pitchFamily="34" charset="0"/>
                </a:rPr>
                <a:t>#A6001A</a:t>
              </a:r>
            </a:p>
          </p:txBody>
        </p:sp>
        <p:sp>
          <p:nvSpPr>
            <p:cNvPr id="64" name="Forme libre : forme 63">
              <a:extLst>
                <a:ext uri="{FF2B5EF4-FFF2-40B4-BE49-F238E27FC236}">
                  <a16:creationId xmlns:a16="http://schemas.microsoft.com/office/drawing/2014/main" id="{74EE973F-2797-436C-8481-631330B667E9}"/>
                </a:ext>
              </a:extLst>
            </p:cNvPr>
            <p:cNvSpPr/>
            <p:nvPr/>
          </p:nvSpPr>
          <p:spPr>
            <a:xfrm>
              <a:off x="11078249"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227/03/33</a:t>
              </a:r>
            </a:p>
            <a:p>
              <a:pPr>
                <a:spcAft>
                  <a:spcPts val="300"/>
                </a:spcAft>
              </a:pPr>
              <a:r>
                <a:rPr lang="en-GB" sz="900">
                  <a:solidFill>
                    <a:schemeClr val="bg1"/>
                  </a:solidFill>
                  <a:latin typeface="Ubuntu" panose="020B0504030602030204" pitchFamily="34" charset="0"/>
                </a:rPr>
                <a:t>#E30021</a:t>
              </a:r>
            </a:p>
          </p:txBody>
        </p:sp>
        <p:sp>
          <p:nvSpPr>
            <p:cNvPr id="65" name="Forme libre : forme 64">
              <a:extLst>
                <a:ext uri="{FF2B5EF4-FFF2-40B4-BE49-F238E27FC236}">
                  <a16:creationId xmlns:a16="http://schemas.microsoft.com/office/drawing/2014/main" id="{26D7C439-143E-4569-BB8E-7D6ADA3A8202}"/>
                </a:ext>
              </a:extLst>
            </p:cNvPr>
            <p:cNvSpPr/>
            <p:nvPr/>
          </p:nvSpPr>
          <p:spPr>
            <a:xfrm>
              <a:off x="11078249"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spcAft>
                  <a:spcPts val="300"/>
                </a:spcAft>
              </a:pPr>
              <a:r>
                <a:rPr lang="en-GB" sz="900">
                  <a:latin typeface="Ubuntu" panose="020B0504030602030204" pitchFamily="34" charset="0"/>
                </a:rPr>
                <a:t>RED</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255/48/77</a:t>
              </a:r>
            </a:p>
            <a:p>
              <a:pPr>
                <a:spcAft>
                  <a:spcPts val="300"/>
                </a:spcAft>
              </a:pPr>
              <a:r>
                <a:rPr lang="en-GB" sz="900">
                  <a:latin typeface="Ubuntu" panose="020B0504030602030204" pitchFamily="34" charset="0"/>
                </a:rPr>
                <a:t>#FF304D</a:t>
              </a:r>
            </a:p>
          </p:txBody>
        </p:sp>
        <p:sp>
          <p:nvSpPr>
            <p:cNvPr id="66" name="Forme libre : forme 65">
              <a:extLst>
                <a:ext uri="{FF2B5EF4-FFF2-40B4-BE49-F238E27FC236}">
                  <a16:creationId xmlns:a16="http://schemas.microsoft.com/office/drawing/2014/main" id="{A9A2345D-297D-4B7E-A991-1717423FFC96}"/>
                </a:ext>
              </a:extLst>
            </p:cNvPr>
            <p:cNvSpPr/>
            <p:nvPr/>
          </p:nvSpPr>
          <p:spPr>
            <a:xfrm>
              <a:off x="11078249"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55/69/94</a:t>
              </a:r>
            </a:p>
            <a:p>
              <a:pPr>
                <a:spcAft>
                  <a:spcPts val="300"/>
                </a:spcAft>
              </a:pPr>
              <a:r>
                <a:rPr lang="en-GB" sz="900">
                  <a:latin typeface="Ubuntu" panose="020B0504030602030204" pitchFamily="34" charset="0"/>
                </a:rPr>
                <a:t>#FF455E</a:t>
              </a:r>
            </a:p>
          </p:txBody>
        </p:sp>
        <p:sp>
          <p:nvSpPr>
            <p:cNvPr id="67" name="Forme libre : forme 66">
              <a:extLst>
                <a:ext uri="{FF2B5EF4-FFF2-40B4-BE49-F238E27FC236}">
                  <a16:creationId xmlns:a16="http://schemas.microsoft.com/office/drawing/2014/main" id="{257034F6-FC94-4356-B00F-D8E9A0841E37}"/>
                </a:ext>
              </a:extLst>
            </p:cNvPr>
            <p:cNvSpPr/>
            <p:nvPr/>
          </p:nvSpPr>
          <p:spPr>
            <a:xfrm>
              <a:off x="11078249"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55/87/112</a:t>
              </a:r>
            </a:p>
            <a:p>
              <a:pPr>
                <a:spcAft>
                  <a:spcPts val="300"/>
                </a:spcAft>
              </a:pPr>
              <a:r>
                <a:rPr lang="en-GB" sz="900">
                  <a:latin typeface="Ubuntu" panose="020B0504030602030204" pitchFamily="34" charset="0"/>
                </a:rPr>
                <a:t>#FF5770</a:t>
              </a:r>
            </a:p>
          </p:txBody>
        </p:sp>
        <p:sp>
          <p:nvSpPr>
            <p:cNvPr id="68" name="Forme libre : forme 67">
              <a:extLst>
                <a:ext uri="{FF2B5EF4-FFF2-40B4-BE49-F238E27FC236}">
                  <a16:creationId xmlns:a16="http://schemas.microsoft.com/office/drawing/2014/main" id="{45A18F63-4AC3-4D56-919B-9266D52FC514}"/>
                </a:ext>
              </a:extLst>
            </p:cNvPr>
            <p:cNvSpPr/>
            <p:nvPr/>
          </p:nvSpPr>
          <p:spPr>
            <a:xfrm>
              <a:off x="7742622" y="475693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29/27/111</a:t>
              </a:r>
            </a:p>
            <a:p>
              <a:pPr>
                <a:spcAft>
                  <a:spcPts val="300"/>
                </a:spcAft>
              </a:pPr>
              <a:r>
                <a:rPr lang="en-GB" sz="900">
                  <a:solidFill>
                    <a:schemeClr val="bg1"/>
                  </a:solidFill>
                  <a:latin typeface="Ubuntu" panose="020B0504030602030204" pitchFamily="34" charset="0"/>
                </a:rPr>
                <a:t>#811B6F</a:t>
              </a:r>
            </a:p>
          </p:txBody>
        </p:sp>
        <p:sp>
          <p:nvSpPr>
            <p:cNvPr id="69" name="Forme libre : forme 68">
              <a:extLst>
                <a:ext uri="{FF2B5EF4-FFF2-40B4-BE49-F238E27FC236}">
                  <a16:creationId xmlns:a16="http://schemas.microsoft.com/office/drawing/2014/main" id="{3563068E-0EA9-423C-BE35-DC0B237D0993}"/>
                </a:ext>
              </a:extLst>
            </p:cNvPr>
            <p:cNvSpPr/>
            <p:nvPr/>
          </p:nvSpPr>
          <p:spPr>
            <a:xfrm>
              <a:off x="7742622" y="3982895"/>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161/41/128</a:t>
              </a:r>
            </a:p>
            <a:p>
              <a:pPr>
                <a:spcAft>
                  <a:spcPts val="300"/>
                </a:spcAft>
              </a:pPr>
              <a:r>
                <a:rPr lang="en-GB" sz="900">
                  <a:solidFill>
                    <a:schemeClr val="bg1"/>
                  </a:solidFill>
                  <a:latin typeface="Ubuntu" panose="020B0504030602030204" pitchFamily="34" charset="0"/>
                </a:rPr>
                <a:t>#A12980</a:t>
              </a:r>
            </a:p>
          </p:txBody>
        </p:sp>
        <p:sp>
          <p:nvSpPr>
            <p:cNvPr id="70" name="Forme libre : forme 69">
              <a:extLst>
                <a:ext uri="{FF2B5EF4-FFF2-40B4-BE49-F238E27FC236}">
                  <a16:creationId xmlns:a16="http://schemas.microsoft.com/office/drawing/2014/main" id="{9A0DFB0C-CD87-4418-B87E-AC024B27CC2E}"/>
                </a:ext>
              </a:extLst>
            </p:cNvPr>
            <p:cNvSpPr/>
            <p:nvPr/>
          </p:nvSpPr>
          <p:spPr>
            <a:xfrm>
              <a:off x="7742622" y="2875438"/>
              <a:ext cx="1111406" cy="1111407"/>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VIOLET</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186/41/128</a:t>
              </a:r>
            </a:p>
            <a:p>
              <a:pPr>
                <a:spcAft>
                  <a:spcPts val="300"/>
                </a:spcAft>
              </a:pPr>
              <a:r>
                <a:rPr lang="en-GB" sz="900">
                  <a:solidFill>
                    <a:schemeClr val="bg1"/>
                  </a:solidFill>
                  <a:latin typeface="Ubuntu" panose="020B0504030602030204" pitchFamily="34" charset="0"/>
                </a:rPr>
                <a:t>#BA2980</a:t>
              </a:r>
            </a:p>
          </p:txBody>
        </p:sp>
        <p:sp>
          <p:nvSpPr>
            <p:cNvPr id="71" name="Forme libre : forme 70">
              <a:extLst>
                <a:ext uri="{FF2B5EF4-FFF2-40B4-BE49-F238E27FC236}">
                  <a16:creationId xmlns:a16="http://schemas.microsoft.com/office/drawing/2014/main" id="{63DAC4A5-EDF5-4B12-A3BC-38F8E070C52A}"/>
                </a:ext>
              </a:extLst>
            </p:cNvPr>
            <p:cNvSpPr/>
            <p:nvPr/>
          </p:nvSpPr>
          <p:spPr>
            <a:xfrm>
              <a:off x="7742622" y="21006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209/58/140</a:t>
              </a:r>
            </a:p>
            <a:p>
              <a:pPr>
                <a:spcAft>
                  <a:spcPts val="300"/>
                </a:spcAft>
              </a:pPr>
              <a:r>
                <a:rPr lang="en-GB" sz="900">
                  <a:latin typeface="Ubuntu" panose="020B0504030602030204" pitchFamily="34" charset="0"/>
                </a:rPr>
                <a:t>#D13A8C</a:t>
              </a:r>
            </a:p>
          </p:txBody>
        </p:sp>
        <p:sp>
          <p:nvSpPr>
            <p:cNvPr id="72" name="Forme libre : forme 71">
              <a:extLst>
                <a:ext uri="{FF2B5EF4-FFF2-40B4-BE49-F238E27FC236}">
                  <a16:creationId xmlns:a16="http://schemas.microsoft.com/office/drawing/2014/main" id="{4BB220BA-F775-4B7D-99F7-5D0B4FFF1577}"/>
                </a:ext>
              </a:extLst>
            </p:cNvPr>
            <p:cNvSpPr/>
            <p:nvPr/>
          </p:nvSpPr>
          <p:spPr>
            <a:xfrm>
              <a:off x="7742622" y="1326700"/>
              <a:ext cx="1111406" cy="77664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229/87/173</a:t>
              </a:r>
            </a:p>
            <a:p>
              <a:pPr>
                <a:spcAft>
                  <a:spcPts val="300"/>
                </a:spcAft>
              </a:pPr>
              <a:r>
                <a:rPr lang="en-GB" sz="900">
                  <a:latin typeface="Ubuntu" panose="020B0504030602030204" pitchFamily="34" charset="0"/>
                </a:rPr>
                <a:t>#E557AD</a:t>
              </a:r>
            </a:p>
          </p:txBody>
        </p:sp>
      </p:grpSp>
      <p:grpSp>
        <p:nvGrpSpPr>
          <p:cNvPr id="24" name="Groupe 23">
            <a:extLst>
              <a:ext uri="{FF2B5EF4-FFF2-40B4-BE49-F238E27FC236}">
                <a16:creationId xmlns:a16="http://schemas.microsoft.com/office/drawing/2014/main" id="{EFBC1527-1602-4A8A-88CE-C4F98C1C6F45}"/>
              </a:ext>
            </a:extLst>
          </p:cNvPr>
          <p:cNvGrpSpPr/>
          <p:nvPr/>
        </p:nvGrpSpPr>
        <p:grpSpPr>
          <a:xfrm>
            <a:off x="404813" y="2764671"/>
            <a:ext cx="2741999" cy="2530535"/>
            <a:chOff x="4711953" y="2771359"/>
            <a:chExt cx="2741999" cy="2530535"/>
          </a:xfrm>
        </p:grpSpPr>
        <p:sp>
          <p:nvSpPr>
            <p:cNvPr id="74" name="Forme libre : forme 73">
              <a:extLst>
                <a:ext uri="{FF2B5EF4-FFF2-40B4-BE49-F238E27FC236}">
                  <a16:creationId xmlns:a16="http://schemas.microsoft.com/office/drawing/2014/main" id="{C9EF3700-B9D9-4CDE-B49D-E50657D38D0E}"/>
                </a:ext>
              </a:extLst>
            </p:cNvPr>
            <p:cNvSpPr/>
            <p:nvPr/>
          </p:nvSpPr>
          <p:spPr>
            <a:xfrm>
              <a:off x="6075157" y="4024585"/>
              <a:ext cx="1374170" cy="1270959"/>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FFFFFF"/>
            </a:solidFill>
            <a:ln w="6695" cap="flat">
              <a:solidFill>
                <a:schemeClr val="tx1"/>
              </a:solidFill>
              <a:prstDash val="solid"/>
              <a:miter/>
            </a:ln>
          </p:spPr>
          <p:txBody>
            <a:bodyPr rtlCol="0" anchor="b"/>
            <a:lstStyle/>
            <a:p>
              <a:pPr>
                <a:spcAft>
                  <a:spcPts val="300"/>
                </a:spcAft>
              </a:pPr>
              <a:r>
                <a:rPr lang="en-GB" sz="900">
                  <a:latin typeface="Ubuntu" panose="020B0504030602030204" pitchFamily="34" charset="0"/>
                </a:rPr>
                <a:t>WHITE</a:t>
              </a:r>
            </a:p>
            <a:p>
              <a:pPr>
                <a:spcAft>
                  <a:spcPts val="300"/>
                </a:spcAft>
              </a:pPr>
              <a:r>
                <a:rPr lang="en-GB" sz="900">
                  <a:latin typeface="Ubuntu" panose="020B0504030602030204" pitchFamily="34" charset="0"/>
                </a:rPr>
                <a:t>255/255/255/</a:t>
              </a:r>
            </a:p>
            <a:p>
              <a:pPr>
                <a:spcAft>
                  <a:spcPts val="300"/>
                </a:spcAft>
              </a:pPr>
              <a:r>
                <a:rPr lang="en-GB" sz="900">
                  <a:latin typeface="Ubuntu" panose="020B0504030602030204" pitchFamily="34" charset="0"/>
                </a:rPr>
                <a:t>#FFFFFF</a:t>
              </a:r>
            </a:p>
            <a:p>
              <a:pPr>
                <a:spcAft>
                  <a:spcPts val="300"/>
                </a:spcAft>
              </a:pPr>
              <a:endParaRPr lang="en-GB" sz="900">
                <a:latin typeface="Ubuntu" panose="020B0504030602030204" pitchFamily="34" charset="0"/>
              </a:endParaRPr>
            </a:p>
          </p:txBody>
        </p:sp>
        <p:sp>
          <p:nvSpPr>
            <p:cNvPr id="75" name="Forme libre : forme 74">
              <a:extLst>
                <a:ext uri="{FF2B5EF4-FFF2-40B4-BE49-F238E27FC236}">
                  <a16:creationId xmlns:a16="http://schemas.microsoft.com/office/drawing/2014/main" id="{CF7158C0-89DF-43FC-A1C7-BB60E04CEE8D}"/>
                </a:ext>
              </a:extLst>
            </p:cNvPr>
            <p:cNvSpPr/>
            <p:nvPr/>
          </p:nvSpPr>
          <p:spPr>
            <a:xfrm>
              <a:off x="4711953" y="4030935"/>
              <a:ext cx="1374170" cy="1270959"/>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ECECEC"/>
            </a:solidFill>
            <a:ln w="6695" cap="flat">
              <a:noFill/>
              <a:prstDash val="solid"/>
              <a:miter/>
            </a:ln>
          </p:spPr>
          <p:txBody>
            <a:bodyPr rtlCol="0" anchor="b"/>
            <a:lstStyle/>
            <a:p>
              <a:pPr>
                <a:spcAft>
                  <a:spcPts val="300"/>
                </a:spcAft>
              </a:pPr>
              <a:r>
                <a:rPr lang="en-GB" sz="900">
                  <a:latin typeface="Ubuntu" panose="020B0504030602030204" pitchFamily="34" charset="0"/>
                </a:rPr>
                <a:t>GREY</a:t>
              </a:r>
            </a:p>
            <a:p>
              <a:pPr>
                <a:spcAft>
                  <a:spcPts val="300"/>
                </a:spcAft>
              </a:pPr>
              <a:r>
                <a:rPr lang="en-GB" sz="900">
                  <a:latin typeface="Ubuntu" panose="020B0504030602030204" pitchFamily="34" charset="0"/>
                </a:rPr>
                <a:t>236/236/236</a:t>
              </a:r>
            </a:p>
            <a:p>
              <a:pPr>
                <a:spcAft>
                  <a:spcPts val="300"/>
                </a:spcAft>
              </a:pPr>
              <a:r>
                <a:rPr lang="en-GB" sz="900">
                  <a:latin typeface="Ubuntu" panose="020B0504030602030204" pitchFamily="34" charset="0"/>
                </a:rPr>
                <a:t>#E5E5E5</a:t>
              </a:r>
            </a:p>
            <a:p>
              <a:pPr>
                <a:spcAft>
                  <a:spcPts val="300"/>
                </a:spcAft>
              </a:pPr>
              <a:endParaRPr lang="en-GB" sz="900">
                <a:latin typeface="Ubuntu" panose="020B0504030602030204" pitchFamily="34" charset="0"/>
              </a:endParaRPr>
            </a:p>
          </p:txBody>
        </p:sp>
        <p:sp>
          <p:nvSpPr>
            <p:cNvPr id="76" name="Forme libre : forme 75">
              <a:extLst>
                <a:ext uri="{FF2B5EF4-FFF2-40B4-BE49-F238E27FC236}">
                  <a16:creationId xmlns:a16="http://schemas.microsoft.com/office/drawing/2014/main" id="{44189F99-D0C3-4B26-AA3B-E140711EAA72}"/>
                </a:ext>
              </a:extLst>
            </p:cNvPr>
            <p:cNvSpPr/>
            <p:nvPr/>
          </p:nvSpPr>
          <p:spPr>
            <a:xfrm>
              <a:off x="6083175" y="2771359"/>
              <a:ext cx="1370777" cy="1267588"/>
            </a:xfrm>
            <a:custGeom>
              <a:avLst/>
              <a:gdLst>
                <a:gd name="connsiteX0" fmla="*/ 0 w 1649635"/>
                <a:gd name="connsiteY0" fmla="*/ 0 h 1535817"/>
                <a:gd name="connsiteX1" fmla="*/ 1649636 w 1649635"/>
                <a:gd name="connsiteY1" fmla="*/ 0 h 1535817"/>
                <a:gd name="connsiteX2" fmla="*/ 1649636 w 1649635"/>
                <a:gd name="connsiteY2" fmla="*/ 1535817 h 1535817"/>
                <a:gd name="connsiteX3" fmla="*/ 0 w 1649635"/>
                <a:gd name="connsiteY3" fmla="*/ 1535817 h 1535817"/>
              </a:gdLst>
              <a:ahLst/>
              <a:cxnLst>
                <a:cxn ang="0">
                  <a:pos x="connsiteX0" y="connsiteY0"/>
                </a:cxn>
                <a:cxn ang="0">
                  <a:pos x="connsiteX1" y="connsiteY1"/>
                </a:cxn>
                <a:cxn ang="0">
                  <a:pos x="connsiteX2" y="connsiteY2"/>
                </a:cxn>
                <a:cxn ang="0">
                  <a:pos x="connsiteX3" y="connsiteY3"/>
                </a:cxn>
              </a:cxnLst>
              <a:rect l="l" t="t" r="r" b="b"/>
              <a:pathLst>
                <a:path w="1649635" h="1535817">
                  <a:moveTo>
                    <a:pt x="0" y="0"/>
                  </a:moveTo>
                  <a:lnTo>
                    <a:pt x="1649636" y="0"/>
                  </a:lnTo>
                  <a:lnTo>
                    <a:pt x="1649636" y="1535817"/>
                  </a:lnTo>
                  <a:lnTo>
                    <a:pt x="0" y="1535817"/>
                  </a:lnTo>
                  <a:close/>
                </a:path>
              </a:pathLst>
            </a:custGeom>
            <a:solidFill>
              <a:srgbClr val="272936"/>
            </a:solidFill>
            <a:ln w="4111"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DARK GREY</a:t>
              </a:r>
            </a:p>
            <a:p>
              <a:pPr>
                <a:spcAft>
                  <a:spcPts val="300"/>
                </a:spcAft>
              </a:pPr>
              <a:r>
                <a:rPr lang="en-GB" sz="900">
                  <a:solidFill>
                    <a:schemeClr val="bg1"/>
                  </a:solidFill>
                  <a:latin typeface="Ubuntu" panose="020B0504030602030204" pitchFamily="34" charset="0"/>
                </a:rPr>
                <a:t>39/41/54</a:t>
              </a:r>
            </a:p>
            <a:p>
              <a:pPr>
                <a:spcAft>
                  <a:spcPts val="300"/>
                </a:spcAft>
              </a:pPr>
              <a:r>
                <a:rPr lang="en-GB" sz="900">
                  <a:solidFill>
                    <a:schemeClr val="bg1"/>
                  </a:solidFill>
                  <a:latin typeface="Ubuntu" panose="020B0504030602030204" pitchFamily="34" charset="0"/>
                </a:rPr>
                <a:t>#272936</a:t>
              </a:r>
            </a:p>
            <a:p>
              <a:pPr>
                <a:spcAft>
                  <a:spcPts val="300"/>
                </a:spcAft>
              </a:pPr>
              <a:endParaRPr lang="en-GB" sz="900">
                <a:solidFill>
                  <a:schemeClr val="bg1"/>
                </a:solidFill>
                <a:latin typeface="Ubuntu" panose="020B0504030602030204" pitchFamily="34" charset="0"/>
              </a:endParaRPr>
            </a:p>
            <a:p>
              <a:pPr>
                <a:spcAft>
                  <a:spcPts val="300"/>
                </a:spcAft>
              </a:pPr>
              <a:endParaRPr lang="en-GB" sz="900">
                <a:solidFill>
                  <a:schemeClr val="bg1"/>
                </a:solidFill>
                <a:latin typeface="Ubuntu" panose="020B0504030602030204" pitchFamily="34" charset="0"/>
              </a:endParaRPr>
            </a:p>
            <a:p>
              <a:pPr>
                <a:spcAft>
                  <a:spcPts val="300"/>
                </a:spcAft>
              </a:pPr>
              <a:endParaRPr lang="en-GB" sz="900">
                <a:solidFill>
                  <a:schemeClr val="bg1"/>
                </a:solidFill>
                <a:latin typeface="Ubuntu" panose="020B0504030602030204" pitchFamily="34" charset="0"/>
              </a:endParaRPr>
            </a:p>
          </p:txBody>
        </p:sp>
        <p:sp>
          <p:nvSpPr>
            <p:cNvPr id="77" name="Forme libre : forme 76">
              <a:extLst>
                <a:ext uri="{FF2B5EF4-FFF2-40B4-BE49-F238E27FC236}">
                  <a16:creationId xmlns:a16="http://schemas.microsoft.com/office/drawing/2014/main" id="{C94A2595-5A79-436B-9D07-5CF901A592C2}"/>
                </a:ext>
              </a:extLst>
            </p:cNvPr>
            <p:cNvSpPr/>
            <p:nvPr/>
          </p:nvSpPr>
          <p:spPr>
            <a:xfrm>
              <a:off x="4711953" y="2771359"/>
              <a:ext cx="1374170" cy="1270959"/>
            </a:xfrm>
            <a:custGeom>
              <a:avLst/>
              <a:gdLst>
                <a:gd name="connsiteX0" fmla="*/ 0 w 1653719"/>
                <a:gd name="connsiteY0" fmla="*/ 0 h 1539901"/>
                <a:gd name="connsiteX1" fmla="*/ 1653720 w 1653719"/>
                <a:gd name="connsiteY1" fmla="*/ 0 h 1539901"/>
                <a:gd name="connsiteX2" fmla="*/ 1653720 w 1653719"/>
                <a:gd name="connsiteY2" fmla="*/ 1539901 h 1539901"/>
                <a:gd name="connsiteX3" fmla="*/ 0 w 1653719"/>
                <a:gd name="connsiteY3" fmla="*/ 1539901 h 1539901"/>
              </a:gdLst>
              <a:ahLst/>
              <a:cxnLst>
                <a:cxn ang="0">
                  <a:pos x="connsiteX0" y="connsiteY0"/>
                </a:cxn>
                <a:cxn ang="0">
                  <a:pos x="connsiteX1" y="connsiteY1"/>
                </a:cxn>
                <a:cxn ang="0">
                  <a:pos x="connsiteX2" y="connsiteY2"/>
                </a:cxn>
                <a:cxn ang="0">
                  <a:pos x="connsiteX3" y="connsiteY3"/>
                </a:cxn>
              </a:cxnLst>
              <a:rect l="l" t="t" r="r" b="b"/>
              <a:pathLst>
                <a:path w="1653719" h="1539901">
                  <a:moveTo>
                    <a:pt x="0" y="0"/>
                  </a:moveTo>
                  <a:lnTo>
                    <a:pt x="1653720" y="0"/>
                  </a:lnTo>
                  <a:lnTo>
                    <a:pt x="1653720" y="1539901"/>
                  </a:lnTo>
                  <a:lnTo>
                    <a:pt x="0" y="1539901"/>
                  </a:lnTo>
                  <a:close/>
                </a:path>
              </a:pathLst>
            </a:custGeom>
            <a:solidFill>
              <a:srgbClr val="2B0A3D"/>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DEEP PURPLE</a:t>
              </a:r>
            </a:p>
            <a:p>
              <a:pPr>
                <a:spcAft>
                  <a:spcPts val="300"/>
                </a:spcAft>
              </a:pPr>
              <a:r>
                <a:rPr lang="en-GB" sz="900">
                  <a:solidFill>
                    <a:schemeClr val="bg1"/>
                  </a:solidFill>
                  <a:latin typeface="Ubuntu" panose="020B0504030602030204" pitchFamily="34" charset="0"/>
                </a:rPr>
                <a:t>43/10/61</a:t>
              </a:r>
            </a:p>
            <a:p>
              <a:pPr>
                <a:spcAft>
                  <a:spcPts val="300"/>
                </a:spcAft>
              </a:pPr>
              <a:r>
                <a:rPr lang="en-GB" sz="900">
                  <a:solidFill>
                    <a:schemeClr val="bg1"/>
                  </a:solidFill>
                  <a:latin typeface="Ubuntu" panose="020B0504030602030204" pitchFamily="34" charset="0"/>
                </a:rPr>
                <a:t>#2B0A3D</a:t>
              </a:r>
            </a:p>
            <a:p>
              <a:pPr>
                <a:spcAft>
                  <a:spcPts val="300"/>
                </a:spcAft>
              </a:pPr>
              <a:endParaRPr lang="en-GB" sz="900">
                <a:solidFill>
                  <a:schemeClr val="bg1"/>
                </a:solidFill>
                <a:latin typeface="Ubuntu" panose="020B0504030602030204" pitchFamily="34" charset="0"/>
              </a:endParaRPr>
            </a:p>
            <a:p>
              <a:pPr>
                <a:spcAft>
                  <a:spcPts val="300"/>
                </a:spcAft>
              </a:pPr>
              <a:endParaRPr lang="en-GB" sz="900">
                <a:solidFill>
                  <a:schemeClr val="bg1"/>
                </a:solidFill>
                <a:latin typeface="Ubuntu" panose="020B0504030602030204" pitchFamily="34" charset="0"/>
              </a:endParaRPr>
            </a:p>
            <a:p>
              <a:pPr>
                <a:spcAft>
                  <a:spcPts val="300"/>
                </a:spcAft>
              </a:pPr>
              <a:endParaRPr lang="en-GB" sz="900">
                <a:solidFill>
                  <a:schemeClr val="bg1"/>
                </a:solidFill>
                <a:latin typeface="Ubuntu" panose="020B0504030602030204" pitchFamily="34" charset="0"/>
              </a:endParaRPr>
            </a:p>
          </p:txBody>
        </p:sp>
        <p:sp>
          <p:nvSpPr>
            <p:cNvPr id="78" name="Forme libre : forme 77">
              <a:extLst>
                <a:ext uri="{FF2B5EF4-FFF2-40B4-BE49-F238E27FC236}">
                  <a16:creationId xmlns:a16="http://schemas.microsoft.com/office/drawing/2014/main" id="{40A55131-B325-4723-933D-EABF8389576E}"/>
                </a:ext>
              </a:extLst>
            </p:cNvPr>
            <p:cNvSpPr/>
            <p:nvPr/>
          </p:nvSpPr>
          <p:spPr>
            <a:xfrm>
              <a:off x="6082007" y="3577423"/>
              <a:ext cx="973602" cy="916527"/>
            </a:xfrm>
            <a:custGeom>
              <a:avLst/>
              <a:gdLst>
                <a:gd name="connsiteX0" fmla="*/ 0 w 1171663"/>
                <a:gd name="connsiteY0" fmla="*/ 0 h 1110469"/>
                <a:gd name="connsiteX1" fmla="*/ 1171664 w 1171663"/>
                <a:gd name="connsiteY1" fmla="*/ 0 h 1110469"/>
                <a:gd name="connsiteX2" fmla="*/ 1171664 w 1171663"/>
                <a:gd name="connsiteY2" fmla="*/ 1110470 h 1110469"/>
                <a:gd name="connsiteX3" fmla="*/ 0 w 1171663"/>
                <a:gd name="connsiteY3" fmla="*/ 1110470 h 1110469"/>
              </a:gdLst>
              <a:ahLst/>
              <a:cxnLst>
                <a:cxn ang="0">
                  <a:pos x="connsiteX0" y="connsiteY0"/>
                </a:cxn>
                <a:cxn ang="0">
                  <a:pos x="connsiteX1" y="connsiteY1"/>
                </a:cxn>
                <a:cxn ang="0">
                  <a:pos x="connsiteX2" y="connsiteY2"/>
                </a:cxn>
                <a:cxn ang="0">
                  <a:pos x="connsiteX3" y="connsiteY3"/>
                </a:cxn>
              </a:cxnLst>
              <a:rect l="l" t="t" r="r" b="b"/>
              <a:pathLst>
                <a:path w="1171663" h="1110469">
                  <a:moveTo>
                    <a:pt x="0" y="0"/>
                  </a:moveTo>
                  <a:lnTo>
                    <a:pt x="1171664" y="0"/>
                  </a:lnTo>
                  <a:lnTo>
                    <a:pt x="1171664" y="1110470"/>
                  </a:lnTo>
                  <a:lnTo>
                    <a:pt x="0" y="1110470"/>
                  </a:lnTo>
                  <a:close/>
                </a:path>
              </a:pathLst>
            </a:custGeom>
            <a:solidFill>
              <a:srgbClr val="12ABDB"/>
            </a:solidFill>
            <a:ln w="6695" cap="flat">
              <a:noFill/>
              <a:prstDash val="solid"/>
              <a:miter/>
            </a:ln>
          </p:spPr>
          <p:txBody>
            <a:bodyPr lIns="72000" rIns="36000" rtlCol="0" anchor="ctr"/>
            <a:lstStyle/>
            <a:p>
              <a:pPr>
                <a:spcAft>
                  <a:spcPts val="300"/>
                </a:spcAft>
              </a:pPr>
              <a:r>
                <a:rPr lang="en-GB" sz="900">
                  <a:latin typeface="Ubuntu" panose="020B0504030602030204" pitchFamily="34" charset="0"/>
                </a:rPr>
                <a:t>VIBRANT BLUE</a:t>
              </a:r>
            </a:p>
            <a:p>
              <a:pPr>
                <a:spcAft>
                  <a:spcPts val="300"/>
                </a:spcAft>
              </a:pPr>
              <a:r>
                <a:rPr lang="en-GB" sz="900">
                  <a:latin typeface="Ubuntu" panose="020B0504030602030204" pitchFamily="34" charset="0"/>
                </a:rPr>
                <a:t>18/171/219</a:t>
              </a:r>
            </a:p>
            <a:p>
              <a:pPr>
                <a:spcAft>
                  <a:spcPts val="300"/>
                </a:spcAft>
              </a:pPr>
              <a:r>
                <a:rPr lang="en-GB" sz="900">
                  <a:latin typeface="Ubuntu" panose="020B0504030602030204" pitchFamily="34" charset="0"/>
                </a:rPr>
                <a:t>#012ABDB</a:t>
              </a:r>
            </a:p>
            <a:p>
              <a:pPr>
                <a:spcAft>
                  <a:spcPts val="300"/>
                </a:spcAft>
              </a:pPr>
              <a:endParaRPr lang="en-GB" sz="900">
                <a:latin typeface="Ubuntu" panose="020B0504030602030204" pitchFamily="34" charset="0"/>
              </a:endParaRPr>
            </a:p>
          </p:txBody>
        </p:sp>
        <p:sp>
          <p:nvSpPr>
            <p:cNvPr id="79" name="Forme libre : forme 78">
              <a:extLst>
                <a:ext uri="{FF2B5EF4-FFF2-40B4-BE49-F238E27FC236}">
                  <a16:creationId xmlns:a16="http://schemas.microsoft.com/office/drawing/2014/main" id="{B473F473-9721-4A86-B47B-9D462B975375}"/>
                </a:ext>
              </a:extLst>
            </p:cNvPr>
            <p:cNvSpPr/>
            <p:nvPr/>
          </p:nvSpPr>
          <p:spPr>
            <a:xfrm>
              <a:off x="5112521" y="3577423"/>
              <a:ext cx="973602" cy="916527"/>
            </a:xfrm>
            <a:custGeom>
              <a:avLst/>
              <a:gdLst>
                <a:gd name="connsiteX0" fmla="*/ 0 w 1171663"/>
                <a:gd name="connsiteY0" fmla="*/ 0 h 1110469"/>
                <a:gd name="connsiteX1" fmla="*/ 1171664 w 1171663"/>
                <a:gd name="connsiteY1" fmla="*/ 0 h 1110469"/>
                <a:gd name="connsiteX2" fmla="*/ 1171664 w 1171663"/>
                <a:gd name="connsiteY2" fmla="*/ 1110470 h 1110469"/>
                <a:gd name="connsiteX3" fmla="*/ 0 w 1171663"/>
                <a:gd name="connsiteY3" fmla="*/ 1110470 h 1110469"/>
              </a:gdLst>
              <a:ahLst/>
              <a:cxnLst>
                <a:cxn ang="0">
                  <a:pos x="connsiteX0" y="connsiteY0"/>
                </a:cxn>
                <a:cxn ang="0">
                  <a:pos x="connsiteX1" y="connsiteY1"/>
                </a:cxn>
                <a:cxn ang="0">
                  <a:pos x="connsiteX2" y="connsiteY2"/>
                </a:cxn>
                <a:cxn ang="0">
                  <a:pos x="connsiteX3" y="connsiteY3"/>
                </a:cxn>
              </a:cxnLst>
              <a:rect l="l" t="t" r="r" b="b"/>
              <a:pathLst>
                <a:path w="1171663" h="1110469">
                  <a:moveTo>
                    <a:pt x="0" y="0"/>
                  </a:moveTo>
                  <a:lnTo>
                    <a:pt x="1171664" y="0"/>
                  </a:lnTo>
                  <a:lnTo>
                    <a:pt x="1171664" y="1110470"/>
                  </a:lnTo>
                  <a:lnTo>
                    <a:pt x="0" y="1110470"/>
                  </a:lnTo>
                  <a:close/>
                </a:path>
              </a:pathLst>
            </a:custGeom>
            <a:solidFill>
              <a:srgbClr val="0070AD"/>
            </a:solidFill>
            <a:ln w="6695" cap="flat">
              <a:noFill/>
              <a:prstDash val="solid"/>
              <a:miter/>
            </a:ln>
          </p:spPr>
          <p:txBody>
            <a:bodyPr lIns="72000" rIns="36000" rtlCol="0" anchor="ctr"/>
            <a:lstStyle/>
            <a:p>
              <a:pPr>
                <a:spcAft>
                  <a:spcPts val="300"/>
                </a:spcAft>
              </a:pPr>
              <a:r>
                <a:rPr lang="en-GB" sz="900">
                  <a:solidFill>
                    <a:schemeClr val="bg1"/>
                  </a:solidFill>
                  <a:latin typeface="Ubuntu" panose="020B0504030602030204" pitchFamily="34" charset="0"/>
                </a:rPr>
                <a:t>CAPGEMINI BLUE</a:t>
              </a:r>
            </a:p>
            <a:p>
              <a:pPr>
                <a:spcAft>
                  <a:spcPts val="300"/>
                </a:spcAft>
              </a:pPr>
              <a:r>
                <a:rPr lang="en-GB" sz="900">
                  <a:solidFill>
                    <a:schemeClr val="bg1"/>
                  </a:solidFill>
                  <a:latin typeface="Ubuntu" panose="020B0504030602030204" pitchFamily="34" charset="0"/>
                </a:rPr>
                <a:t>0/112/173</a:t>
              </a:r>
            </a:p>
            <a:p>
              <a:pPr>
                <a:spcAft>
                  <a:spcPts val="300"/>
                </a:spcAft>
              </a:pPr>
              <a:r>
                <a:rPr lang="en-GB" sz="900">
                  <a:solidFill>
                    <a:schemeClr val="bg1"/>
                  </a:solidFill>
                  <a:latin typeface="Ubuntu" panose="020B0504030602030204" pitchFamily="34" charset="0"/>
                </a:rPr>
                <a:t>#0070AD</a:t>
              </a:r>
            </a:p>
            <a:p>
              <a:pPr>
                <a:spcAft>
                  <a:spcPts val="300"/>
                </a:spcAft>
              </a:pPr>
              <a:endParaRPr lang="en-GB" sz="900">
                <a:solidFill>
                  <a:schemeClr val="bg1"/>
                </a:solidFill>
                <a:latin typeface="Ubuntu" panose="020B0504030602030204" pitchFamily="34" charset="0"/>
              </a:endParaRPr>
            </a:p>
          </p:txBody>
        </p:sp>
      </p:grpSp>
      <p:sp>
        <p:nvSpPr>
          <p:cNvPr id="43" name="Rectangle 42"/>
          <p:cNvSpPr/>
          <p:nvPr/>
        </p:nvSpPr>
        <p:spPr>
          <a:xfrm>
            <a:off x="8794795" y="2110676"/>
            <a:ext cx="807913"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900" b="1">
                <a:solidFill>
                  <a:schemeClr val="tx2"/>
                </a:solidFill>
                <a:latin typeface="Ubuntu" panose="020B0504030602030204" pitchFamily="34" charset="0"/>
              </a:rPr>
              <a:t>WARM palette</a:t>
            </a:r>
          </a:p>
        </p:txBody>
      </p:sp>
      <p:grpSp>
        <p:nvGrpSpPr>
          <p:cNvPr id="8" name="Groupe 7">
            <a:extLst>
              <a:ext uri="{FF2B5EF4-FFF2-40B4-BE49-F238E27FC236}">
                <a16:creationId xmlns:a16="http://schemas.microsoft.com/office/drawing/2014/main" id="{5288A385-15A2-4DFE-9443-10D1B3C05854}"/>
              </a:ext>
            </a:extLst>
          </p:cNvPr>
          <p:cNvGrpSpPr/>
          <p:nvPr/>
        </p:nvGrpSpPr>
        <p:grpSpPr>
          <a:xfrm>
            <a:off x="3645395" y="2293036"/>
            <a:ext cx="3661356" cy="3472150"/>
            <a:chOff x="1065627" y="2294859"/>
            <a:chExt cx="3661356" cy="3472150"/>
          </a:xfrm>
        </p:grpSpPr>
        <p:sp>
          <p:nvSpPr>
            <p:cNvPr id="9" name="Forme libre : forme 8">
              <a:extLst>
                <a:ext uri="{FF2B5EF4-FFF2-40B4-BE49-F238E27FC236}">
                  <a16:creationId xmlns:a16="http://schemas.microsoft.com/office/drawing/2014/main" id="{7F95E12D-7FE0-4D47-ACCE-9ED7BB532CD2}"/>
                </a:ext>
              </a:extLst>
            </p:cNvPr>
            <p:cNvSpPr/>
            <p:nvPr/>
          </p:nvSpPr>
          <p:spPr>
            <a:xfrm>
              <a:off x="2892603"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15/67/74</a:t>
              </a:r>
            </a:p>
            <a:p>
              <a:pPr>
                <a:spcAft>
                  <a:spcPts val="300"/>
                </a:spcAft>
              </a:pPr>
              <a:r>
                <a:rPr lang="en-GB" sz="900">
                  <a:solidFill>
                    <a:schemeClr val="bg1"/>
                  </a:solidFill>
                  <a:latin typeface="Ubuntu" panose="020B0504030602030204" pitchFamily="34" charset="0"/>
                </a:rPr>
                <a:t>#0F434A</a:t>
              </a:r>
            </a:p>
          </p:txBody>
        </p:sp>
        <p:sp>
          <p:nvSpPr>
            <p:cNvPr id="10" name="Forme libre : forme 9">
              <a:extLst>
                <a:ext uri="{FF2B5EF4-FFF2-40B4-BE49-F238E27FC236}">
                  <a16:creationId xmlns:a16="http://schemas.microsoft.com/office/drawing/2014/main" id="{75869A1D-A581-49FA-A6B3-A6A97E81069B}"/>
                </a:ext>
              </a:extLst>
            </p:cNvPr>
            <p:cNvSpPr/>
            <p:nvPr/>
          </p:nvSpPr>
          <p:spPr>
            <a:xfrm>
              <a:off x="2892603"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15/106/115</a:t>
              </a:r>
            </a:p>
            <a:p>
              <a:pPr>
                <a:spcAft>
                  <a:spcPts val="300"/>
                </a:spcAft>
              </a:pPr>
              <a:r>
                <a:rPr lang="en-GB" sz="900">
                  <a:solidFill>
                    <a:schemeClr val="bg1"/>
                  </a:solidFill>
                  <a:latin typeface="Ubuntu" panose="020B0504030602030204" pitchFamily="34" charset="0"/>
                </a:rPr>
                <a:t>#0F6A73</a:t>
              </a:r>
            </a:p>
          </p:txBody>
        </p:sp>
        <p:sp>
          <p:nvSpPr>
            <p:cNvPr id="11" name="Forme libre : forme 10">
              <a:extLst>
                <a:ext uri="{FF2B5EF4-FFF2-40B4-BE49-F238E27FC236}">
                  <a16:creationId xmlns:a16="http://schemas.microsoft.com/office/drawing/2014/main" id="{6CABED7A-6BD4-4EBD-8500-B48F064C7FF7}"/>
                </a:ext>
              </a:extLst>
            </p:cNvPr>
            <p:cNvSpPr/>
            <p:nvPr/>
          </p:nvSpPr>
          <p:spPr>
            <a:xfrm>
              <a:off x="2892603"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PEACOCK</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15/135/138</a:t>
              </a:r>
            </a:p>
            <a:p>
              <a:pPr>
                <a:spcAft>
                  <a:spcPts val="300"/>
                </a:spcAft>
              </a:pPr>
              <a:r>
                <a:rPr lang="en-GB" sz="900">
                  <a:solidFill>
                    <a:schemeClr val="bg1"/>
                  </a:solidFill>
                  <a:latin typeface="Ubuntu" panose="020B0504030602030204" pitchFamily="34" charset="0"/>
                </a:rPr>
                <a:t>#0F878A</a:t>
              </a:r>
            </a:p>
          </p:txBody>
        </p:sp>
        <p:sp>
          <p:nvSpPr>
            <p:cNvPr id="12" name="Forme libre : forme 11">
              <a:extLst>
                <a:ext uri="{FF2B5EF4-FFF2-40B4-BE49-F238E27FC236}">
                  <a16:creationId xmlns:a16="http://schemas.microsoft.com/office/drawing/2014/main" id="{79F69335-6186-4470-A1E5-C3A5BB4653AA}"/>
                </a:ext>
              </a:extLst>
            </p:cNvPr>
            <p:cNvSpPr/>
            <p:nvPr/>
          </p:nvSpPr>
          <p:spPr>
            <a:xfrm>
              <a:off x="2892603"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0/178/162</a:t>
              </a:r>
            </a:p>
            <a:p>
              <a:pPr>
                <a:spcAft>
                  <a:spcPts val="300"/>
                </a:spcAft>
              </a:pPr>
              <a:r>
                <a:rPr lang="en-GB" sz="900">
                  <a:latin typeface="Ubuntu" panose="020B0504030602030204" pitchFamily="34" charset="0"/>
                </a:rPr>
                <a:t>#00B2A2</a:t>
              </a:r>
            </a:p>
            <a:p>
              <a:pPr>
                <a:spcAft>
                  <a:spcPts val="300"/>
                </a:spcAft>
              </a:pPr>
              <a:endParaRPr lang="en-GB" sz="900">
                <a:latin typeface="Ubuntu" panose="020B0504030602030204" pitchFamily="34" charset="0"/>
              </a:endParaRPr>
            </a:p>
          </p:txBody>
        </p:sp>
        <p:sp>
          <p:nvSpPr>
            <p:cNvPr id="13" name="Forme libre : forme 12">
              <a:extLst>
                <a:ext uri="{FF2B5EF4-FFF2-40B4-BE49-F238E27FC236}">
                  <a16:creationId xmlns:a16="http://schemas.microsoft.com/office/drawing/2014/main" id="{BDEECA0C-3B10-4254-B528-503D9B9FF338}"/>
                </a:ext>
              </a:extLst>
            </p:cNvPr>
            <p:cNvSpPr/>
            <p:nvPr/>
          </p:nvSpPr>
          <p:spPr>
            <a:xfrm>
              <a:off x="2892603"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0/244/203</a:t>
              </a:r>
            </a:p>
            <a:p>
              <a:pPr>
                <a:spcAft>
                  <a:spcPts val="300"/>
                </a:spcAft>
              </a:pPr>
              <a:r>
                <a:rPr lang="en-GB" sz="900">
                  <a:latin typeface="Ubuntu" panose="020B0504030602030204" pitchFamily="34" charset="0"/>
                </a:rPr>
                <a:t>#00E0CB</a:t>
              </a:r>
            </a:p>
          </p:txBody>
        </p:sp>
        <p:sp>
          <p:nvSpPr>
            <p:cNvPr id="14" name="Forme libre : forme 13">
              <a:extLst>
                <a:ext uri="{FF2B5EF4-FFF2-40B4-BE49-F238E27FC236}">
                  <a16:creationId xmlns:a16="http://schemas.microsoft.com/office/drawing/2014/main" id="{490B5721-CD2D-4C9C-99D5-FEC9F2B7B08F}"/>
                </a:ext>
              </a:extLst>
            </p:cNvPr>
            <p:cNvSpPr/>
            <p:nvPr/>
          </p:nvSpPr>
          <p:spPr>
            <a:xfrm>
              <a:off x="1065627"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23/128/54</a:t>
              </a:r>
            </a:p>
            <a:p>
              <a:pPr>
                <a:spcAft>
                  <a:spcPts val="300"/>
                </a:spcAft>
              </a:pPr>
              <a:r>
                <a:rPr lang="en-GB" sz="900">
                  <a:solidFill>
                    <a:schemeClr val="bg1"/>
                  </a:solidFill>
                  <a:latin typeface="Ubuntu" panose="020B0504030602030204" pitchFamily="34" charset="0"/>
                </a:rPr>
                <a:t>#176036</a:t>
              </a:r>
            </a:p>
          </p:txBody>
        </p:sp>
        <p:sp>
          <p:nvSpPr>
            <p:cNvPr id="15" name="Forme libre : forme 14">
              <a:extLst>
                <a:ext uri="{FF2B5EF4-FFF2-40B4-BE49-F238E27FC236}">
                  <a16:creationId xmlns:a16="http://schemas.microsoft.com/office/drawing/2014/main" id="{4C22C788-7217-48C0-B25B-37566127F21C}"/>
                </a:ext>
              </a:extLst>
            </p:cNvPr>
            <p:cNvSpPr/>
            <p:nvPr/>
          </p:nvSpPr>
          <p:spPr>
            <a:xfrm>
              <a:off x="1065627"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23/140/61</a:t>
              </a:r>
            </a:p>
            <a:p>
              <a:pPr>
                <a:spcAft>
                  <a:spcPts val="300"/>
                </a:spcAft>
              </a:pPr>
              <a:r>
                <a:rPr lang="en-GB" sz="900">
                  <a:solidFill>
                    <a:schemeClr val="bg1"/>
                  </a:solidFill>
                  <a:latin typeface="Ubuntu" panose="020B0504030602030204" pitchFamily="34" charset="0"/>
                </a:rPr>
                <a:t>#2EA657</a:t>
              </a:r>
            </a:p>
          </p:txBody>
        </p:sp>
        <p:sp>
          <p:nvSpPr>
            <p:cNvPr id="16" name="Forme libre : forme 15">
              <a:extLst>
                <a:ext uri="{FF2B5EF4-FFF2-40B4-BE49-F238E27FC236}">
                  <a16:creationId xmlns:a16="http://schemas.microsoft.com/office/drawing/2014/main" id="{9A3BB44E-199E-48F4-B88C-30785083CD35}"/>
                </a:ext>
              </a:extLst>
            </p:cNvPr>
            <p:cNvSpPr/>
            <p:nvPr/>
          </p:nvSpPr>
          <p:spPr>
            <a:xfrm>
              <a:off x="1065627"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spcAft>
                  <a:spcPts val="300"/>
                </a:spcAft>
              </a:pPr>
              <a:r>
                <a:rPr lang="en-GB" sz="900">
                  <a:latin typeface="Ubuntu" panose="020B0504030602030204" pitchFamily="34" charset="0"/>
                </a:rPr>
                <a:t>GREEN</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46/166/87</a:t>
              </a:r>
            </a:p>
            <a:p>
              <a:pPr>
                <a:spcAft>
                  <a:spcPts val="300"/>
                </a:spcAft>
              </a:pPr>
              <a:r>
                <a:rPr lang="en-GB" sz="900">
                  <a:latin typeface="Ubuntu" panose="020B0504030602030204" pitchFamily="34" charset="0"/>
                </a:rPr>
                <a:t>#2EA657</a:t>
              </a:r>
            </a:p>
          </p:txBody>
        </p:sp>
        <p:sp>
          <p:nvSpPr>
            <p:cNvPr id="17" name="Forme libre : forme 16">
              <a:extLst>
                <a:ext uri="{FF2B5EF4-FFF2-40B4-BE49-F238E27FC236}">
                  <a16:creationId xmlns:a16="http://schemas.microsoft.com/office/drawing/2014/main" id="{4B54D017-4F4F-4733-9BD1-4A938A2E9942}"/>
                </a:ext>
              </a:extLst>
            </p:cNvPr>
            <p:cNvSpPr/>
            <p:nvPr/>
          </p:nvSpPr>
          <p:spPr>
            <a:xfrm>
              <a:off x="1065627"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51/181/105</a:t>
              </a:r>
            </a:p>
            <a:p>
              <a:pPr>
                <a:spcAft>
                  <a:spcPts val="300"/>
                </a:spcAft>
              </a:pPr>
              <a:r>
                <a:rPr lang="en-GB" sz="900">
                  <a:latin typeface="Ubuntu" panose="020B0504030602030204" pitchFamily="34" charset="0"/>
                </a:rPr>
                <a:t>#33B569</a:t>
              </a:r>
            </a:p>
          </p:txBody>
        </p:sp>
        <p:sp>
          <p:nvSpPr>
            <p:cNvPr id="18" name="Forme libre : forme 17">
              <a:extLst>
                <a:ext uri="{FF2B5EF4-FFF2-40B4-BE49-F238E27FC236}">
                  <a16:creationId xmlns:a16="http://schemas.microsoft.com/office/drawing/2014/main" id="{5E7F1FC6-7367-4657-B8C0-A93C04A10358}"/>
                </a:ext>
              </a:extLst>
            </p:cNvPr>
            <p:cNvSpPr/>
            <p:nvPr/>
          </p:nvSpPr>
          <p:spPr>
            <a:xfrm>
              <a:off x="1065627"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87/207/128</a:t>
              </a:r>
            </a:p>
            <a:p>
              <a:pPr>
                <a:spcAft>
                  <a:spcPts val="300"/>
                </a:spcAft>
              </a:pPr>
              <a:r>
                <a:rPr lang="en-GB" sz="900">
                  <a:latin typeface="Ubuntu" panose="020B0504030602030204" pitchFamily="34" charset="0"/>
                </a:rPr>
                <a:t>#57CF80</a:t>
              </a:r>
            </a:p>
          </p:txBody>
        </p:sp>
        <p:sp>
          <p:nvSpPr>
            <p:cNvPr id="19" name="Forme libre : forme 18">
              <a:extLst>
                <a:ext uri="{FF2B5EF4-FFF2-40B4-BE49-F238E27FC236}">
                  <a16:creationId xmlns:a16="http://schemas.microsoft.com/office/drawing/2014/main" id="{968C0EB7-474A-4E3E-ACC6-63A82E83D32D}"/>
                </a:ext>
              </a:extLst>
            </p:cNvPr>
            <p:cNvSpPr/>
            <p:nvPr/>
          </p:nvSpPr>
          <p:spPr>
            <a:xfrm>
              <a:off x="3808032" y="5126003"/>
              <a:ext cx="9180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23/51/64</a:t>
              </a:r>
            </a:p>
            <a:p>
              <a:pPr>
                <a:spcAft>
                  <a:spcPts val="300"/>
                </a:spcAft>
              </a:pPr>
              <a:r>
                <a:rPr lang="en-GB" sz="900">
                  <a:solidFill>
                    <a:schemeClr val="bg1"/>
                  </a:solidFill>
                  <a:latin typeface="Ubuntu" panose="020B0504030602030204" pitchFamily="34" charset="0"/>
                </a:rPr>
                <a:t>#173340</a:t>
              </a:r>
            </a:p>
          </p:txBody>
        </p:sp>
        <p:sp>
          <p:nvSpPr>
            <p:cNvPr id="20" name="Forme libre : forme 19">
              <a:extLst>
                <a:ext uri="{FF2B5EF4-FFF2-40B4-BE49-F238E27FC236}">
                  <a16:creationId xmlns:a16="http://schemas.microsoft.com/office/drawing/2014/main" id="{011DF41B-26FC-44D8-BC8B-198BF6DF4ACC}"/>
                </a:ext>
              </a:extLst>
            </p:cNvPr>
            <p:cNvSpPr/>
            <p:nvPr/>
          </p:nvSpPr>
          <p:spPr>
            <a:xfrm>
              <a:off x="3809683"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33/69/84</a:t>
              </a:r>
            </a:p>
            <a:p>
              <a:pPr>
                <a:spcAft>
                  <a:spcPts val="300"/>
                </a:spcAft>
              </a:pPr>
              <a:r>
                <a:rPr lang="en-GB" sz="900">
                  <a:solidFill>
                    <a:schemeClr val="bg1"/>
                  </a:solidFill>
                  <a:latin typeface="Ubuntu" panose="020B0504030602030204" pitchFamily="34" charset="0"/>
                </a:rPr>
                <a:t>#214554</a:t>
              </a:r>
            </a:p>
          </p:txBody>
        </p:sp>
        <p:sp>
          <p:nvSpPr>
            <p:cNvPr id="21" name="Forme libre : forme 20">
              <a:extLst>
                <a:ext uri="{FF2B5EF4-FFF2-40B4-BE49-F238E27FC236}">
                  <a16:creationId xmlns:a16="http://schemas.microsoft.com/office/drawing/2014/main" id="{C7F22CC0-8830-4BC2-8F05-0EA2BEEC5A98}"/>
                </a:ext>
              </a:extLst>
            </p:cNvPr>
            <p:cNvSpPr/>
            <p:nvPr/>
          </p:nvSpPr>
          <p:spPr>
            <a:xfrm>
              <a:off x="3809683"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SAPPHIRE</a:t>
              </a:r>
            </a:p>
            <a:p>
              <a:pPr>
                <a:spcAft>
                  <a:spcPts val="300"/>
                </a:spcAft>
              </a:pPr>
              <a:r>
                <a:rPr lang="en-GB" sz="900">
                  <a:solidFill>
                    <a:schemeClr val="bg1"/>
                  </a:solidFill>
                  <a:latin typeface="Ubuntu" panose="020B0504030602030204" pitchFamily="34" charset="0"/>
                </a:rPr>
                <a:t>03</a:t>
              </a:r>
            </a:p>
            <a:p>
              <a:pPr>
                <a:spcAft>
                  <a:spcPts val="300"/>
                </a:spcAft>
              </a:pPr>
              <a:r>
                <a:rPr lang="en-GB" sz="900">
                  <a:solidFill>
                    <a:schemeClr val="bg1"/>
                  </a:solidFill>
                  <a:latin typeface="Ubuntu" panose="020B0504030602030204" pitchFamily="34" charset="0"/>
                </a:rPr>
                <a:t>20/89/107</a:t>
              </a:r>
            </a:p>
            <a:p>
              <a:pPr>
                <a:spcAft>
                  <a:spcPts val="300"/>
                </a:spcAft>
              </a:pPr>
              <a:r>
                <a:rPr lang="en-GB" sz="900">
                  <a:solidFill>
                    <a:schemeClr val="bg1"/>
                  </a:solidFill>
                  <a:latin typeface="Ubuntu" panose="020B0504030602030204" pitchFamily="34" charset="0"/>
                </a:rPr>
                <a:t>#14596B</a:t>
              </a:r>
            </a:p>
          </p:txBody>
        </p:sp>
        <p:sp>
          <p:nvSpPr>
            <p:cNvPr id="22" name="Forme libre : forme 21">
              <a:extLst>
                <a:ext uri="{FF2B5EF4-FFF2-40B4-BE49-F238E27FC236}">
                  <a16:creationId xmlns:a16="http://schemas.microsoft.com/office/drawing/2014/main" id="{2F67F3BF-824B-495A-8E07-035343295E54}"/>
                </a:ext>
              </a:extLst>
            </p:cNvPr>
            <p:cNvSpPr/>
            <p:nvPr/>
          </p:nvSpPr>
          <p:spPr>
            <a:xfrm>
              <a:off x="3809683"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2</a:t>
              </a:r>
            </a:p>
            <a:p>
              <a:pPr>
                <a:spcAft>
                  <a:spcPts val="300"/>
                </a:spcAft>
              </a:pPr>
              <a:r>
                <a:rPr lang="en-GB" sz="900">
                  <a:solidFill>
                    <a:schemeClr val="bg1"/>
                  </a:solidFill>
                  <a:latin typeface="Ubuntu" panose="020B0504030602030204" pitchFamily="34" charset="0"/>
                </a:rPr>
                <a:t>51/107/25</a:t>
              </a:r>
            </a:p>
            <a:p>
              <a:pPr>
                <a:spcAft>
                  <a:spcPts val="300"/>
                </a:spcAft>
              </a:pPr>
              <a:r>
                <a:rPr lang="en-GB" sz="900">
                  <a:solidFill>
                    <a:schemeClr val="bg1"/>
                  </a:solidFill>
                  <a:latin typeface="Ubuntu" panose="020B0504030602030204" pitchFamily="34" charset="0"/>
                </a:rPr>
                <a:t>#336B7D</a:t>
              </a:r>
            </a:p>
          </p:txBody>
        </p:sp>
        <p:sp>
          <p:nvSpPr>
            <p:cNvPr id="23" name="Forme libre : forme 22">
              <a:extLst>
                <a:ext uri="{FF2B5EF4-FFF2-40B4-BE49-F238E27FC236}">
                  <a16:creationId xmlns:a16="http://schemas.microsoft.com/office/drawing/2014/main" id="{61C23BF1-276B-402A-8222-9995ADE25D3A}"/>
                </a:ext>
              </a:extLst>
            </p:cNvPr>
            <p:cNvSpPr/>
            <p:nvPr/>
          </p:nvSpPr>
          <p:spPr>
            <a:xfrm>
              <a:off x="3809683"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1</a:t>
              </a:r>
            </a:p>
            <a:p>
              <a:pPr>
                <a:spcAft>
                  <a:spcPts val="300"/>
                </a:spcAft>
              </a:pPr>
              <a:r>
                <a:rPr lang="en-GB" sz="900">
                  <a:solidFill>
                    <a:schemeClr val="bg1"/>
                  </a:solidFill>
                  <a:latin typeface="Ubuntu" panose="020B0504030602030204" pitchFamily="34" charset="0"/>
                </a:rPr>
                <a:t>51/128/145</a:t>
              </a:r>
            </a:p>
            <a:p>
              <a:pPr>
                <a:spcAft>
                  <a:spcPts val="300"/>
                </a:spcAft>
              </a:pPr>
              <a:r>
                <a:rPr lang="en-GB" sz="900">
                  <a:solidFill>
                    <a:schemeClr val="bg1"/>
                  </a:solidFill>
                  <a:latin typeface="Ubuntu" panose="020B0504030602030204" pitchFamily="34" charset="0"/>
                </a:rPr>
                <a:t>#338091</a:t>
              </a:r>
            </a:p>
          </p:txBody>
        </p:sp>
        <p:sp>
          <p:nvSpPr>
            <p:cNvPr id="47" name="Forme libre : forme 46">
              <a:extLst>
                <a:ext uri="{FF2B5EF4-FFF2-40B4-BE49-F238E27FC236}">
                  <a16:creationId xmlns:a16="http://schemas.microsoft.com/office/drawing/2014/main" id="{12AB8857-6741-4E15-92C8-B4839FDEA130}"/>
                </a:ext>
              </a:extLst>
            </p:cNvPr>
            <p:cNvSpPr/>
            <p:nvPr/>
          </p:nvSpPr>
          <p:spPr>
            <a:xfrm>
              <a:off x="1982154" y="5126004"/>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5</a:t>
              </a:r>
            </a:p>
            <a:p>
              <a:pPr>
                <a:spcAft>
                  <a:spcPts val="300"/>
                </a:spcAft>
              </a:pPr>
              <a:r>
                <a:rPr lang="en-GB" sz="900">
                  <a:solidFill>
                    <a:schemeClr val="bg1"/>
                  </a:solidFill>
                  <a:latin typeface="Ubuntu" panose="020B0504030602030204" pitchFamily="34" charset="0"/>
                </a:rPr>
                <a:t>0/125/116</a:t>
              </a:r>
            </a:p>
            <a:p>
              <a:pPr>
                <a:spcAft>
                  <a:spcPts val="300"/>
                </a:spcAft>
              </a:pPr>
              <a:r>
                <a:rPr lang="en-GB" sz="900">
                  <a:solidFill>
                    <a:schemeClr val="bg1"/>
                  </a:solidFill>
                  <a:latin typeface="Ubuntu" panose="020B0504030602030204" pitchFamily="34" charset="0"/>
                </a:rPr>
                <a:t>#007D74</a:t>
              </a:r>
            </a:p>
          </p:txBody>
        </p:sp>
        <p:sp>
          <p:nvSpPr>
            <p:cNvPr id="48" name="Forme libre : forme 47">
              <a:extLst>
                <a:ext uri="{FF2B5EF4-FFF2-40B4-BE49-F238E27FC236}">
                  <a16:creationId xmlns:a16="http://schemas.microsoft.com/office/drawing/2014/main" id="{5DEF2A33-40D5-4535-BB6F-B9277251C077}"/>
                </a:ext>
              </a:extLst>
            </p:cNvPr>
            <p:cNvSpPr/>
            <p:nvPr/>
          </p:nvSpPr>
          <p:spPr>
            <a:xfrm>
              <a:off x="1982154" y="4492182"/>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spcAft>
                  <a:spcPts val="300"/>
                </a:spcAft>
              </a:pPr>
              <a:r>
                <a:rPr lang="en-GB" sz="900">
                  <a:solidFill>
                    <a:schemeClr val="bg1"/>
                  </a:solidFill>
                  <a:latin typeface="Ubuntu" panose="020B0504030602030204" pitchFamily="34" charset="0"/>
                </a:rPr>
                <a:t>04</a:t>
              </a:r>
            </a:p>
            <a:p>
              <a:pPr>
                <a:spcAft>
                  <a:spcPts val="300"/>
                </a:spcAft>
              </a:pPr>
              <a:r>
                <a:rPr lang="en-GB" sz="900">
                  <a:solidFill>
                    <a:schemeClr val="bg1"/>
                  </a:solidFill>
                  <a:latin typeface="Ubuntu" panose="020B0504030602030204" pitchFamily="34" charset="0"/>
                </a:rPr>
                <a:t>0/146/155</a:t>
              </a:r>
            </a:p>
            <a:p>
              <a:pPr>
                <a:spcAft>
                  <a:spcPts val="300"/>
                </a:spcAft>
              </a:pPr>
              <a:r>
                <a:rPr lang="en-GB" sz="900">
                  <a:solidFill>
                    <a:schemeClr val="bg1"/>
                  </a:solidFill>
                  <a:latin typeface="Ubuntu" panose="020B0504030602030204" pitchFamily="34" charset="0"/>
                </a:rPr>
                <a:t>#00929B</a:t>
              </a:r>
            </a:p>
          </p:txBody>
        </p:sp>
        <p:sp>
          <p:nvSpPr>
            <p:cNvPr id="49" name="Forme libre : forme 48">
              <a:extLst>
                <a:ext uri="{FF2B5EF4-FFF2-40B4-BE49-F238E27FC236}">
                  <a16:creationId xmlns:a16="http://schemas.microsoft.com/office/drawing/2014/main" id="{66CFCA74-2FAF-4257-8444-79611EDB89BF}"/>
                </a:ext>
              </a:extLst>
            </p:cNvPr>
            <p:cNvSpPr/>
            <p:nvPr/>
          </p:nvSpPr>
          <p:spPr>
            <a:xfrm>
              <a:off x="1982154" y="3573112"/>
              <a:ext cx="917300" cy="917301"/>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spcAft>
                  <a:spcPts val="300"/>
                </a:spcAft>
              </a:pPr>
              <a:r>
                <a:rPr lang="en-GB" sz="900">
                  <a:latin typeface="Ubuntu" panose="020B0504030602030204" pitchFamily="34" charset="0"/>
                </a:rPr>
                <a:t>TEAL</a:t>
              </a:r>
            </a:p>
            <a:p>
              <a:pPr>
                <a:spcAft>
                  <a:spcPts val="300"/>
                </a:spcAft>
              </a:pPr>
              <a:r>
                <a:rPr lang="en-GB" sz="900">
                  <a:latin typeface="Ubuntu" panose="020B0504030602030204" pitchFamily="34" charset="0"/>
                </a:rPr>
                <a:t>03</a:t>
              </a:r>
            </a:p>
            <a:p>
              <a:pPr>
                <a:spcAft>
                  <a:spcPts val="300"/>
                </a:spcAft>
              </a:pPr>
              <a:r>
                <a:rPr lang="en-GB" sz="900">
                  <a:latin typeface="Ubuntu" panose="020B0504030602030204" pitchFamily="34" charset="0"/>
                </a:rPr>
                <a:t>0/191/191</a:t>
              </a:r>
            </a:p>
            <a:p>
              <a:pPr>
                <a:spcAft>
                  <a:spcPts val="300"/>
                </a:spcAft>
              </a:pPr>
              <a:r>
                <a:rPr lang="en-GB" sz="900">
                  <a:latin typeface="Ubuntu" panose="020B0504030602030204" pitchFamily="34" charset="0"/>
                </a:rPr>
                <a:t>#00BFBF</a:t>
              </a:r>
            </a:p>
          </p:txBody>
        </p:sp>
        <p:sp>
          <p:nvSpPr>
            <p:cNvPr id="50" name="Forme libre : forme 49">
              <a:extLst>
                <a:ext uri="{FF2B5EF4-FFF2-40B4-BE49-F238E27FC236}">
                  <a16:creationId xmlns:a16="http://schemas.microsoft.com/office/drawing/2014/main" id="{4B47146B-38CD-4795-BD6F-89011FA765B7}"/>
                </a:ext>
              </a:extLst>
            </p:cNvPr>
            <p:cNvSpPr/>
            <p:nvPr/>
          </p:nvSpPr>
          <p:spPr>
            <a:xfrm>
              <a:off x="1982154" y="293359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spcAft>
                  <a:spcPts val="300"/>
                </a:spcAft>
              </a:pPr>
              <a:r>
                <a:rPr lang="en-GB" sz="900">
                  <a:latin typeface="Ubuntu" panose="020B0504030602030204" pitchFamily="34" charset="0"/>
                </a:rPr>
                <a:t>02</a:t>
              </a:r>
            </a:p>
            <a:p>
              <a:pPr>
                <a:spcAft>
                  <a:spcPts val="300"/>
                </a:spcAft>
              </a:pPr>
              <a:r>
                <a:rPr lang="en-GB" sz="900">
                  <a:latin typeface="Ubuntu" panose="020B0504030602030204" pitchFamily="34" charset="0"/>
                </a:rPr>
                <a:t>0/213/208</a:t>
              </a:r>
            </a:p>
            <a:p>
              <a:pPr>
                <a:spcAft>
                  <a:spcPts val="300"/>
                </a:spcAft>
              </a:pPr>
              <a:r>
                <a:rPr lang="en-GB" sz="900">
                  <a:latin typeface="Ubuntu" panose="020B0504030602030204" pitchFamily="34" charset="0"/>
                </a:rPr>
                <a:t>#00D5D0</a:t>
              </a:r>
            </a:p>
          </p:txBody>
        </p:sp>
        <p:sp>
          <p:nvSpPr>
            <p:cNvPr id="51" name="Forme libre : forme 50">
              <a:extLst>
                <a:ext uri="{FF2B5EF4-FFF2-40B4-BE49-F238E27FC236}">
                  <a16:creationId xmlns:a16="http://schemas.microsoft.com/office/drawing/2014/main" id="{193B385E-C739-48D7-9383-E73F6825661F}"/>
                </a:ext>
              </a:extLst>
            </p:cNvPr>
            <p:cNvSpPr/>
            <p:nvPr/>
          </p:nvSpPr>
          <p:spPr>
            <a:xfrm>
              <a:off x="1982154" y="2294859"/>
              <a:ext cx="917300" cy="641005"/>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spcAft>
                  <a:spcPts val="300"/>
                </a:spcAft>
              </a:pPr>
              <a:r>
                <a:rPr lang="en-GB" sz="900">
                  <a:latin typeface="Ubuntu" panose="020B0504030602030204" pitchFamily="34" charset="0"/>
                </a:rPr>
                <a:t>01</a:t>
              </a:r>
            </a:p>
            <a:p>
              <a:pPr>
                <a:spcAft>
                  <a:spcPts val="300"/>
                </a:spcAft>
              </a:pPr>
              <a:r>
                <a:rPr lang="en-GB" sz="900">
                  <a:latin typeface="Ubuntu" panose="020B0504030602030204" pitchFamily="34" charset="0"/>
                </a:rPr>
                <a:t>0/230/227</a:t>
              </a:r>
            </a:p>
            <a:p>
              <a:pPr>
                <a:spcAft>
                  <a:spcPts val="300"/>
                </a:spcAft>
              </a:pPr>
              <a:r>
                <a:rPr lang="en-GB" sz="900">
                  <a:latin typeface="Ubuntu" panose="020B0504030602030204" pitchFamily="34" charset="0"/>
                </a:rPr>
                <a:t>#00E6E3</a:t>
              </a:r>
            </a:p>
          </p:txBody>
        </p:sp>
      </p:grpSp>
      <p:sp>
        <p:nvSpPr>
          <p:cNvPr id="44" name="Rectangle 43">
            <a:extLst>
              <a:ext uri="{FF2B5EF4-FFF2-40B4-BE49-F238E27FC236}">
                <a16:creationId xmlns:a16="http://schemas.microsoft.com/office/drawing/2014/main" id="{0620AC00-7D91-46C5-98EB-D10F98866ACA}"/>
              </a:ext>
            </a:extLst>
          </p:cNvPr>
          <p:cNvSpPr/>
          <p:nvPr/>
        </p:nvSpPr>
        <p:spPr>
          <a:xfrm>
            <a:off x="5018511" y="2110676"/>
            <a:ext cx="758221"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900" b="1">
                <a:solidFill>
                  <a:schemeClr val="tx2"/>
                </a:solidFill>
                <a:latin typeface="Ubuntu" panose="020B0504030602030204" pitchFamily="34" charset="0"/>
              </a:rPr>
              <a:t>COOL palette</a:t>
            </a:r>
          </a:p>
        </p:txBody>
      </p:sp>
      <p:sp>
        <p:nvSpPr>
          <p:cNvPr id="80" name="Rectangle 79">
            <a:extLst>
              <a:ext uri="{FF2B5EF4-FFF2-40B4-BE49-F238E27FC236}">
                <a16:creationId xmlns:a16="http://schemas.microsoft.com/office/drawing/2014/main" id="{01AD7715-1F62-4DD9-86A4-7AB64B3F1387}"/>
              </a:ext>
            </a:extLst>
          </p:cNvPr>
          <p:cNvSpPr/>
          <p:nvPr/>
        </p:nvSpPr>
        <p:spPr>
          <a:xfrm>
            <a:off x="412750" y="1146107"/>
            <a:ext cx="2971800" cy="15773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300"/>
              </a:spcAft>
            </a:pPr>
            <a:r>
              <a:rPr lang="en-GB" sz="1000" b="1">
                <a:solidFill>
                  <a:schemeClr val="tx1"/>
                </a:solidFill>
                <a:latin typeface="Ubuntu" panose="020B0504030602030204" pitchFamily="34" charset="0"/>
              </a:rPr>
              <a:t>PRIMARY PALETTE</a:t>
            </a:r>
          </a:p>
          <a:p>
            <a:r>
              <a:rPr lang="en-GB" sz="1000">
                <a:solidFill>
                  <a:schemeClr val="tx1"/>
                </a:solidFill>
                <a:latin typeface="Ubuntu" panose="020B0504030602030204" pitchFamily="34" charset="0"/>
              </a:rPr>
              <a:t>Six </a:t>
            </a:r>
            <a:r>
              <a:rPr lang="en-GB" sz="1000" err="1">
                <a:solidFill>
                  <a:schemeClr val="tx1"/>
                </a:solidFill>
                <a:latin typeface="Ubuntu" panose="020B0504030602030204" pitchFamily="34" charset="0"/>
              </a:rPr>
              <a:t>colors</a:t>
            </a:r>
            <a:r>
              <a:rPr lang="en-GB" sz="1000">
                <a:solidFill>
                  <a:schemeClr val="tx1"/>
                </a:solidFill>
                <a:latin typeface="Ubuntu" panose="020B0504030602030204" pitchFamily="34" charset="0"/>
              </a:rPr>
              <a:t>: Capgemini Blue, Vibrant Blue (our core blues),  Deep Purple, Dark Grey, Grey and White. </a:t>
            </a:r>
          </a:p>
          <a:p>
            <a:r>
              <a:rPr lang="en-GB" sz="1000">
                <a:solidFill>
                  <a:schemeClr val="tx1"/>
                </a:solidFill>
                <a:latin typeface="Ubuntu" panose="020B0504030602030204" pitchFamily="34" charset="0"/>
              </a:rPr>
              <a:t>The primary palette is used to aid brand recognition and should be used across all asset as the hero </a:t>
            </a:r>
            <a:r>
              <a:rPr lang="en-GB" sz="1000" err="1">
                <a:solidFill>
                  <a:schemeClr val="tx1"/>
                </a:solidFill>
                <a:latin typeface="Ubuntu" panose="020B0504030602030204" pitchFamily="34" charset="0"/>
              </a:rPr>
              <a:t>colors</a:t>
            </a:r>
            <a:r>
              <a:rPr lang="en-GB" sz="1000">
                <a:solidFill>
                  <a:schemeClr val="tx1"/>
                </a:solidFill>
                <a:latin typeface="Ubuntu" panose="020B0504030602030204" pitchFamily="34" charset="0"/>
              </a:rPr>
              <a:t>.</a:t>
            </a:r>
          </a:p>
          <a:p>
            <a:endParaRPr lang="en-GB" sz="1000">
              <a:solidFill>
                <a:schemeClr val="tx1"/>
              </a:solidFill>
              <a:latin typeface="Ubuntu" panose="020B0504030602030204" pitchFamily="34" charset="0"/>
            </a:endParaRPr>
          </a:p>
          <a:p>
            <a:r>
              <a:rPr lang="en-GB" sz="1000">
                <a:solidFill>
                  <a:schemeClr val="tx1"/>
                </a:solidFill>
                <a:latin typeface="Ubuntu" panose="020B0504030602030204" pitchFamily="34" charset="0"/>
              </a:rPr>
              <a:t>It MUST be used on all front and back covers (Secondary palette not allowed on covers).</a:t>
            </a:r>
          </a:p>
          <a:p>
            <a:endParaRPr lang="en-GB" sz="1000">
              <a:solidFill>
                <a:schemeClr val="tx1"/>
              </a:solidFill>
              <a:latin typeface="Ubuntu" panose="020B0504030602030204" pitchFamily="34" charset="0"/>
            </a:endParaRPr>
          </a:p>
        </p:txBody>
      </p:sp>
      <p:sp>
        <p:nvSpPr>
          <p:cNvPr id="81" name="Rectangle 80">
            <a:extLst>
              <a:ext uri="{FF2B5EF4-FFF2-40B4-BE49-F238E27FC236}">
                <a16:creationId xmlns:a16="http://schemas.microsoft.com/office/drawing/2014/main" id="{FA1CCA89-AE47-4E6D-BE21-FDC6B91E2027}"/>
              </a:ext>
            </a:extLst>
          </p:cNvPr>
          <p:cNvSpPr/>
          <p:nvPr/>
        </p:nvSpPr>
        <p:spPr>
          <a:xfrm>
            <a:off x="4561923" y="884017"/>
            <a:ext cx="5646762" cy="1115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spcAft>
                <a:spcPts val="300"/>
              </a:spcAft>
            </a:pPr>
            <a:r>
              <a:rPr lang="en-GB" sz="1000" b="1">
                <a:solidFill>
                  <a:schemeClr val="tx2"/>
                </a:solidFill>
                <a:latin typeface="Ubuntu" panose="020B0504030602030204" pitchFamily="34" charset="0"/>
              </a:rPr>
              <a:t>SECONDARY PALETTE</a:t>
            </a:r>
          </a:p>
          <a:p>
            <a:pPr algn="ctr"/>
            <a:r>
              <a:rPr lang="en-GB" sz="1000">
                <a:solidFill>
                  <a:schemeClr val="tx1"/>
                </a:solidFill>
                <a:latin typeface="Ubuntu" panose="020B0504030602030204" pitchFamily="34" charset="0"/>
              </a:rPr>
              <a:t>Two palettes: ‘cool’ and ‘warm’. </a:t>
            </a:r>
          </a:p>
          <a:p>
            <a:pPr algn="ctr"/>
            <a:r>
              <a:rPr lang="en-GB" sz="1000">
                <a:solidFill>
                  <a:schemeClr val="tx1"/>
                </a:solidFill>
                <a:latin typeface="Ubuntu" panose="020B0504030602030204" pitchFamily="34" charset="0"/>
              </a:rPr>
              <a:t>The secondary palette is primarily used for graphs, charts, diagrams and illustrations. It can also be used as background </a:t>
            </a:r>
            <a:r>
              <a:rPr lang="en-GB" sz="1000" err="1">
                <a:solidFill>
                  <a:schemeClr val="tx1"/>
                </a:solidFill>
                <a:latin typeface="Ubuntu" panose="020B0504030602030204" pitchFamily="34" charset="0"/>
              </a:rPr>
              <a:t>color</a:t>
            </a:r>
            <a:r>
              <a:rPr lang="en-GB" sz="1000">
                <a:solidFill>
                  <a:schemeClr val="tx1"/>
                </a:solidFill>
                <a:latin typeface="Ubuntu" panose="020B0504030602030204" pitchFamily="34" charset="0"/>
              </a:rPr>
              <a:t> for section break and/or to call out a word or short sentence.</a:t>
            </a:r>
          </a:p>
          <a:p>
            <a:pPr algn="ctr"/>
            <a:endParaRPr lang="en-GB" sz="1000">
              <a:solidFill>
                <a:schemeClr val="tx1"/>
              </a:solidFill>
              <a:latin typeface="Ubuntu" panose="020B0504030602030204" pitchFamily="34" charset="0"/>
            </a:endParaRPr>
          </a:p>
          <a:p>
            <a:pPr algn="ctr"/>
            <a:r>
              <a:rPr lang="en-GB" sz="1000">
                <a:solidFill>
                  <a:schemeClr val="tx1"/>
                </a:solidFill>
                <a:latin typeface="Ubuntu" panose="020B0504030602030204" pitchFamily="34" charset="0"/>
              </a:rPr>
              <a:t>This palette </a:t>
            </a:r>
            <a:r>
              <a:rPr lang="en-GB" sz="1000">
                <a:solidFill>
                  <a:srgbClr val="E30021"/>
                </a:solidFill>
                <a:latin typeface="Ubuntu" panose="020B0504030602030204" pitchFamily="34" charset="0"/>
              </a:rPr>
              <a:t>CANNOT</a:t>
            </a:r>
            <a:r>
              <a:rPr lang="en-GB" sz="1000">
                <a:solidFill>
                  <a:schemeClr val="tx1"/>
                </a:solidFill>
                <a:latin typeface="Ubuntu" panose="020B0504030602030204" pitchFamily="34" charset="0"/>
              </a:rPr>
              <a:t> be used for hero designs, e.g. front or back covers.</a:t>
            </a:r>
          </a:p>
          <a:p>
            <a:pPr algn="ctr">
              <a:spcAft>
                <a:spcPts val="300"/>
              </a:spcAft>
            </a:pPr>
            <a:endParaRPr lang="en-GB" sz="1000" b="1">
              <a:solidFill>
                <a:schemeClr val="tx2"/>
              </a:solidFill>
              <a:latin typeface="Ubuntu" panose="020B0504030602030204" pitchFamily="34" charset="0"/>
            </a:endParaRPr>
          </a:p>
        </p:txBody>
      </p:sp>
    </p:spTree>
    <p:extLst>
      <p:ext uri="{BB962C8B-B14F-4D97-AF65-F5344CB8AC3E}">
        <p14:creationId xmlns:p14="http://schemas.microsoft.com/office/powerpoint/2010/main" val="327434043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69ADF75-7263-463B-BA2D-34E410C80B8C}"/>
              </a:ext>
            </a:extLst>
          </p:cNvPr>
          <p:cNvSpPr txBox="1"/>
          <p:nvPr/>
        </p:nvSpPr>
        <p:spPr>
          <a:xfrm>
            <a:off x="457200" y="457201"/>
            <a:ext cx="2254250" cy="558799"/>
          </a:xfrm>
          <a:prstGeom prst="rect">
            <a:avLst/>
          </a:prstGeom>
          <a:solidFill>
            <a:schemeClr val="accent2"/>
          </a:solidFill>
        </p:spPr>
        <p:txBody>
          <a:bodyPr wrap="square" rtlCol="0" anchor="ctr" anchorCtr="0">
            <a:noAutofit/>
          </a:bodyPr>
          <a:lstStyle/>
          <a:p>
            <a:pPr algn="ctr"/>
            <a:r>
              <a:rPr lang="en-GB" sz="1800" b="0" i="0" u="none" strike="noStrike" baseline="0">
                <a:solidFill>
                  <a:srgbClr val="FFFFFF"/>
                </a:solidFill>
                <a:latin typeface="Ubuntu" panose="020B0504030602030204" pitchFamily="34" charset="0"/>
              </a:rPr>
              <a:t>Vibrant Blue PNG</a:t>
            </a:r>
            <a:endParaRPr lang="en-GB" sz="1800" b="0" i="0" u="none" strike="noStrike" baseline="0">
              <a:latin typeface="Ubuntu" panose="020B0504030602030204" pitchFamily="34" charset="0"/>
            </a:endParaRPr>
          </a:p>
        </p:txBody>
      </p:sp>
      <p:pic>
        <p:nvPicPr>
          <p:cNvPr id="37" name="Image 17">
            <a:extLst>
              <a:ext uri="{FF2B5EF4-FFF2-40B4-BE49-F238E27FC236}">
                <a16:creationId xmlns:a16="http://schemas.microsoft.com/office/drawing/2014/main" id="{70CDBCB1-19AA-466E-811B-93F3C86270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3327819"/>
            <a:ext cx="3691464" cy="2610010"/>
          </a:xfrm>
          <a:prstGeom prst="rect">
            <a:avLst/>
          </a:prstGeom>
        </p:spPr>
      </p:pic>
      <p:pic>
        <p:nvPicPr>
          <p:cNvPr id="38" name="Image 20" descr="Une image contenant lampe&#10;&#10;Description générée automatiquement">
            <a:extLst>
              <a:ext uri="{FF2B5EF4-FFF2-40B4-BE49-F238E27FC236}">
                <a16:creationId xmlns:a16="http://schemas.microsoft.com/office/drawing/2014/main" id="{C27E7FB4-B23D-4BA5-80B8-AC9E5BF999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39360" y="766089"/>
            <a:ext cx="3689976" cy="2610008"/>
          </a:xfrm>
          <a:prstGeom prst="rect">
            <a:avLst/>
          </a:prstGeom>
        </p:spPr>
      </p:pic>
      <p:pic>
        <p:nvPicPr>
          <p:cNvPr id="39" name="Image 22">
            <a:extLst>
              <a:ext uri="{FF2B5EF4-FFF2-40B4-BE49-F238E27FC236}">
                <a16:creationId xmlns:a16="http://schemas.microsoft.com/office/drawing/2014/main" id="{315B38FC-49CF-4EB5-9D2F-FA9EE85DA9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62666" y="3327819"/>
            <a:ext cx="3689976" cy="2610008"/>
          </a:xfrm>
          <a:prstGeom prst="rect">
            <a:avLst/>
          </a:prstGeom>
        </p:spPr>
      </p:pic>
      <p:pic>
        <p:nvPicPr>
          <p:cNvPr id="40" name="Image 24">
            <a:extLst>
              <a:ext uri="{FF2B5EF4-FFF2-40B4-BE49-F238E27FC236}">
                <a16:creationId xmlns:a16="http://schemas.microsoft.com/office/drawing/2014/main" id="{C61664C2-BA37-499D-951E-05B8F83D27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2114" y="818990"/>
            <a:ext cx="3691464" cy="2610010"/>
          </a:xfrm>
          <a:prstGeom prst="rect">
            <a:avLst/>
          </a:prstGeom>
        </p:spPr>
      </p:pic>
    </p:spTree>
    <p:extLst>
      <p:ext uri="{BB962C8B-B14F-4D97-AF65-F5344CB8AC3E}">
        <p14:creationId xmlns:p14="http://schemas.microsoft.com/office/powerpoint/2010/main" val="29736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69ADF75-7263-463B-BA2D-34E410C80B8C}"/>
              </a:ext>
            </a:extLst>
          </p:cNvPr>
          <p:cNvSpPr txBox="1"/>
          <p:nvPr/>
        </p:nvSpPr>
        <p:spPr>
          <a:xfrm>
            <a:off x="457200" y="457201"/>
            <a:ext cx="2758480" cy="558799"/>
          </a:xfrm>
          <a:prstGeom prst="rect">
            <a:avLst/>
          </a:prstGeom>
          <a:solidFill>
            <a:schemeClr val="accent1"/>
          </a:solidFill>
        </p:spPr>
        <p:txBody>
          <a:bodyPr wrap="square" rtlCol="0" anchor="ctr" anchorCtr="0">
            <a:noAutofit/>
          </a:bodyPr>
          <a:lstStyle/>
          <a:p>
            <a:pPr algn="ctr"/>
            <a:r>
              <a:rPr lang="en-GB" sz="1800" b="0" i="0" u="none" strike="noStrike" baseline="0">
                <a:solidFill>
                  <a:srgbClr val="FFFFFF"/>
                </a:solidFill>
                <a:latin typeface="Ubuntu" panose="020B0504030602030204" pitchFamily="34" charset="0"/>
              </a:rPr>
              <a:t>Capgemini Blue PNG</a:t>
            </a:r>
            <a:endParaRPr lang="en-GB" sz="1800" b="0" i="0" u="none" strike="noStrike" baseline="0">
              <a:latin typeface="Ubuntu" panose="020B0504030602030204" pitchFamily="34" charset="0"/>
            </a:endParaRPr>
          </a:p>
        </p:txBody>
      </p:sp>
      <p:pic>
        <p:nvPicPr>
          <p:cNvPr id="13" name="Image 3">
            <a:extLst>
              <a:ext uri="{FF2B5EF4-FFF2-40B4-BE49-F238E27FC236}">
                <a16:creationId xmlns:a16="http://schemas.microsoft.com/office/drawing/2014/main" id="{C864B7A0-C2F7-478E-AA2B-8314842A6B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7700" y="1187269"/>
            <a:ext cx="3690000" cy="2608974"/>
          </a:xfrm>
          <a:prstGeom prst="rect">
            <a:avLst/>
          </a:prstGeom>
        </p:spPr>
      </p:pic>
      <p:pic>
        <p:nvPicPr>
          <p:cNvPr id="14" name="Image 5">
            <a:extLst>
              <a:ext uri="{FF2B5EF4-FFF2-40B4-BE49-F238E27FC236}">
                <a16:creationId xmlns:a16="http://schemas.microsoft.com/office/drawing/2014/main" id="{F4814DB5-895F-4D77-8F4F-168CFD4A52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4300" y="3520572"/>
            <a:ext cx="3690000" cy="2610025"/>
          </a:xfrm>
          <a:prstGeom prst="rect">
            <a:avLst/>
          </a:prstGeom>
        </p:spPr>
      </p:pic>
      <p:pic>
        <p:nvPicPr>
          <p:cNvPr id="15" name="Image 7" descr="Une image contenant lampe, lumière&#10;&#10;Description générée automatiquement">
            <a:extLst>
              <a:ext uri="{FF2B5EF4-FFF2-40B4-BE49-F238E27FC236}">
                <a16:creationId xmlns:a16="http://schemas.microsoft.com/office/drawing/2014/main" id="{9E1B2347-C1B5-4EDC-B1C5-FF0C63D002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3520572"/>
            <a:ext cx="3690000" cy="2610025"/>
          </a:xfrm>
          <a:prstGeom prst="rect">
            <a:avLst/>
          </a:prstGeom>
        </p:spPr>
      </p:pic>
      <p:pic>
        <p:nvPicPr>
          <p:cNvPr id="16" name="Image 9">
            <a:extLst>
              <a:ext uri="{FF2B5EF4-FFF2-40B4-BE49-F238E27FC236}">
                <a16:creationId xmlns:a16="http://schemas.microsoft.com/office/drawing/2014/main" id="{5CB3DB29-F43E-4C06-804D-2B06B26C13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44300" y="1187269"/>
            <a:ext cx="3690000" cy="2608974"/>
          </a:xfrm>
          <a:prstGeom prst="rect">
            <a:avLst/>
          </a:prstGeom>
        </p:spPr>
      </p:pic>
    </p:spTree>
    <p:extLst>
      <p:ext uri="{BB962C8B-B14F-4D97-AF65-F5344CB8AC3E}">
        <p14:creationId xmlns:p14="http://schemas.microsoft.com/office/powerpoint/2010/main" val="58384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6AB7B5BC-7F4B-4875-A15C-8CFFAE7B9700}"/>
              </a:ext>
            </a:extLst>
          </p:cNvPr>
          <p:cNvGrpSpPr/>
          <p:nvPr/>
        </p:nvGrpSpPr>
        <p:grpSpPr>
          <a:xfrm>
            <a:off x="1524013" y="1416514"/>
            <a:ext cx="1271013" cy="2634552"/>
            <a:chOff x="983432" y="1226496"/>
            <a:chExt cx="2496291" cy="5174304"/>
          </a:xfrm>
        </p:grpSpPr>
        <p:pic>
          <p:nvPicPr>
            <p:cNvPr id="6" name="Graphic 5">
              <a:extLst>
                <a:ext uri="{FF2B5EF4-FFF2-40B4-BE49-F238E27FC236}">
                  <a16:creationId xmlns:a16="http://schemas.microsoft.com/office/drawing/2014/main" id="{7574710F-64A1-43A7-990D-0094B2A402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57610" y="1350832"/>
              <a:ext cx="2180668" cy="5049968"/>
            </a:xfrm>
            <a:prstGeom prst="rect">
              <a:avLst/>
            </a:prstGeom>
          </p:spPr>
        </p:pic>
        <p:pic>
          <p:nvPicPr>
            <p:cNvPr id="8" name="Graphic 7">
              <a:extLst>
                <a:ext uri="{FF2B5EF4-FFF2-40B4-BE49-F238E27FC236}">
                  <a16:creationId xmlns:a16="http://schemas.microsoft.com/office/drawing/2014/main" id="{6F8E4306-1124-4AF1-B8D0-C67D0CEFCF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3432" y="1226496"/>
              <a:ext cx="2496291" cy="5174304"/>
            </a:xfrm>
            <a:prstGeom prst="rect">
              <a:avLst/>
            </a:prstGeom>
          </p:spPr>
        </p:pic>
      </p:grpSp>
      <p:grpSp>
        <p:nvGrpSpPr>
          <p:cNvPr id="5" name="Group 4">
            <a:extLst>
              <a:ext uri="{FF2B5EF4-FFF2-40B4-BE49-F238E27FC236}">
                <a16:creationId xmlns:a16="http://schemas.microsoft.com/office/drawing/2014/main" id="{3D82BB86-C239-4958-9CEE-3669DB24B318}"/>
              </a:ext>
            </a:extLst>
          </p:cNvPr>
          <p:cNvGrpSpPr/>
          <p:nvPr/>
        </p:nvGrpSpPr>
        <p:grpSpPr>
          <a:xfrm>
            <a:off x="5124413" y="1320046"/>
            <a:ext cx="1943173" cy="2831007"/>
            <a:chOff x="5124413" y="1462089"/>
            <a:chExt cx="1943173" cy="2831007"/>
          </a:xfrm>
        </p:grpSpPr>
        <p:sp>
          <p:nvSpPr>
            <p:cNvPr id="2" name="Rectangle 1">
              <a:extLst>
                <a:ext uri="{FF2B5EF4-FFF2-40B4-BE49-F238E27FC236}">
                  <a16:creationId xmlns:a16="http://schemas.microsoft.com/office/drawing/2014/main" id="{1B588ACD-1E6B-450D-B0C0-AF7BE65BF9ED}"/>
                </a:ext>
              </a:extLst>
            </p:cNvPr>
            <p:cNvSpPr/>
            <p:nvPr/>
          </p:nvSpPr>
          <p:spPr>
            <a:xfrm>
              <a:off x="5124413" y="1462089"/>
              <a:ext cx="1943173" cy="2831007"/>
            </a:xfrm>
            <a:prstGeom prst="rect">
              <a:avLst/>
            </a:prstGeom>
            <a:solidFill>
              <a:srgbClr val="0F87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3" name="Group 22">
              <a:extLst>
                <a:ext uri="{FF2B5EF4-FFF2-40B4-BE49-F238E27FC236}">
                  <a16:creationId xmlns:a16="http://schemas.microsoft.com/office/drawing/2014/main" id="{2B0EEC21-E6EC-4EF3-8C61-08E43A234E1B}"/>
                </a:ext>
              </a:extLst>
            </p:cNvPr>
            <p:cNvGrpSpPr/>
            <p:nvPr/>
          </p:nvGrpSpPr>
          <p:grpSpPr>
            <a:xfrm>
              <a:off x="5373134" y="1558557"/>
              <a:ext cx="1271013" cy="2634552"/>
              <a:chOff x="4654877" y="1226496"/>
              <a:chExt cx="2496291" cy="5174304"/>
            </a:xfrm>
          </p:grpSpPr>
          <p:pic>
            <p:nvPicPr>
              <p:cNvPr id="10" name="Graphic 9">
                <a:extLst>
                  <a:ext uri="{FF2B5EF4-FFF2-40B4-BE49-F238E27FC236}">
                    <a16:creationId xmlns:a16="http://schemas.microsoft.com/office/drawing/2014/main" id="{5FB768EF-848F-4CE2-8C8C-2AEC8EC6A0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29055" y="1350832"/>
                <a:ext cx="2180668" cy="5049968"/>
              </a:xfrm>
              <a:prstGeom prst="rect">
                <a:avLst/>
              </a:prstGeom>
            </p:spPr>
          </p:pic>
          <p:pic>
            <p:nvPicPr>
              <p:cNvPr id="11" name="Graphic 10">
                <a:extLst>
                  <a:ext uri="{FF2B5EF4-FFF2-40B4-BE49-F238E27FC236}">
                    <a16:creationId xmlns:a16="http://schemas.microsoft.com/office/drawing/2014/main" id="{6E0B0714-345C-49FA-88CA-D27DCB5921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54877" y="1226496"/>
                <a:ext cx="2496291" cy="5174304"/>
              </a:xfrm>
              <a:prstGeom prst="rect">
                <a:avLst/>
              </a:prstGeom>
            </p:spPr>
          </p:pic>
        </p:grpSp>
      </p:grpSp>
      <p:sp>
        <p:nvSpPr>
          <p:cNvPr id="21" name="Title 20">
            <a:extLst>
              <a:ext uri="{FF2B5EF4-FFF2-40B4-BE49-F238E27FC236}">
                <a16:creationId xmlns:a16="http://schemas.microsoft.com/office/drawing/2014/main" id="{7BC26C70-054B-456E-A418-ECA1F24854AB}"/>
              </a:ext>
            </a:extLst>
          </p:cNvPr>
          <p:cNvSpPr>
            <a:spLocks noGrp="1"/>
          </p:cNvSpPr>
          <p:nvPr>
            <p:ph type="title"/>
          </p:nvPr>
        </p:nvSpPr>
        <p:spPr>
          <a:xfrm>
            <a:off x="404813" y="388188"/>
            <a:ext cx="10947772" cy="716711"/>
          </a:xfrm>
        </p:spPr>
        <p:txBody>
          <a:bodyPr/>
          <a:lstStyle/>
          <a:p>
            <a:r>
              <a:rPr lang="en-GB"/>
              <a:t>ILLUSTRATION STYLE</a:t>
            </a:r>
            <a:br>
              <a:rPr lang="en-GB"/>
            </a:br>
            <a:r>
              <a:rPr lang="en-GB"/>
              <a:t>2-colors only from primary or secondary palette</a:t>
            </a:r>
          </a:p>
        </p:txBody>
      </p:sp>
      <p:grpSp>
        <p:nvGrpSpPr>
          <p:cNvPr id="14" name="Group 23">
            <a:extLst>
              <a:ext uri="{FF2B5EF4-FFF2-40B4-BE49-F238E27FC236}">
                <a16:creationId xmlns:a16="http://schemas.microsoft.com/office/drawing/2014/main" id="{F63C8991-784B-48B6-98F4-5D61D45871D7}"/>
              </a:ext>
            </a:extLst>
          </p:cNvPr>
          <p:cNvGrpSpPr/>
          <p:nvPr/>
        </p:nvGrpSpPr>
        <p:grpSpPr>
          <a:xfrm>
            <a:off x="3468229" y="1416514"/>
            <a:ext cx="1271013" cy="2634552"/>
            <a:chOff x="8171709" y="1226496"/>
            <a:chExt cx="2496291" cy="5174304"/>
          </a:xfrm>
        </p:grpSpPr>
        <p:pic>
          <p:nvPicPr>
            <p:cNvPr id="17" name="Graphic 14">
              <a:extLst>
                <a:ext uri="{FF2B5EF4-FFF2-40B4-BE49-F238E27FC236}">
                  <a16:creationId xmlns:a16="http://schemas.microsoft.com/office/drawing/2014/main" id="{CF46F836-BB56-4666-80BB-E4F73B731A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45887" y="1350832"/>
              <a:ext cx="2180668" cy="5049968"/>
            </a:xfrm>
            <a:prstGeom prst="rect">
              <a:avLst/>
            </a:prstGeom>
          </p:spPr>
        </p:pic>
        <p:pic>
          <p:nvPicPr>
            <p:cNvPr id="18" name="Graphic 15">
              <a:extLst>
                <a:ext uri="{FF2B5EF4-FFF2-40B4-BE49-F238E27FC236}">
                  <a16:creationId xmlns:a16="http://schemas.microsoft.com/office/drawing/2014/main" id="{D6025C0C-45B3-45B9-B566-AD751E85646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71709" y="1226496"/>
              <a:ext cx="2496291" cy="5174304"/>
            </a:xfrm>
            <a:prstGeom prst="rect">
              <a:avLst/>
            </a:prstGeom>
          </p:spPr>
        </p:pic>
      </p:grpSp>
      <p:grpSp>
        <p:nvGrpSpPr>
          <p:cNvPr id="19" name="Group 3">
            <a:extLst>
              <a:ext uri="{FF2B5EF4-FFF2-40B4-BE49-F238E27FC236}">
                <a16:creationId xmlns:a16="http://schemas.microsoft.com/office/drawing/2014/main" id="{C2BEC730-9A5F-4345-AEE9-8AC2C569BBEA}"/>
              </a:ext>
            </a:extLst>
          </p:cNvPr>
          <p:cNvGrpSpPr/>
          <p:nvPr/>
        </p:nvGrpSpPr>
        <p:grpSpPr>
          <a:xfrm>
            <a:off x="3506548" y="4501341"/>
            <a:ext cx="2334772" cy="1958968"/>
            <a:chOff x="4705350" y="2233612"/>
            <a:chExt cx="2781300" cy="2333625"/>
          </a:xfrm>
        </p:grpSpPr>
        <p:pic>
          <p:nvPicPr>
            <p:cNvPr id="20" name="Graphic 1">
              <a:extLst>
                <a:ext uri="{FF2B5EF4-FFF2-40B4-BE49-F238E27FC236}">
                  <a16:creationId xmlns:a16="http://schemas.microsoft.com/office/drawing/2014/main" id="{35F7D69A-94A4-4F04-B1DC-2EBE687BCBB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72025" y="2290762"/>
              <a:ext cx="2647950" cy="2276475"/>
            </a:xfrm>
            <a:prstGeom prst="rect">
              <a:avLst/>
            </a:prstGeom>
          </p:spPr>
        </p:pic>
        <p:pic>
          <p:nvPicPr>
            <p:cNvPr id="25" name="Graphic 2">
              <a:extLst>
                <a:ext uri="{FF2B5EF4-FFF2-40B4-BE49-F238E27FC236}">
                  <a16:creationId xmlns:a16="http://schemas.microsoft.com/office/drawing/2014/main" id="{89C4948D-41DA-4C0E-B867-A1F1C300C70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05350" y="2233612"/>
              <a:ext cx="2781300" cy="2238375"/>
            </a:xfrm>
            <a:prstGeom prst="rect">
              <a:avLst/>
            </a:prstGeom>
          </p:spPr>
        </p:pic>
      </p:grpSp>
      <p:grpSp>
        <p:nvGrpSpPr>
          <p:cNvPr id="26" name="Group 11">
            <a:extLst>
              <a:ext uri="{FF2B5EF4-FFF2-40B4-BE49-F238E27FC236}">
                <a16:creationId xmlns:a16="http://schemas.microsoft.com/office/drawing/2014/main" id="{0E6D4E1A-3723-4DBF-84D3-C4D99B84CBBF}"/>
              </a:ext>
            </a:extLst>
          </p:cNvPr>
          <p:cNvGrpSpPr/>
          <p:nvPr/>
        </p:nvGrpSpPr>
        <p:grpSpPr>
          <a:xfrm>
            <a:off x="7500677" y="1510654"/>
            <a:ext cx="2423168" cy="2423169"/>
            <a:chOff x="4714876" y="2290759"/>
            <a:chExt cx="2647950" cy="2647950"/>
          </a:xfrm>
        </p:grpSpPr>
        <p:pic>
          <p:nvPicPr>
            <p:cNvPr id="27" name="Graphic 5">
              <a:extLst>
                <a:ext uri="{FF2B5EF4-FFF2-40B4-BE49-F238E27FC236}">
                  <a16:creationId xmlns:a16="http://schemas.microsoft.com/office/drawing/2014/main" id="{FB93EBE5-F484-4A21-B296-85E920BD6DD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014912" y="2671762"/>
              <a:ext cx="2162175" cy="1514475"/>
            </a:xfrm>
            <a:prstGeom prst="rect">
              <a:avLst/>
            </a:prstGeom>
          </p:spPr>
        </p:pic>
        <p:pic>
          <p:nvPicPr>
            <p:cNvPr id="28" name="Graphic 6">
              <a:extLst>
                <a:ext uri="{FF2B5EF4-FFF2-40B4-BE49-F238E27FC236}">
                  <a16:creationId xmlns:a16="http://schemas.microsoft.com/office/drawing/2014/main" id="{2318E737-C532-4AD3-8052-B178FDCAC77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714876" y="2290759"/>
              <a:ext cx="2647950" cy="2647950"/>
            </a:xfrm>
            <a:prstGeom prst="rect">
              <a:avLst/>
            </a:prstGeom>
          </p:spPr>
        </p:pic>
      </p:grpSp>
      <p:grpSp>
        <p:nvGrpSpPr>
          <p:cNvPr id="29" name="Group 12">
            <a:extLst>
              <a:ext uri="{FF2B5EF4-FFF2-40B4-BE49-F238E27FC236}">
                <a16:creationId xmlns:a16="http://schemas.microsoft.com/office/drawing/2014/main" id="{04B73AAF-1C2C-4594-91DB-EB92AB7D06F9}"/>
              </a:ext>
            </a:extLst>
          </p:cNvPr>
          <p:cNvGrpSpPr/>
          <p:nvPr/>
        </p:nvGrpSpPr>
        <p:grpSpPr>
          <a:xfrm>
            <a:off x="6888088" y="4307759"/>
            <a:ext cx="1760234" cy="2411860"/>
            <a:chOff x="8955505" y="2224084"/>
            <a:chExt cx="1981200" cy="2714625"/>
          </a:xfrm>
        </p:grpSpPr>
        <p:pic>
          <p:nvPicPr>
            <p:cNvPr id="30" name="Graphic 10">
              <a:extLst>
                <a:ext uri="{FF2B5EF4-FFF2-40B4-BE49-F238E27FC236}">
                  <a16:creationId xmlns:a16="http://schemas.microsoft.com/office/drawing/2014/main" id="{7D54B1EE-304B-465A-B6F7-F947B21B9C7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955505" y="2224084"/>
              <a:ext cx="1981200" cy="2714625"/>
            </a:xfrm>
            <a:prstGeom prst="rect">
              <a:avLst/>
            </a:prstGeom>
          </p:spPr>
        </p:pic>
        <p:pic>
          <p:nvPicPr>
            <p:cNvPr id="31" name="Graphic 9">
              <a:extLst>
                <a:ext uri="{FF2B5EF4-FFF2-40B4-BE49-F238E27FC236}">
                  <a16:creationId xmlns:a16="http://schemas.microsoft.com/office/drawing/2014/main" id="{CD6000EE-4184-4A79-92FD-3E307E4CC8D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458134" y="2934137"/>
              <a:ext cx="1046175" cy="1607305"/>
            </a:xfrm>
            <a:prstGeom prst="rect">
              <a:avLst/>
            </a:prstGeom>
          </p:spPr>
        </p:pic>
      </p:grpSp>
    </p:spTree>
    <p:extLst>
      <p:ext uri="{BB962C8B-B14F-4D97-AF65-F5344CB8AC3E}">
        <p14:creationId xmlns:p14="http://schemas.microsoft.com/office/powerpoint/2010/main" val="274831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476178-E634-44B5-93B1-B076B40EAD6C}"/>
              </a:ext>
            </a:extLst>
          </p:cNvPr>
          <p:cNvSpPr>
            <a:spLocks noGrp="1"/>
          </p:cNvSpPr>
          <p:nvPr>
            <p:ph type="title"/>
          </p:nvPr>
        </p:nvSpPr>
        <p:spPr/>
        <p:txBody>
          <a:bodyPr/>
          <a:lstStyle/>
          <a:p>
            <a:r>
              <a:rPr lang="en-US" dirty="0"/>
              <a:t>Why Should you care?</a:t>
            </a:r>
          </a:p>
        </p:txBody>
      </p:sp>
      <p:sp>
        <p:nvSpPr>
          <p:cNvPr id="4" name="TextBox 3">
            <a:extLst>
              <a:ext uri="{FF2B5EF4-FFF2-40B4-BE49-F238E27FC236}">
                <a16:creationId xmlns:a16="http://schemas.microsoft.com/office/drawing/2014/main" id="{EAE8414A-986C-415F-91AB-5416B27B395F}"/>
              </a:ext>
            </a:extLst>
          </p:cNvPr>
          <p:cNvSpPr txBox="1"/>
          <p:nvPr/>
        </p:nvSpPr>
        <p:spPr>
          <a:xfrm>
            <a:off x="5072859" y="1963118"/>
            <a:ext cx="2046282" cy="1477328"/>
          </a:xfrm>
          <a:prstGeom prst="rect">
            <a:avLst/>
          </a:prstGeom>
          <a:noFill/>
        </p:spPr>
        <p:txBody>
          <a:bodyPr wrap="square">
            <a:spAutoFit/>
          </a:bodyPr>
          <a:lstStyle/>
          <a:p>
            <a:pPr marL="342900" indent="-342900">
              <a:buFont typeface="Arial" panose="020B0604020202020204" pitchFamily="34" charset="0"/>
              <a:buChar char="•"/>
            </a:pPr>
            <a:r>
              <a:rPr lang="nb-NO" err="1"/>
              <a:t>Availability</a:t>
            </a:r>
            <a:endParaRPr lang="nb-NO"/>
          </a:p>
          <a:p>
            <a:pPr marL="342900" indent="-342900">
              <a:buFont typeface="Arial" panose="020B0604020202020204" pitchFamily="34" charset="0"/>
              <a:buChar char="•"/>
            </a:pPr>
            <a:r>
              <a:rPr lang="nb-NO" err="1"/>
              <a:t>Usability</a:t>
            </a:r>
            <a:endParaRPr lang="nb-NO"/>
          </a:p>
          <a:p>
            <a:pPr marL="342900" indent="-342900">
              <a:buFont typeface="Arial" panose="020B0604020202020204" pitchFamily="34" charset="0"/>
              <a:buChar char="•"/>
            </a:pPr>
            <a:r>
              <a:rPr lang="nb-NO" err="1"/>
              <a:t>Consistency</a:t>
            </a:r>
            <a:endParaRPr lang="nb-NO"/>
          </a:p>
          <a:p>
            <a:pPr marL="342900" indent="-342900">
              <a:buFont typeface="Arial" panose="020B0604020202020204" pitchFamily="34" charset="0"/>
              <a:buChar char="•"/>
            </a:pPr>
            <a:r>
              <a:rPr lang="nb-NO"/>
              <a:t>Data </a:t>
            </a:r>
            <a:r>
              <a:rPr lang="nb-NO" err="1"/>
              <a:t>Integrity</a:t>
            </a:r>
            <a:endParaRPr lang="nb-NO"/>
          </a:p>
          <a:p>
            <a:pPr marL="342900" indent="-342900">
              <a:buFont typeface="Arial" panose="020B0604020202020204" pitchFamily="34" charset="0"/>
              <a:buChar char="•"/>
            </a:pPr>
            <a:r>
              <a:rPr lang="nb-NO"/>
              <a:t>Data Security</a:t>
            </a:r>
          </a:p>
        </p:txBody>
      </p:sp>
      <p:sp>
        <p:nvSpPr>
          <p:cNvPr id="5" name="Rectangle 4">
            <a:extLst>
              <a:ext uri="{FF2B5EF4-FFF2-40B4-BE49-F238E27FC236}">
                <a16:creationId xmlns:a16="http://schemas.microsoft.com/office/drawing/2014/main" id="{E8D6403B-3E55-4949-AA61-FB850F8842BF}"/>
              </a:ext>
            </a:extLst>
          </p:cNvPr>
          <p:cNvSpPr/>
          <p:nvPr/>
        </p:nvSpPr>
        <p:spPr>
          <a:xfrm>
            <a:off x="698041" y="4010096"/>
            <a:ext cx="3537827" cy="18722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a:p>
            <a:pPr algn="ctr"/>
            <a:r>
              <a:rPr lang="en-US" sz="1600">
                <a:solidFill>
                  <a:schemeClr val="tx1"/>
                </a:solidFill>
              </a:rPr>
              <a:t> By 2021, organizations that offer a curated catalog […] will </a:t>
            </a:r>
            <a:r>
              <a:rPr lang="en-US" sz="1600" b="1">
                <a:solidFill>
                  <a:schemeClr val="tx1"/>
                </a:solidFill>
              </a:rPr>
              <a:t>realize twice the business value</a:t>
            </a:r>
          </a:p>
          <a:p>
            <a:pPr algn="r"/>
            <a:r>
              <a:rPr lang="en-US" sz="1600">
                <a:solidFill>
                  <a:schemeClr val="tx1"/>
                </a:solidFill>
              </a:rPr>
              <a:t>- Gartner</a:t>
            </a:r>
          </a:p>
        </p:txBody>
      </p:sp>
      <p:sp>
        <p:nvSpPr>
          <p:cNvPr id="6" name="Text Placeholder 5">
            <a:extLst>
              <a:ext uri="{FF2B5EF4-FFF2-40B4-BE49-F238E27FC236}">
                <a16:creationId xmlns:a16="http://schemas.microsoft.com/office/drawing/2014/main" id="{FB92A6AC-126C-4C92-8DD2-ED9C7490A830}"/>
              </a:ext>
            </a:extLst>
          </p:cNvPr>
          <p:cNvSpPr txBox="1">
            <a:spLocks/>
          </p:cNvSpPr>
          <p:nvPr/>
        </p:nvSpPr>
        <p:spPr>
          <a:xfrm>
            <a:off x="698042" y="1780389"/>
            <a:ext cx="3537827" cy="1970374"/>
          </a:xfrm>
          <a:prstGeom prst="rect">
            <a:avLst/>
          </a:prstGeom>
          <a:solidFill>
            <a:schemeClr val="accent1">
              <a:lumMod val="50000"/>
            </a:schemeClr>
          </a:solidFill>
        </p:spPr>
        <p:txBody>
          <a:bodyPr vert="horz" lIns="0" tIns="0" rIns="0" bIns="0" rtlCol="0" anchor="ctr">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buNone/>
            </a:pPr>
            <a:r>
              <a:rPr lang="en-US" sz="1400">
                <a:solidFill>
                  <a:schemeClr val="bg1"/>
                </a:solidFill>
              </a:rPr>
              <a:t>CHALLENGES</a:t>
            </a:r>
          </a:p>
          <a:p>
            <a:pPr marL="552450" lvl="1" indent="-285750">
              <a:buFont typeface="Arial" panose="020B0604020202020204" pitchFamily="34" charset="0"/>
              <a:buChar char="•"/>
            </a:pPr>
            <a:r>
              <a:rPr lang="en-US" sz="1400">
                <a:solidFill>
                  <a:schemeClr val="bg1"/>
                </a:solidFill>
              </a:rPr>
              <a:t>Control your data</a:t>
            </a:r>
          </a:p>
          <a:p>
            <a:pPr marL="552450" lvl="1" indent="-285750">
              <a:buFont typeface="Arial" panose="020B0604020202020204" pitchFamily="34" charset="0"/>
              <a:buChar char="•"/>
            </a:pPr>
            <a:r>
              <a:rPr lang="en-US" sz="1400">
                <a:solidFill>
                  <a:schemeClr val="bg1"/>
                </a:solidFill>
              </a:rPr>
              <a:t>Manually identifying and inventorying data</a:t>
            </a:r>
          </a:p>
          <a:p>
            <a:pPr marL="552450" lvl="1" indent="-285750">
              <a:buFont typeface="Arial" panose="020B0604020202020204" pitchFamily="34" charset="0"/>
              <a:buChar char="•"/>
            </a:pPr>
            <a:r>
              <a:rPr lang="en-US" sz="1400">
                <a:solidFill>
                  <a:schemeClr val="bg1"/>
                </a:solidFill>
              </a:rPr>
              <a:t>Enable users to take advantage of the data </a:t>
            </a:r>
          </a:p>
        </p:txBody>
      </p:sp>
      <p:sp>
        <p:nvSpPr>
          <p:cNvPr id="8" name="Isosceles Triangle 7">
            <a:extLst>
              <a:ext uri="{FF2B5EF4-FFF2-40B4-BE49-F238E27FC236}">
                <a16:creationId xmlns:a16="http://schemas.microsoft.com/office/drawing/2014/main" id="{68A513AD-EC27-4C47-B556-5F2547B2D4AE}"/>
              </a:ext>
            </a:extLst>
          </p:cNvPr>
          <p:cNvSpPr/>
          <p:nvPr/>
        </p:nvSpPr>
        <p:spPr>
          <a:xfrm rot="5400000">
            <a:off x="3940789" y="2498142"/>
            <a:ext cx="1477327" cy="528838"/>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2" name="Group 1">
            <a:extLst>
              <a:ext uri="{FF2B5EF4-FFF2-40B4-BE49-F238E27FC236}">
                <a16:creationId xmlns:a16="http://schemas.microsoft.com/office/drawing/2014/main" id="{D258CDA0-3861-4CF5-9F37-A66CF08168E7}"/>
              </a:ext>
            </a:extLst>
          </p:cNvPr>
          <p:cNvGrpSpPr/>
          <p:nvPr/>
        </p:nvGrpSpPr>
        <p:grpSpPr>
          <a:xfrm>
            <a:off x="5116722" y="3921622"/>
            <a:ext cx="2068140" cy="2049156"/>
            <a:chOff x="7737197" y="1647707"/>
            <a:chExt cx="2360659" cy="2229707"/>
          </a:xfrm>
          <a:noFill/>
        </p:grpSpPr>
        <p:sp>
          <p:nvSpPr>
            <p:cNvPr id="13" name="Oval 12">
              <a:extLst>
                <a:ext uri="{FF2B5EF4-FFF2-40B4-BE49-F238E27FC236}">
                  <a16:creationId xmlns:a16="http://schemas.microsoft.com/office/drawing/2014/main" id="{6D6E92C2-1D0B-41C2-AC6D-328CA401E2D7}"/>
                </a:ext>
              </a:extLst>
            </p:cNvPr>
            <p:cNvSpPr/>
            <p:nvPr/>
          </p:nvSpPr>
          <p:spPr>
            <a:xfrm>
              <a:off x="7737197" y="1647707"/>
              <a:ext cx="2360659" cy="2229707"/>
            </a:xfrm>
            <a:prstGeom prst="ellipse">
              <a:avLst/>
            </a:prstGeom>
            <a:grp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pic>
          <p:nvPicPr>
            <p:cNvPr id="10" name="Graphic 9" descr="Diamond outline">
              <a:extLst>
                <a:ext uri="{FF2B5EF4-FFF2-40B4-BE49-F238E27FC236}">
                  <a16:creationId xmlns:a16="http://schemas.microsoft.com/office/drawing/2014/main" id="{88BF8EF8-CC3F-436D-BAE4-308488119B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60327" y="2013025"/>
              <a:ext cx="914400" cy="914400"/>
            </a:xfrm>
            <a:prstGeom prst="rect">
              <a:avLst/>
            </a:prstGeom>
          </p:spPr>
        </p:pic>
        <p:sp>
          <p:nvSpPr>
            <p:cNvPr id="11" name="TextBox 10">
              <a:extLst>
                <a:ext uri="{FF2B5EF4-FFF2-40B4-BE49-F238E27FC236}">
                  <a16:creationId xmlns:a16="http://schemas.microsoft.com/office/drawing/2014/main" id="{460B83EC-7095-4A4D-9008-7EC96F4A8B96}"/>
                </a:ext>
              </a:extLst>
            </p:cNvPr>
            <p:cNvSpPr txBox="1"/>
            <p:nvPr/>
          </p:nvSpPr>
          <p:spPr>
            <a:xfrm>
              <a:off x="7985221" y="2762561"/>
              <a:ext cx="1851402" cy="383113"/>
            </a:xfrm>
            <a:prstGeom prst="rect">
              <a:avLst/>
            </a:prstGeom>
            <a:grpFill/>
          </p:spPr>
          <p:txBody>
            <a:bodyPr wrap="none" rtlCol="0">
              <a:spAutoFit/>
            </a:bodyPr>
            <a:lstStyle/>
            <a:p>
              <a:r>
                <a:rPr lang="en-US" sz="1600"/>
                <a:t>Data as an asset</a:t>
              </a:r>
            </a:p>
          </p:txBody>
        </p:sp>
      </p:grpSp>
      <p:sp>
        <p:nvSpPr>
          <p:cNvPr id="12" name="Rectangle: Rounded Corners 11">
            <a:extLst>
              <a:ext uri="{FF2B5EF4-FFF2-40B4-BE49-F238E27FC236}">
                <a16:creationId xmlns:a16="http://schemas.microsoft.com/office/drawing/2014/main" id="{E5C6A108-209D-40D6-AF4C-B7B53EF399E9}"/>
              </a:ext>
            </a:extLst>
          </p:cNvPr>
          <p:cNvSpPr/>
          <p:nvPr/>
        </p:nvSpPr>
        <p:spPr>
          <a:xfrm>
            <a:off x="8429871" y="2814659"/>
            <a:ext cx="2853249" cy="187220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ata governance is about </a:t>
            </a:r>
            <a:r>
              <a:rPr lang="en-US" sz="1600" b="1" dirty="0">
                <a:solidFill>
                  <a:schemeClr val="tx1"/>
                </a:solidFill>
              </a:rPr>
              <a:t>TRUST</a:t>
            </a:r>
            <a:r>
              <a:rPr lang="en-US" sz="1600" dirty="0">
                <a:solidFill>
                  <a:schemeClr val="tx1"/>
                </a:solidFill>
              </a:rPr>
              <a:t>.</a:t>
            </a:r>
          </a:p>
          <a:p>
            <a:pPr algn="ctr"/>
            <a:r>
              <a:rPr lang="en-US" sz="1600" dirty="0">
                <a:solidFill>
                  <a:schemeClr val="tx1"/>
                </a:solidFill>
              </a:rPr>
              <a:t>If your users can’t trust the data, all your efforts are in vain.</a:t>
            </a:r>
          </a:p>
        </p:txBody>
      </p:sp>
      <p:sp>
        <p:nvSpPr>
          <p:cNvPr id="7" name="Rectangle 6">
            <a:extLst>
              <a:ext uri="{FF2B5EF4-FFF2-40B4-BE49-F238E27FC236}">
                <a16:creationId xmlns:a16="http://schemas.microsoft.com/office/drawing/2014/main" id="{7E99CB00-3800-47E5-8B5F-225E24F03B0F}"/>
              </a:ext>
            </a:extLst>
          </p:cNvPr>
          <p:cNvSpPr/>
          <p:nvPr/>
        </p:nvSpPr>
        <p:spPr>
          <a:xfrm>
            <a:off x="12891181" y="207563"/>
            <a:ext cx="2068140" cy="157282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err="1"/>
              <a:t>Få</a:t>
            </a:r>
            <a:r>
              <a:rPr lang="en-US" sz="1600"/>
              <a:t> TRUST </a:t>
            </a:r>
            <a:r>
              <a:rPr lang="en-US" sz="1600" err="1"/>
              <a:t>til</a:t>
            </a:r>
            <a:r>
              <a:rPr lang="en-US" sz="1600"/>
              <a:t> å </a:t>
            </a:r>
            <a:r>
              <a:rPr lang="en-US" sz="1600" err="1"/>
              <a:t>komme</a:t>
            </a:r>
            <a:r>
              <a:rPr lang="en-US" sz="1600"/>
              <a:t> </a:t>
            </a:r>
            <a:r>
              <a:rPr lang="en-US" sz="1600" err="1"/>
              <a:t>frem</a:t>
            </a:r>
            <a:r>
              <a:rPr lang="en-US" sz="1600"/>
              <a:t> </a:t>
            </a:r>
            <a:r>
              <a:rPr lang="en-US" sz="1600" err="1"/>
              <a:t>som</a:t>
            </a:r>
            <a:r>
              <a:rPr lang="en-US" sz="1600"/>
              <a:t> en </a:t>
            </a:r>
            <a:r>
              <a:rPr lang="en-US" sz="1600" err="1"/>
              <a:t>konklsjon</a:t>
            </a:r>
            <a:endParaRPr lang="en-US" sz="1600"/>
          </a:p>
        </p:txBody>
      </p:sp>
      <p:sp>
        <p:nvSpPr>
          <p:cNvPr id="14" name="Isosceles Triangle 13">
            <a:extLst>
              <a:ext uri="{FF2B5EF4-FFF2-40B4-BE49-F238E27FC236}">
                <a16:creationId xmlns:a16="http://schemas.microsoft.com/office/drawing/2014/main" id="{E81C664E-2172-44E9-B627-67E612802BC7}"/>
              </a:ext>
            </a:extLst>
          </p:cNvPr>
          <p:cNvSpPr/>
          <p:nvPr/>
        </p:nvSpPr>
        <p:spPr>
          <a:xfrm rot="5400000">
            <a:off x="5828968" y="3566928"/>
            <a:ext cx="4101914" cy="528838"/>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297724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6" grpId="0" animBg="1"/>
      <p:bldP spid="8" grpId="0" animBg="1"/>
      <p:bldP spid="12" grpId="0" animBg="1"/>
      <p:bldP spid="14"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D1AF39C-1C07-4904-BCC4-415A5941813A}"/>
              </a:ext>
            </a:extLst>
          </p:cNvPr>
          <p:cNvSpPr/>
          <p:nvPr/>
        </p:nvSpPr>
        <p:spPr>
          <a:xfrm>
            <a:off x="412811" y="1339751"/>
            <a:ext cx="2254250" cy="2376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6" name="Graphic 5">
            <a:extLst>
              <a:ext uri="{FF2B5EF4-FFF2-40B4-BE49-F238E27FC236}">
                <a16:creationId xmlns:a16="http://schemas.microsoft.com/office/drawing/2014/main" id="{01698A9E-2FEF-4E26-8307-4BB49A357C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6683" y="1720751"/>
            <a:ext cx="1706505" cy="1614488"/>
          </a:xfrm>
          <a:prstGeom prst="rect">
            <a:avLst/>
          </a:prstGeom>
        </p:spPr>
      </p:pic>
      <p:sp>
        <p:nvSpPr>
          <p:cNvPr id="8" name="Rectangle 7">
            <a:extLst>
              <a:ext uri="{FF2B5EF4-FFF2-40B4-BE49-F238E27FC236}">
                <a16:creationId xmlns:a16="http://schemas.microsoft.com/office/drawing/2014/main" id="{44EECF15-55C7-4574-8CB6-F1787C9EB8DD}"/>
              </a:ext>
            </a:extLst>
          </p:cNvPr>
          <p:cNvSpPr/>
          <p:nvPr/>
        </p:nvSpPr>
        <p:spPr>
          <a:xfrm>
            <a:off x="2665473" y="1339751"/>
            <a:ext cx="2254250" cy="23764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9" name="Graphic 8">
            <a:extLst>
              <a:ext uri="{FF2B5EF4-FFF2-40B4-BE49-F238E27FC236}">
                <a16:creationId xmlns:a16="http://schemas.microsoft.com/office/drawing/2014/main" id="{93A78ED2-4ABB-47B0-A576-05BC39F900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44109" y="1720751"/>
            <a:ext cx="1706505" cy="1614488"/>
          </a:xfrm>
          <a:prstGeom prst="rect">
            <a:avLst/>
          </a:prstGeom>
        </p:spPr>
      </p:pic>
      <p:sp>
        <p:nvSpPr>
          <p:cNvPr id="10" name="Rectangle 9">
            <a:extLst>
              <a:ext uri="{FF2B5EF4-FFF2-40B4-BE49-F238E27FC236}">
                <a16:creationId xmlns:a16="http://schemas.microsoft.com/office/drawing/2014/main" id="{E04B5A80-8E38-4AEB-A128-E80A39404523}"/>
              </a:ext>
            </a:extLst>
          </p:cNvPr>
          <p:cNvSpPr/>
          <p:nvPr/>
        </p:nvSpPr>
        <p:spPr>
          <a:xfrm>
            <a:off x="4922899" y="1339751"/>
            <a:ext cx="2254250" cy="2376488"/>
          </a:xfrm>
          <a:prstGeom prst="rect">
            <a:avLst/>
          </a:prstGeom>
          <a:solidFill>
            <a:srgbClr val="FFFFFF"/>
          </a:solidFill>
          <a:ln w="8358"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1" name="Graphic 10">
            <a:extLst>
              <a:ext uri="{FF2B5EF4-FFF2-40B4-BE49-F238E27FC236}">
                <a16:creationId xmlns:a16="http://schemas.microsoft.com/office/drawing/2014/main" id="{88FC8269-F09E-4613-B465-1A643A2850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86257" y="1814512"/>
            <a:ext cx="1706505" cy="1614488"/>
          </a:xfrm>
          <a:prstGeom prst="rect">
            <a:avLst/>
          </a:prstGeom>
        </p:spPr>
      </p:pic>
      <p:sp>
        <p:nvSpPr>
          <p:cNvPr id="12" name="Rectangle 11">
            <a:extLst>
              <a:ext uri="{FF2B5EF4-FFF2-40B4-BE49-F238E27FC236}">
                <a16:creationId xmlns:a16="http://schemas.microsoft.com/office/drawing/2014/main" id="{D0C488C3-5BE3-4E60-87F6-A6C2D3D90978}"/>
              </a:ext>
            </a:extLst>
          </p:cNvPr>
          <p:cNvSpPr/>
          <p:nvPr/>
        </p:nvSpPr>
        <p:spPr>
          <a:xfrm>
            <a:off x="412811" y="4025107"/>
            <a:ext cx="2254250" cy="23764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3" name="Graphic 12">
            <a:extLst>
              <a:ext uri="{FF2B5EF4-FFF2-40B4-BE49-F238E27FC236}">
                <a16:creationId xmlns:a16="http://schemas.microsoft.com/office/drawing/2014/main" id="{DD4C426C-50CE-41B4-A259-A86AD13E24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6683" y="4406107"/>
            <a:ext cx="1706505" cy="1614488"/>
          </a:xfrm>
          <a:prstGeom prst="rect">
            <a:avLst/>
          </a:prstGeom>
        </p:spPr>
      </p:pic>
      <p:sp>
        <p:nvSpPr>
          <p:cNvPr id="14" name="Rectangle 13">
            <a:extLst>
              <a:ext uri="{FF2B5EF4-FFF2-40B4-BE49-F238E27FC236}">
                <a16:creationId xmlns:a16="http://schemas.microsoft.com/office/drawing/2014/main" id="{2B479E62-F116-423F-89FD-278A475A4B32}"/>
              </a:ext>
            </a:extLst>
          </p:cNvPr>
          <p:cNvSpPr/>
          <p:nvPr/>
        </p:nvSpPr>
        <p:spPr>
          <a:xfrm>
            <a:off x="2665473" y="4025107"/>
            <a:ext cx="2254250" cy="23764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5" name="Graphic 14">
            <a:extLst>
              <a:ext uri="{FF2B5EF4-FFF2-40B4-BE49-F238E27FC236}">
                <a16:creationId xmlns:a16="http://schemas.microsoft.com/office/drawing/2014/main" id="{44E3547F-77CA-48DD-A130-6564A381938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39345" y="4406107"/>
            <a:ext cx="1706505" cy="1614488"/>
          </a:xfrm>
          <a:prstGeom prst="rect">
            <a:avLst/>
          </a:prstGeom>
        </p:spPr>
      </p:pic>
      <p:sp>
        <p:nvSpPr>
          <p:cNvPr id="16" name="Rectangle 15">
            <a:extLst>
              <a:ext uri="{FF2B5EF4-FFF2-40B4-BE49-F238E27FC236}">
                <a16:creationId xmlns:a16="http://schemas.microsoft.com/office/drawing/2014/main" id="{4B955E7C-A3C4-4194-91E3-8E8A5601E80A}"/>
              </a:ext>
            </a:extLst>
          </p:cNvPr>
          <p:cNvSpPr/>
          <p:nvPr/>
        </p:nvSpPr>
        <p:spPr>
          <a:xfrm>
            <a:off x="4918135" y="4025107"/>
            <a:ext cx="2254250" cy="23764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pic>
        <p:nvPicPr>
          <p:cNvPr id="17" name="Graphic 16">
            <a:extLst>
              <a:ext uri="{FF2B5EF4-FFF2-40B4-BE49-F238E27FC236}">
                <a16:creationId xmlns:a16="http://schemas.microsoft.com/office/drawing/2014/main" id="{1883867A-D820-465A-94EA-0A8D350C3879}"/>
              </a:ext>
            </a:extLst>
          </p:cNvPr>
          <p:cNvPicPr>
            <a:picLocks noChangeAspect="1"/>
          </p:cNvPicPr>
          <p:nvPr/>
        </p:nvPicPr>
        <p:blipFill>
          <a:blip r:embed="rId4">
            <a:extLst>
              <a:ext uri="{96DAC541-7B7A-43D3-8B79-37D633B846F1}">
                <asvg:svgBlip xmlns:asvg="http://schemas.microsoft.com/office/drawing/2016/SVG/main" r:embed="rId12"/>
              </a:ext>
            </a:extLst>
          </a:blip>
          <a:stretch>
            <a:fillRect/>
          </a:stretch>
        </p:blipFill>
        <p:spPr>
          <a:xfrm>
            <a:off x="5192007" y="4406107"/>
            <a:ext cx="1706505" cy="1614488"/>
          </a:xfrm>
          <a:prstGeom prst="rect">
            <a:avLst/>
          </a:prstGeom>
        </p:spPr>
      </p:pic>
      <p:sp>
        <p:nvSpPr>
          <p:cNvPr id="21" name="TextBox 20">
            <a:extLst>
              <a:ext uri="{FF2B5EF4-FFF2-40B4-BE49-F238E27FC236}">
                <a16:creationId xmlns:a16="http://schemas.microsoft.com/office/drawing/2014/main" id="{548EDE13-0892-4497-A5EE-FBEE567E3DAF}"/>
              </a:ext>
            </a:extLst>
          </p:cNvPr>
          <p:cNvSpPr txBox="1"/>
          <p:nvPr/>
        </p:nvSpPr>
        <p:spPr>
          <a:xfrm>
            <a:off x="7223124" y="1712387"/>
            <a:ext cx="4511675" cy="1631216"/>
          </a:xfrm>
          <a:prstGeom prst="rect">
            <a:avLst/>
          </a:prstGeom>
          <a:noFill/>
        </p:spPr>
        <p:txBody>
          <a:bodyPr wrap="square" lIns="180000">
            <a:spAutoFit/>
          </a:bodyPr>
          <a:lstStyle/>
          <a:p>
            <a:pPr algn="l"/>
            <a:r>
              <a:rPr lang="en-GB" sz="2000" b="0" i="0" u="none" strike="noStrike" baseline="0">
                <a:latin typeface="Ubuntu" panose="020B0504030602030204" pitchFamily="34" charset="0"/>
              </a:rPr>
              <a:t>The icon style retains the current form whilst streamlining to a single-color application. Background colors from the primary palette inject a second color into the icons.</a:t>
            </a:r>
            <a:endParaRPr lang="en-GB" sz="2000">
              <a:latin typeface="Ubuntu" panose="020B0504030602030204" pitchFamily="34" charset="0"/>
            </a:endParaRPr>
          </a:p>
        </p:txBody>
      </p:sp>
      <p:sp>
        <p:nvSpPr>
          <p:cNvPr id="22" name="TextBox 21">
            <a:extLst>
              <a:ext uri="{FF2B5EF4-FFF2-40B4-BE49-F238E27FC236}">
                <a16:creationId xmlns:a16="http://schemas.microsoft.com/office/drawing/2014/main" id="{2AD2A321-FCEF-4076-9AA0-0D2264296590}"/>
              </a:ext>
            </a:extLst>
          </p:cNvPr>
          <p:cNvSpPr txBox="1"/>
          <p:nvPr/>
        </p:nvSpPr>
        <p:spPr>
          <a:xfrm>
            <a:off x="7223124" y="4551632"/>
            <a:ext cx="4511675" cy="1323439"/>
          </a:xfrm>
          <a:prstGeom prst="rect">
            <a:avLst/>
          </a:prstGeom>
          <a:noFill/>
        </p:spPr>
        <p:txBody>
          <a:bodyPr wrap="square" lIns="180000">
            <a:spAutoFit/>
          </a:bodyPr>
          <a:lstStyle/>
          <a:p>
            <a:pPr algn="l"/>
            <a:r>
              <a:rPr lang="en-GB" sz="2000" b="0" i="0" u="none" strike="noStrike" baseline="0">
                <a:latin typeface="Ubuntu" panose="020B0504030602030204" pitchFamily="34" charset="0"/>
              </a:rPr>
              <a:t>Use the primary color palette </a:t>
            </a:r>
          </a:p>
          <a:p>
            <a:pPr algn="l"/>
            <a:r>
              <a:rPr lang="en-GB" sz="2000">
                <a:latin typeface="Ubuntu" panose="020B0504030602030204" pitchFamily="34" charset="0"/>
              </a:rPr>
              <a:t>T</a:t>
            </a:r>
            <a:r>
              <a:rPr lang="en-GB" sz="2000" b="0" i="0" u="none" strike="noStrike" baseline="0">
                <a:latin typeface="Ubuntu" panose="020B0504030602030204" pitchFamily="34" charset="0"/>
              </a:rPr>
              <a:t>he cool or warm palette can be used when icons are part of an graphic/infographic.</a:t>
            </a:r>
            <a:endParaRPr lang="en-GB" sz="2000">
              <a:latin typeface="Ubuntu" panose="020B0504030602030204" pitchFamily="34" charset="0"/>
            </a:endParaRPr>
          </a:p>
        </p:txBody>
      </p:sp>
      <p:sp>
        <p:nvSpPr>
          <p:cNvPr id="2" name="Titre 1">
            <a:extLst>
              <a:ext uri="{FF2B5EF4-FFF2-40B4-BE49-F238E27FC236}">
                <a16:creationId xmlns:a16="http://schemas.microsoft.com/office/drawing/2014/main" id="{87197200-79F5-4A71-982E-792743B0621F}"/>
              </a:ext>
            </a:extLst>
          </p:cNvPr>
          <p:cNvSpPr>
            <a:spLocks noGrp="1"/>
          </p:cNvSpPr>
          <p:nvPr>
            <p:ph type="title"/>
          </p:nvPr>
        </p:nvSpPr>
        <p:spPr>
          <a:xfrm>
            <a:off x="404813" y="388188"/>
            <a:ext cx="10947772" cy="716711"/>
          </a:xfrm>
        </p:spPr>
        <p:txBody>
          <a:bodyPr/>
          <a:lstStyle/>
          <a:p>
            <a:r>
              <a:rPr lang="en-GB"/>
              <a:t>ICONS STYLE</a:t>
            </a:r>
          </a:p>
        </p:txBody>
      </p:sp>
    </p:spTree>
    <p:extLst>
      <p:ext uri="{BB962C8B-B14F-4D97-AF65-F5344CB8AC3E}">
        <p14:creationId xmlns:p14="http://schemas.microsoft.com/office/powerpoint/2010/main" val="335189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3">
            <a:extLst>
              <a:ext uri="{FF2B5EF4-FFF2-40B4-BE49-F238E27FC236}">
                <a16:creationId xmlns:a16="http://schemas.microsoft.com/office/drawing/2014/main" id="{E0253388-B8D2-4037-898E-21EA06FA7EE5}"/>
              </a:ext>
            </a:extLst>
          </p:cNvPr>
          <p:cNvGraphicFramePr>
            <a:graphicFrameLocks noGrp="1"/>
          </p:cNvGraphicFramePr>
          <p:nvPr>
            <p:extLst>
              <p:ext uri="{D42A27DB-BD31-4B8C-83A1-F6EECF244321}">
                <p14:modId xmlns:p14="http://schemas.microsoft.com/office/powerpoint/2010/main" val="3365558767"/>
              </p:ext>
            </p:extLst>
          </p:nvPr>
        </p:nvGraphicFramePr>
        <p:xfrm>
          <a:off x="0" y="0"/>
          <a:ext cx="12192000" cy="685800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4174112451"/>
                    </a:ext>
                  </a:extLst>
                </a:gridCol>
                <a:gridCol w="2438400">
                  <a:extLst>
                    <a:ext uri="{9D8B030D-6E8A-4147-A177-3AD203B41FA5}">
                      <a16:colId xmlns:a16="http://schemas.microsoft.com/office/drawing/2014/main" val="3735628474"/>
                    </a:ext>
                  </a:extLst>
                </a:gridCol>
                <a:gridCol w="2438400">
                  <a:extLst>
                    <a:ext uri="{9D8B030D-6E8A-4147-A177-3AD203B41FA5}">
                      <a16:colId xmlns:a16="http://schemas.microsoft.com/office/drawing/2014/main" val="1731711012"/>
                    </a:ext>
                  </a:extLst>
                </a:gridCol>
                <a:gridCol w="2438400">
                  <a:extLst>
                    <a:ext uri="{9D8B030D-6E8A-4147-A177-3AD203B41FA5}">
                      <a16:colId xmlns:a16="http://schemas.microsoft.com/office/drawing/2014/main" val="3362983216"/>
                    </a:ext>
                  </a:extLst>
                </a:gridCol>
                <a:gridCol w="2438400">
                  <a:extLst>
                    <a:ext uri="{9D8B030D-6E8A-4147-A177-3AD203B41FA5}">
                      <a16:colId xmlns:a16="http://schemas.microsoft.com/office/drawing/2014/main" val="2537935829"/>
                    </a:ext>
                  </a:extLst>
                </a:gridCol>
              </a:tblGrid>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2582589675"/>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1016742241"/>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984055194"/>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4094896334"/>
                  </a:ext>
                </a:extLst>
              </a:tr>
              <a:tr h="1371600">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tc>
                  <a:txBody>
                    <a:bodyPr/>
                    <a:lstStyle/>
                    <a:p>
                      <a:endParaRPr lang="en-GB"/>
                    </a:p>
                  </a:txBody>
                  <a:tcPr>
                    <a:lnL w="9525" cap="flat" cmpd="sng" algn="ctr">
                      <a:solidFill>
                        <a:schemeClr val="accent1"/>
                      </a:solidFill>
                      <a:prstDash val="dot"/>
                      <a:round/>
                      <a:headEnd type="none" w="med" len="med"/>
                      <a:tailEnd type="none" w="med" len="med"/>
                    </a:lnL>
                    <a:lnR w="9525" cap="flat" cmpd="sng" algn="ctr">
                      <a:solidFill>
                        <a:schemeClr val="accent1"/>
                      </a:solidFill>
                      <a:prstDash val="dot"/>
                      <a:round/>
                      <a:headEnd type="none" w="med" len="med"/>
                      <a:tailEnd type="none" w="med" len="med"/>
                    </a:lnR>
                    <a:lnT w="9525" cap="flat" cmpd="sng" algn="ctr">
                      <a:solidFill>
                        <a:schemeClr val="accent1"/>
                      </a:solidFill>
                      <a:prstDash val="dot"/>
                      <a:round/>
                      <a:headEnd type="none" w="med" len="med"/>
                      <a:tailEnd type="none" w="med" len="med"/>
                    </a:lnT>
                    <a:lnB w="9525" cap="flat" cmpd="sng" algn="ctr">
                      <a:solidFill>
                        <a:schemeClr val="accent1"/>
                      </a:solidFill>
                      <a:prstDash val="dot"/>
                      <a:round/>
                      <a:headEnd type="none" w="med" len="med"/>
                      <a:tailEnd type="none" w="med" len="med"/>
                    </a:lnB>
                    <a:noFill/>
                  </a:tcPr>
                </a:tc>
                <a:extLst>
                  <a:ext uri="{0D108BD9-81ED-4DB2-BD59-A6C34878D82A}">
                    <a16:rowId xmlns:a16="http://schemas.microsoft.com/office/drawing/2014/main" val="1236099691"/>
                  </a:ext>
                </a:extLst>
              </a:tr>
            </a:tbl>
          </a:graphicData>
        </a:graphic>
      </p:graphicFrame>
      <p:sp>
        <p:nvSpPr>
          <p:cNvPr id="2" name="Rectangle 1">
            <a:extLst>
              <a:ext uri="{FF2B5EF4-FFF2-40B4-BE49-F238E27FC236}">
                <a16:creationId xmlns:a16="http://schemas.microsoft.com/office/drawing/2014/main" id="{A54BCC49-9157-4FC2-A706-A7BB0C15F43C}"/>
              </a:ext>
            </a:extLst>
          </p:cNvPr>
          <p:cNvSpPr/>
          <p:nvPr/>
        </p:nvSpPr>
        <p:spPr>
          <a:xfrm>
            <a:off x="1160585" y="2967335"/>
            <a:ext cx="9870830" cy="923330"/>
          </a:xfrm>
          <a:prstGeom prst="rect">
            <a:avLst/>
          </a:prstGeom>
        </p:spPr>
        <p:txBody>
          <a:bodyPr wrap="square">
            <a:spAutoFit/>
          </a:bodyPr>
          <a:lstStyle/>
          <a:p>
            <a:pPr algn="ctr"/>
            <a:r>
              <a:rPr lang="en-GB">
                <a:solidFill>
                  <a:srgbClr val="FF0000"/>
                </a:solidFill>
                <a:latin typeface="Ubuntu" panose="020B0504030602030204" pitchFamily="34" charset="0"/>
                <a:ea typeface="Calibri" panose="020F0502020204030204" pitchFamily="34" charset="0"/>
              </a:rPr>
              <a:t>This complementary gridline can be copy-pasted as and when necessary.</a:t>
            </a:r>
          </a:p>
          <a:p>
            <a:pPr algn="ctr"/>
            <a:r>
              <a:rPr lang="en-GB">
                <a:solidFill>
                  <a:srgbClr val="FF0000"/>
                </a:solidFill>
                <a:latin typeface="Ubuntu" panose="020B0504030602030204" pitchFamily="34" charset="0"/>
                <a:ea typeface="Calibri" panose="020F0502020204030204" pitchFamily="34" charset="0"/>
              </a:rPr>
              <a:t>It can help position the different graphic elements on a page</a:t>
            </a:r>
          </a:p>
          <a:p>
            <a:pPr algn="ctr"/>
            <a:r>
              <a:rPr lang="en-GB">
                <a:solidFill>
                  <a:srgbClr val="FF0000"/>
                </a:solidFill>
                <a:latin typeface="Ubuntu" panose="020B0504030602030204" pitchFamily="34" charset="0"/>
                <a:ea typeface="Calibri" panose="020F0502020204030204" pitchFamily="34" charset="0"/>
              </a:rPr>
              <a:t>(photography, content, etc.)</a:t>
            </a:r>
            <a:endParaRPr lang="en-GB">
              <a:latin typeface="Ubuntu" panose="020B0504030602030204" pitchFamily="34" charset="0"/>
              <a:ea typeface="Calibri" panose="020F0502020204030204" pitchFamily="34" charset="0"/>
            </a:endParaRPr>
          </a:p>
        </p:txBody>
      </p:sp>
    </p:spTree>
    <p:extLst>
      <p:ext uri="{BB962C8B-B14F-4D97-AF65-F5344CB8AC3E}">
        <p14:creationId xmlns:p14="http://schemas.microsoft.com/office/powerpoint/2010/main" val="55117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241DAC-8B16-4858-A360-7442E1626EB0}"/>
              </a:ext>
            </a:extLst>
          </p:cNvPr>
          <p:cNvSpPr>
            <a:spLocks noGrp="1"/>
          </p:cNvSpPr>
          <p:nvPr>
            <p:ph type="title"/>
          </p:nvPr>
        </p:nvSpPr>
        <p:spPr/>
        <p:txBody>
          <a:bodyPr/>
          <a:lstStyle/>
          <a:p>
            <a:r>
              <a:rPr lang="en-US"/>
              <a:t>What is data governance?</a:t>
            </a:r>
          </a:p>
        </p:txBody>
      </p:sp>
      <p:sp>
        <p:nvSpPr>
          <p:cNvPr id="4" name="Freeform 5">
            <a:extLst>
              <a:ext uri="{FF2B5EF4-FFF2-40B4-BE49-F238E27FC236}">
                <a16:creationId xmlns:a16="http://schemas.microsoft.com/office/drawing/2014/main" id="{D5ACC87C-ADD9-4EE9-985F-9E0E86DE453B}"/>
              </a:ext>
            </a:extLst>
          </p:cNvPr>
          <p:cNvSpPr>
            <a:spLocks/>
          </p:cNvSpPr>
          <p:nvPr/>
        </p:nvSpPr>
        <p:spPr bwMode="auto">
          <a:xfrm>
            <a:off x="4099068" y="4093797"/>
            <a:ext cx="1234346" cy="901208"/>
          </a:xfrm>
          <a:custGeom>
            <a:avLst/>
            <a:gdLst>
              <a:gd name="T0" fmla="*/ 290 w 297"/>
              <a:gd name="T1" fmla="*/ 226 h 226"/>
              <a:gd name="T2" fmla="*/ 287 w 297"/>
              <a:gd name="T3" fmla="*/ 225 h 226"/>
              <a:gd name="T4" fmla="*/ 138 w 297"/>
              <a:gd name="T5" fmla="*/ 14 h 226"/>
              <a:gd name="T6" fmla="*/ 8 w 297"/>
              <a:gd name="T7" fmla="*/ 44 h 226"/>
              <a:gd name="T8" fmla="*/ 1 w 297"/>
              <a:gd name="T9" fmla="*/ 39 h 226"/>
              <a:gd name="T10" fmla="*/ 6 w 297"/>
              <a:gd name="T11" fmla="*/ 32 h 226"/>
              <a:gd name="T12" fmla="*/ 141 w 297"/>
              <a:gd name="T13" fmla="*/ 1 h 226"/>
              <a:gd name="T14" fmla="*/ 149 w 297"/>
              <a:gd name="T15" fmla="*/ 6 h 226"/>
              <a:gd name="T16" fmla="*/ 294 w 297"/>
              <a:gd name="T17" fmla="*/ 215 h 226"/>
              <a:gd name="T18" fmla="*/ 295 w 297"/>
              <a:gd name="T19" fmla="*/ 223 h 226"/>
              <a:gd name="T20" fmla="*/ 290 w 297"/>
              <a:gd name="T2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7" h="226">
                <a:moveTo>
                  <a:pt x="290" y="226"/>
                </a:moveTo>
                <a:cubicBezTo>
                  <a:pt x="289" y="226"/>
                  <a:pt x="288" y="226"/>
                  <a:pt x="287" y="225"/>
                </a:cubicBezTo>
                <a:cubicBezTo>
                  <a:pt x="212" y="176"/>
                  <a:pt x="160" y="101"/>
                  <a:pt x="138" y="14"/>
                </a:cubicBezTo>
                <a:cubicBezTo>
                  <a:pt x="8" y="44"/>
                  <a:pt x="8" y="44"/>
                  <a:pt x="8" y="44"/>
                </a:cubicBezTo>
                <a:cubicBezTo>
                  <a:pt x="5" y="44"/>
                  <a:pt x="2" y="42"/>
                  <a:pt x="1" y="39"/>
                </a:cubicBezTo>
                <a:cubicBezTo>
                  <a:pt x="0" y="36"/>
                  <a:pt x="2" y="33"/>
                  <a:pt x="6" y="32"/>
                </a:cubicBezTo>
                <a:cubicBezTo>
                  <a:pt x="141" y="1"/>
                  <a:pt x="141" y="1"/>
                  <a:pt x="141" y="1"/>
                </a:cubicBezTo>
                <a:cubicBezTo>
                  <a:pt x="145" y="0"/>
                  <a:pt x="148" y="2"/>
                  <a:pt x="149" y="6"/>
                </a:cubicBezTo>
                <a:cubicBezTo>
                  <a:pt x="168" y="92"/>
                  <a:pt x="220" y="166"/>
                  <a:pt x="294" y="215"/>
                </a:cubicBezTo>
                <a:cubicBezTo>
                  <a:pt x="296" y="217"/>
                  <a:pt x="297" y="221"/>
                  <a:pt x="295" y="223"/>
                </a:cubicBezTo>
                <a:cubicBezTo>
                  <a:pt x="294" y="225"/>
                  <a:pt x="292" y="226"/>
                  <a:pt x="290" y="226"/>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 name="Group 4">
            <a:extLst>
              <a:ext uri="{FF2B5EF4-FFF2-40B4-BE49-F238E27FC236}">
                <a16:creationId xmlns:a16="http://schemas.microsoft.com/office/drawing/2014/main" id="{E64CFAED-7B0F-4374-B7D9-FDF68EF64245}"/>
              </a:ext>
            </a:extLst>
          </p:cNvPr>
          <p:cNvGrpSpPr/>
          <p:nvPr/>
        </p:nvGrpSpPr>
        <p:grpSpPr>
          <a:xfrm>
            <a:off x="5197623" y="5034447"/>
            <a:ext cx="1382466" cy="554134"/>
            <a:chOff x="4025750" y="3693811"/>
            <a:chExt cx="836700" cy="349869"/>
          </a:xfrm>
          <a:solidFill>
            <a:schemeClr val="accent2">
              <a:lumMod val="50000"/>
            </a:schemeClr>
          </a:solidFill>
        </p:grpSpPr>
        <p:sp>
          <p:nvSpPr>
            <p:cNvPr id="6" name="Freeform 6">
              <a:extLst>
                <a:ext uri="{FF2B5EF4-FFF2-40B4-BE49-F238E27FC236}">
                  <a16:creationId xmlns:a16="http://schemas.microsoft.com/office/drawing/2014/main" id="{F3C4D524-40C9-4898-BC30-2020533A9039}"/>
                </a:ext>
              </a:extLst>
            </p:cNvPr>
            <p:cNvSpPr>
              <a:spLocks/>
            </p:cNvSpPr>
            <p:nvPr/>
          </p:nvSpPr>
          <p:spPr bwMode="auto">
            <a:xfrm>
              <a:off x="4025750" y="3693811"/>
              <a:ext cx="185518" cy="349869"/>
            </a:xfrm>
            <a:custGeom>
              <a:avLst/>
              <a:gdLst>
                <a:gd name="T0" fmla="*/ 7 w 74"/>
                <a:gd name="T1" fmla="*/ 139 h 139"/>
                <a:gd name="T2" fmla="*/ 4 w 74"/>
                <a:gd name="T3" fmla="*/ 138 h 139"/>
                <a:gd name="T4" fmla="*/ 1 w 74"/>
                <a:gd name="T5" fmla="*/ 130 h 139"/>
                <a:gd name="T6" fmla="*/ 62 w 74"/>
                <a:gd name="T7" fmla="*/ 5 h 139"/>
                <a:gd name="T8" fmla="*/ 70 w 74"/>
                <a:gd name="T9" fmla="*/ 2 h 139"/>
                <a:gd name="T10" fmla="*/ 73 w 74"/>
                <a:gd name="T11" fmla="*/ 10 h 139"/>
                <a:gd name="T12" fmla="*/ 12 w 74"/>
                <a:gd name="T13" fmla="*/ 135 h 139"/>
                <a:gd name="T14" fmla="*/ 7 w 74"/>
                <a:gd name="T15" fmla="*/ 139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39">
                  <a:moveTo>
                    <a:pt x="7" y="139"/>
                  </a:moveTo>
                  <a:cubicBezTo>
                    <a:pt x="6" y="139"/>
                    <a:pt x="5" y="138"/>
                    <a:pt x="4" y="138"/>
                  </a:cubicBezTo>
                  <a:cubicBezTo>
                    <a:pt x="1" y="137"/>
                    <a:pt x="0" y="133"/>
                    <a:pt x="1" y="130"/>
                  </a:cubicBezTo>
                  <a:cubicBezTo>
                    <a:pt x="62" y="5"/>
                    <a:pt x="62" y="5"/>
                    <a:pt x="62" y="5"/>
                  </a:cubicBezTo>
                  <a:cubicBezTo>
                    <a:pt x="63" y="2"/>
                    <a:pt x="67" y="0"/>
                    <a:pt x="70" y="2"/>
                  </a:cubicBezTo>
                  <a:cubicBezTo>
                    <a:pt x="73" y="3"/>
                    <a:pt x="74" y="7"/>
                    <a:pt x="73" y="10"/>
                  </a:cubicBezTo>
                  <a:cubicBezTo>
                    <a:pt x="12" y="135"/>
                    <a:pt x="12" y="135"/>
                    <a:pt x="12" y="135"/>
                  </a:cubicBezTo>
                  <a:cubicBezTo>
                    <a:pt x="11" y="137"/>
                    <a:pt x="9" y="139"/>
                    <a:pt x="7" y="13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7C539B79-69C8-43AB-B810-39D8175D50A0}"/>
                </a:ext>
              </a:extLst>
            </p:cNvPr>
            <p:cNvSpPr>
              <a:spLocks/>
            </p:cNvSpPr>
            <p:nvPr/>
          </p:nvSpPr>
          <p:spPr bwMode="auto">
            <a:xfrm>
              <a:off x="4176406" y="3693811"/>
              <a:ext cx="686044" cy="120773"/>
            </a:xfrm>
            <a:custGeom>
              <a:avLst/>
              <a:gdLst>
                <a:gd name="T0" fmla="*/ 158 w 273"/>
                <a:gd name="T1" fmla="*/ 48 h 48"/>
                <a:gd name="T2" fmla="*/ 5 w 273"/>
                <a:gd name="T3" fmla="*/ 13 h 48"/>
                <a:gd name="T4" fmla="*/ 2 w 273"/>
                <a:gd name="T5" fmla="*/ 5 h 48"/>
                <a:gd name="T6" fmla="*/ 10 w 273"/>
                <a:gd name="T7" fmla="*/ 2 h 48"/>
                <a:gd name="T8" fmla="*/ 264 w 273"/>
                <a:gd name="T9" fmla="*/ 19 h 48"/>
                <a:gd name="T10" fmla="*/ 272 w 273"/>
                <a:gd name="T11" fmla="*/ 23 h 48"/>
                <a:gd name="T12" fmla="*/ 268 w 273"/>
                <a:gd name="T13" fmla="*/ 30 h 48"/>
                <a:gd name="T14" fmla="*/ 158 w 273"/>
                <a:gd name="T15" fmla="*/ 48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3" h="48">
                  <a:moveTo>
                    <a:pt x="158" y="48"/>
                  </a:moveTo>
                  <a:cubicBezTo>
                    <a:pt x="106" y="48"/>
                    <a:pt x="53" y="36"/>
                    <a:pt x="5" y="13"/>
                  </a:cubicBezTo>
                  <a:cubicBezTo>
                    <a:pt x="2" y="11"/>
                    <a:pt x="0" y="8"/>
                    <a:pt x="2" y="5"/>
                  </a:cubicBezTo>
                  <a:cubicBezTo>
                    <a:pt x="3" y="2"/>
                    <a:pt x="7" y="0"/>
                    <a:pt x="10" y="2"/>
                  </a:cubicBezTo>
                  <a:cubicBezTo>
                    <a:pt x="90" y="40"/>
                    <a:pt x="180" y="46"/>
                    <a:pt x="264" y="19"/>
                  </a:cubicBezTo>
                  <a:cubicBezTo>
                    <a:pt x="267" y="18"/>
                    <a:pt x="271" y="20"/>
                    <a:pt x="272" y="23"/>
                  </a:cubicBezTo>
                  <a:cubicBezTo>
                    <a:pt x="273" y="26"/>
                    <a:pt x="271" y="29"/>
                    <a:pt x="268" y="30"/>
                  </a:cubicBezTo>
                  <a:cubicBezTo>
                    <a:pt x="232" y="42"/>
                    <a:pt x="195" y="48"/>
                    <a:pt x="15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Freeform 8">
            <a:extLst>
              <a:ext uri="{FF2B5EF4-FFF2-40B4-BE49-F238E27FC236}">
                <a16:creationId xmlns:a16="http://schemas.microsoft.com/office/drawing/2014/main" id="{B56A9206-EB38-430B-81DC-CE33A177A338}"/>
              </a:ext>
            </a:extLst>
          </p:cNvPr>
          <p:cNvSpPr>
            <a:spLocks/>
          </p:cNvSpPr>
          <p:nvPr/>
        </p:nvSpPr>
        <p:spPr bwMode="auto">
          <a:xfrm>
            <a:off x="6705595" y="4273251"/>
            <a:ext cx="781751" cy="1315329"/>
          </a:xfrm>
          <a:custGeom>
            <a:avLst/>
            <a:gdLst>
              <a:gd name="T0" fmla="*/ 67 w 188"/>
              <a:gd name="T1" fmla="*/ 330 h 330"/>
              <a:gd name="T2" fmla="*/ 62 w 188"/>
              <a:gd name="T3" fmla="*/ 326 h 330"/>
              <a:gd name="T4" fmla="*/ 1 w 188"/>
              <a:gd name="T5" fmla="*/ 201 h 330"/>
              <a:gd name="T6" fmla="*/ 4 w 188"/>
              <a:gd name="T7" fmla="*/ 193 h 330"/>
              <a:gd name="T8" fmla="*/ 176 w 188"/>
              <a:gd name="T9" fmla="*/ 5 h 330"/>
              <a:gd name="T10" fmla="*/ 184 w 188"/>
              <a:gd name="T11" fmla="*/ 1 h 330"/>
              <a:gd name="T12" fmla="*/ 187 w 188"/>
              <a:gd name="T13" fmla="*/ 9 h 330"/>
              <a:gd name="T14" fmla="*/ 15 w 188"/>
              <a:gd name="T15" fmla="*/ 201 h 330"/>
              <a:gd name="T16" fmla="*/ 72 w 188"/>
              <a:gd name="T17" fmla="*/ 321 h 330"/>
              <a:gd name="T18" fmla="*/ 70 w 188"/>
              <a:gd name="T19" fmla="*/ 329 h 330"/>
              <a:gd name="T20" fmla="*/ 67 w 188"/>
              <a:gd name="T21"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330">
                <a:moveTo>
                  <a:pt x="67" y="330"/>
                </a:moveTo>
                <a:cubicBezTo>
                  <a:pt x="65" y="330"/>
                  <a:pt x="63" y="328"/>
                  <a:pt x="62" y="326"/>
                </a:cubicBezTo>
                <a:cubicBezTo>
                  <a:pt x="1" y="201"/>
                  <a:pt x="1" y="201"/>
                  <a:pt x="1" y="201"/>
                </a:cubicBezTo>
                <a:cubicBezTo>
                  <a:pt x="0" y="198"/>
                  <a:pt x="1" y="194"/>
                  <a:pt x="4" y="193"/>
                </a:cubicBezTo>
                <a:cubicBezTo>
                  <a:pt x="84" y="154"/>
                  <a:pt x="145" y="88"/>
                  <a:pt x="176" y="5"/>
                </a:cubicBezTo>
                <a:cubicBezTo>
                  <a:pt x="177" y="2"/>
                  <a:pt x="181" y="0"/>
                  <a:pt x="184" y="1"/>
                </a:cubicBezTo>
                <a:cubicBezTo>
                  <a:pt x="187" y="2"/>
                  <a:pt x="188" y="6"/>
                  <a:pt x="187" y="9"/>
                </a:cubicBezTo>
                <a:cubicBezTo>
                  <a:pt x="156" y="93"/>
                  <a:pt x="94" y="161"/>
                  <a:pt x="15" y="201"/>
                </a:cubicBezTo>
                <a:cubicBezTo>
                  <a:pt x="72" y="321"/>
                  <a:pt x="72" y="321"/>
                  <a:pt x="72" y="321"/>
                </a:cubicBezTo>
                <a:cubicBezTo>
                  <a:pt x="74" y="324"/>
                  <a:pt x="73" y="328"/>
                  <a:pt x="70" y="329"/>
                </a:cubicBezTo>
                <a:cubicBezTo>
                  <a:pt x="69" y="329"/>
                  <a:pt x="68" y="330"/>
                  <a:pt x="67" y="3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EDEBDFD1-597B-47D7-AFCC-68BC62B67915}"/>
              </a:ext>
            </a:extLst>
          </p:cNvPr>
          <p:cNvSpPr>
            <a:spLocks/>
          </p:cNvSpPr>
          <p:nvPr/>
        </p:nvSpPr>
        <p:spPr bwMode="auto">
          <a:xfrm>
            <a:off x="7320709" y="3072296"/>
            <a:ext cx="785867" cy="1197009"/>
          </a:xfrm>
          <a:custGeom>
            <a:avLst/>
            <a:gdLst>
              <a:gd name="T0" fmla="*/ 183 w 189"/>
              <a:gd name="T1" fmla="*/ 300 h 300"/>
              <a:gd name="T2" fmla="*/ 181 w 189"/>
              <a:gd name="T3" fmla="*/ 300 h 300"/>
              <a:gd name="T4" fmla="*/ 46 w 189"/>
              <a:gd name="T5" fmla="*/ 269 h 300"/>
              <a:gd name="T6" fmla="*/ 42 w 189"/>
              <a:gd name="T7" fmla="*/ 266 h 300"/>
              <a:gd name="T8" fmla="*/ 41 w 189"/>
              <a:gd name="T9" fmla="*/ 261 h 300"/>
              <a:gd name="T10" fmla="*/ 1 w 189"/>
              <a:gd name="T11" fmla="*/ 10 h 300"/>
              <a:gd name="T12" fmla="*/ 3 w 189"/>
              <a:gd name="T13" fmla="*/ 2 h 300"/>
              <a:gd name="T14" fmla="*/ 12 w 189"/>
              <a:gd name="T15" fmla="*/ 4 h 300"/>
              <a:gd name="T16" fmla="*/ 54 w 189"/>
              <a:gd name="T17" fmla="*/ 258 h 300"/>
              <a:gd name="T18" fmla="*/ 184 w 189"/>
              <a:gd name="T19" fmla="*/ 288 h 300"/>
              <a:gd name="T20" fmla="*/ 189 w 189"/>
              <a:gd name="T21" fmla="*/ 295 h 300"/>
              <a:gd name="T22" fmla="*/ 183 w 189"/>
              <a:gd name="T23"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300">
                <a:moveTo>
                  <a:pt x="183" y="300"/>
                </a:moveTo>
                <a:cubicBezTo>
                  <a:pt x="182" y="300"/>
                  <a:pt x="182" y="300"/>
                  <a:pt x="181" y="300"/>
                </a:cubicBezTo>
                <a:cubicBezTo>
                  <a:pt x="46" y="269"/>
                  <a:pt x="46" y="269"/>
                  <a:pt x="46" y="269"/>
                </a:cubicBezTo>
                <a:cubicBezTo>
                  <a:pt x="44" y="268"/>
                  <a:pt x="43" y="267"/>
                  <a:pt x="42" y="266"/>
                </a:cubicBezTo>
                <a:cubicBezTo>
                  <a:pt x="41" y="265"/>
                  <a:pt x="41" y="263"/>
                  <a:pt x="41" y="261"/>
                </a:cubicBezTo>
                <a:cubicBezTo>
                  <a:pt x="61" y="175"/>
                  <a:pt x="47" y="86"/>
                  <a:pt x="1" y="10"/>
                </a:cubicBezTo>
                <a:cubicBezTo>
                  <a:pt x="0" y="7"/>
                  <a:pt x="1" y="3"/>
                  <a:pt x="3" y="2"/>
                </a:cubicBezTo>
                <a:cubicBezTo>
                  <a:pt x="6" y="0"/>
                  <a:pt x="10" y="1"/>
                  <a:pt x="12" y="4"/>
                </a:cubicBezTo>
                <a:cubicBezTo>
                  <a:pt x="58" y="81"/>
                  <a:pt x="73" y="171"/>
                  <a:pt x="54" y="258"/>
                </a:cubicBezTo>
                <a:cubicBezTo>
                  <a:pt x="184" y="288"/>
                  <a:pt x="184" y="288"/>
                  <a:pt x="184" y="288"/>
                </a:cubicBezTo>
                <a:cubicBezTo>
                  <a:pt x="187" y="289"/>
                  <a:pt x="189" y="292"/>
                  <a:pt x="189" y="295"/>
                </a:cubicBezTo>
                <a:cubicBezTo>
                  <a:pt x="188" y="298"/>
                  <a:pt x="186" y="300"/>
                  <a:pt x="183" y="30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7FF9BAC8-526E-4C31-9C02-CDDBE39C1E40}"/>
              </a:ext>
            </a:extLst>
          </p:cNvPr>
          <p:cNvSpPr>
            <a:spLocks/>
          </p:cNvSpPr>
          <p:nvPr/>
        </p:nvSpPr>
        <p:spPr bwMode="auto">
          <a:xfrm>
            <a:off x="6273573" y="2409701"/>
            <a:ext cx="1442128" cy="558079"/>
          </a:xfrm>
          <a:custGeom>
            <a:avLst/>
            <a:gdLst>
              <a:gd name="T0" fmla="*/ 232 w 347"/>
              <a:gd name="T1" fmla="*/ 140 h 140"/>
              <a:gd name="T2" fmla="*/ 231 w 347"/>
              <a:gd name="T3" fmla="*/ 140 h 140"/>
              <a:gd name="T4" fmla="*/ 227 w 347"/>
              <a:gd name="T5" fmla="*/ 138 h 140"/>
              <a:gd name="T6" fmla="*/ 5 w 347"/>
              <a:gd name="T7" fmla="*/ 12 h 140"/>
              <a:gd name="T8" fmla="*/ 0 w 347"/>
              <a:gd name="T9" fmla="*/ 5 h 140"/>
              <a:gd name="T10" fmla="*/ 7 w 347"/>
              <a:gd name="T11" fmla="*/ 0 h 140"/>
              <a:gd name="T12" fmla="*/ 233 w 347"/>
              <a:gd name="T13" fmla="*/ 126 h 140"/>
              <a:gd name="T14" fmla="*/ 337 w 347"/>
              <a:gd name="T15" fmla="*/ 43 h 140"/>
              <a:gd name="T16" fmla="*/ 345 w 347"/>
              <a:gd name="T17" fmla="*/ 43 h 140"/>
              <a:gd name="T18" fmla="*/ 344 w 347"/>
              <a:gd name="T19" fmla="*/ 52 h 140"/>
              <a:gd name="T20" fmla="*/ 235 w 347"/>
              <a:gd name="T21" fmla="*/ 139 h 140"/>
              <a:gd name="T22" fmla="*/ 232 w 347"/>
              <a:gd name="T2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7" h="140">
                <a:moveTo>
                  <a:pt x="232" y="140"/>
                </a:moveTo>
                <a:cubicBezTo>
                  <a:pt x="231" y="140"/>
                  <a:pt x="231" y="140"/>
                  <a:pt x="231" y="140"/>
                </a:cubicBezTo>
                <a:cubicBezTo>
                  <a:pt x="229" y="140"/>
                  <a:pt x="228" y="139"/>
                  <a:pt x="227" y="138"/>
                </a:cubicBezTo>
                <a:cubicBezTo>
                  <a:pt x="172" y="69"/>
                  <a:pt x="93" y="24"/>
                  <a:pt x="5" y="12"/>
                </a:cubicBezTo>
                <a:cubicBezTo>
                  <a:pt x="2" y="12"/>
                  <a:pt x="0" y="9"/>
                  <a:pt x="0" y="5"/>
                </a:cubicBezTo>
                <a:cubicBezTo>
                  <a:pt x="1" y="2"/>
                  <a:pt x="4" y="0"/>
                  <a:pt x="7" y="0"/>
                </a:cubicBezTo>
                <a:cubicBezTo>
                  <a:pt x="96" y="12"/>
                  <a:pt x="176" y="57"/>
                  <a:pt x="233" y="126"/>
                </a:cubicBezTo>
                <a:cubicBezTo>
                  <a:pt x="337" y="43"/>
                  <a:pt x="337" y="43"/>
                  <a:pt x="337" y="43"/>
                </a:cubicBezTo>
                <a:cubicBezTo>
                  <a:pt x="339" y="40"/>
                  <a:pt x="343" y="41"/>
                  <a:pt x="345" y="43"/>
                </a:cubicBezTo>
                <a:cubicBezTo>
                  <a:pt x="347" y="46"/>
                  <a:pt x="347" y="50"/>
                  <a:pt x="344" y="52"/>
                </a:cubicBezTo>
                <a:cubicBezTo>
                  <a:pt x="235" y="139"/>
                  <a:pt x="235" y="139"/>
                  <a:pt x="235" y="139"/>
                </a:cubicBezTo>
                <a:cubicBezTo>
                  <a:pt x="234" y="140"/>
                  <a:pt x="233" y="140"/>
                  <a:pt x="232" y="140"/>
                </a:cubicBezTo>
                <a:close/>
              </a:path>
            </a:pathLst>
          </a:custGeom>
          <a:solidFill>
            <a:schemeClr val="accent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B40133D2-F081-4E6F-AE7A-7D0C6FC55911}"/>
              </a:ext>
            </a:extLst>
          </p:cNvPr>
          <p:cNvSpPr>
            <a:spLocks/>
          </p:cNvSpPr>
          <p:nvPr/>
        </p:nvSpPr>
        <p:spPr bwMode="auto">
          <a:xfrm>
            <a:off x="5076258" y="1843734"/>
            <a:ext cx="1051251" cy="989949"/>
          </a:xfrm>
          <a:custGeom>
            <a:avLst/>
            <a:gdLst>
              <a:gd name="T0" fmla="*/ 7 w 253"/>
              <a:gd name="T1" fmla="*/ 248 h 248"/>
              <a:gd name="T2" fmla="*/ 2 w 253"/>
              <a:gd name="T3" fmla="*/ 246 h 248"/>
              <a:gd name="T4" fmla="*/ 3 w 253"/>
              <a:gd name="T5" fmla="*/ 237 h 248"/>
              <a:gd name="T6" fmla="*/ 241 w 253"/>
              <a:gd name="T7" fmla="*/ 139 h 248"/>
              <a:gd name="T8" fmla="*/ 241 w 253"/>
              <a:gd name="T9" fmla="*/ 6 h 248"/>
              <a:gd name="T10" fmla="*/ 247 w 253"/>
              <a:gd name="T11" fmla="*/ 0 h 248"/>
              <a:gd name="T12" fmla="*/ 253 w 253"/>
              <a:gd name="T13" fmla="*/ 6 h 248"/>
              <a:gd name="T14" fmla="*/ 253 w 253"/>
              <a:gd name="T15" fmla="*/ 145 h 248"/>
              <a:gd name="T16" fmla="*/ 252 w 253"/>
              <a:gd name="T17" fmla="*/ 149 h 248"/>
              <a:gd name="T18" fmla="*/ 247 w 253"/>
              <a:gd name="T19" fmla="*/ 151 h 248"/>
              <a:gd name="T20" fmla="*/ 11 w 253"/>
              <a:gd name="T21" fmla="*/ 246 h 248"/>
              <a:gd name="T22" fmla="*/ 7 w 253"/>
              <a:gd name="T23"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3" h="248">
                <a:moveTo>
                  <a:pt x="7" y="248"/>
                </a:moveTo>
                <a:cubicBezTo>
                  <a:pt x="5" y="248"/>
                  <a:pt x="4" y="247"/>
                  <a:pt x="2" y="246"/>
                </a:cubicBezTo>
                <a:cubicBezTo>
                  <a:pt x="0" y="243"/>
                  <a:pt x="0" y="239"/>
                  <a:pt x="3" y="237"/>
                </a:cubicBezTo>
                <a:cubicBezTo>
                  <a:pt x="67" y="175"/>
                  <a:pt x="152" y="141"/>
                  <a:pt x="241" y="139"/>
                </a:cubicBezTo>
                <a:cubicBezTo>
                  <a:pt x="241" y="6"/>
                  <a:pt x="241" y="6"/>
                  <a:pt x="241" y="6"/>
                </a:cubicBezTo>
                <a:cubicBezTo>
                  <a:pt x="241" y="2"/>
                  <a:pt x="244" y="0"/>
                  <a:pt x="247" y="0"/>
                </a:cubicBezTo>
                <a:cubicBezTo>
                  <a:pt x="251" y="0"/>
                  <a:pt x="253" y="2"/>
                  <a:pt x="253" y="6"/>
                </a:cubicBezTo>
                <a:cubicBezTo>
                  <a:pt x="253" y="145"/>
                  <a:pt x="253" y="145"/>
                  <a:pt x="253" y="145"/>
                </a:cubicBezTo>
                <a:cubicBezTo>
                  <a:pt x="253" y="147"/>
                  <a:pt x="253" y="148"/>
                  <a:pt x="252" y="149"/>
                </a:cubicBezTo>
                <a:cubicBezTo>
                  <a:pt x="250" y="150"/>
                  <a:pt x="249" y="151"/>
                  <a:pt x="247" y="151"/>
                </a:cubicBezTo>
                <a:cubicBezTo>
                  <a:pt x="159" y="151"/>
                  <a:pt x="75" y="185"/>
                  <a:pt x="11" y="246"/>
                </a:cubicBezTo>
                <a:cubicBezTo>
                  <a:pt x="10" y="247"/>
                  <a:pt x="8" y="248"/>
                  <a:pt x="7" y="2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8CB4F488-F08C-4E17-8BAD-442029A2F9CF}"/>
              </a:ext>
            </a:extLst>
          </p:cNvPr>
          <p:cNvSpPr>
            <a:spLocks/>
          </p:cNvSpPr>
          <p:nvPr/>
        </p:nvSpPr>
        <p:spPr bwMode="auto">
          <a:xfrm>
            <a:off x="4489944" y="2573379"/>
            <a:ext cx="508140" cy="1388296"/>
          </a:xfrm>
          <a:custGeom>
            <a:avLst/>
            <a:gdLst>
              <a:gd name="T0" fmla="*/ 41 w 122"/>
              <a:gd name="T1" fmla="*/ 348 h 348"/>
              <a:gd name="T2" fmla="*/ 35 w 122"/>
              <a:gd name="T3" fmla="*/ 342 h 348"/>
              <a:gd name="T4" fmla="*/ 108 w 122"/>
              <a:gd name="T5" fmla="*/ 94 h 348"/>
              <a:gd name="T6" fmla="*/ 3 w 122"/>
              <a:gd name="T7" fmla="*/ 11 h 348"/>
              <a:gd name="T8" fmla="*/ 2 w 122"/>
              <a:gd name="T9" fmla="*/ 3 h 348"/>
              <a:gd name="T10" fmla="*/ 11 w 122"/>
              <a:gd name="T11" fmla="*/ 2 h 348"/>
              <a:gd name="T12" fmla="*/ 120 w 122"/>
              <a:gd name="T13" fmla="*/ 88 h 348"/>
              <a:gd name="T14" fmla="*/ 122 w 122"/>
              <a:gd name="T15" fmla="*/ 93 h 348"/>
              <a:gd name="T16" fmla="*/ 121 w 122"/>
              <a:gd name="T17" fmla="*/ 97 h 348"/>
              <a:gd name="T18" fmla="*/ 47 w 122"/>
              <a:gd name="T19" fmla="*/ 341 h 348"/>
              <a:gd name="T20" fmla="*/ 42 w 122"/>
              <a:gd name="T21" fmla="*/ 347 h 348"/>
              <a:gd name="T22" fmla="*/ 41 w 122"/>
              <a:gd name="T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348">
                <a:moveTo>
                  <a:pt x="41" y="348"/>
                </a:moveTo>
                <a:cubicBezTo>
                  <a:pt x="38" y="348"/>
                  <a:pt x="36" y="345"/>
                  <a:pt x="35" y="342"/>
                </a:cubicBezTo>
                <a:cubicBezTo>
                  <a:pt x="27" y="253"/>
                  <a:pt x="53" y="165"/>
                  <a:pt x="108" y="94"/>
                </a:cubicBezTo>
                <a:cubicBezTo>
                  <a:pt x="3" y="11"/>
                  <a:pt x="3" y="11"/>
                  <a:pt x="3" y="11"/>
                </a:cubicBezTo>
                <a:cubicBezTo>
                  <a:pt x="1" y="9"/>
                  <a:pt x="0" y="5"/>
                  <a:pt x="2" y="3"/>
                </a:cubicBezTo>
                <a:cubicBezTo>
                  <a:pt x="4" y="0"/>
                  <a:pt x="8" y="0"/>
                  <a:pt x="11" y="2"/>
                </a:cubicBezTo>
                <a:cubicBezTo>
                  <a:pt x="120" y="88"/>
                  <a:pt x="120" y="88"/>
                  <a:pt x="120" y="88"/>
                </a:cubicBezTo>
                <a:cubicBezTo>
                  <a:pt x="121" y="89"/>
                  <a:pt x="122" y="91"/>
                  <a:pt x="122" y="93"/>
                </a:cubicBezTo>
                <a:cubicBezTo>
                  <a:pt x="122" y="94"/>
                  <a:pt x="122" y="96"/>
                  <a:pt x="121" y="97"/>
                </a:cubicBezTo>
                <a:cubicBezTo>
                  <a:pt x="65" y="166"/>
                  <a:pt x="39" y="253"/>
                  <a:pt x="47" y="341"/>
                </a:cubicBezTo>
                <a:cubicBezTo>
                  <a:pt x="48" y="344"/>
                  <a:pt x="45" y="347"/>
                  <a:pt x="42" y="347"/>
                </a:cubicBezTo>
                <a:cubicBezTo>
                  <a:pt x="42" y="348"/>
                  <a:pt x="42" y="348"/>
                  <a:pt x="41" y="3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3">
            <a:extLst>
              <a:ext uri="{FF2B5EF4-FFF2-40B4-BE49-F238E27FC236}">
                <a16:creationId xmlns:a16="http://schemas.microsoft.com/office/drawing/2014/main" id="{2B79395B-1A24-4095-A1C3-180F7CE03DA5}"/>
              </a:ext>
            </a:extLst>
          </p:cNvPr>
          <p:cNvSpPr>
            <a:spLocks/>
          </p:cNvSpPr>
          <p:nvPr/>
        </p:nvSpPr>
        <p:spPr bwMode="auto">
          <a:xfrm>
            <a:off x="4103181" y="4113517"/>
            <a:ext cx="224240" cy="191284"/>
          </a:xfrm>
          <a:custGeom>
            <a:avLst/>
            <a:gdLst>
              <a:gd name="T0" fmla="*/ 47 w 54"/>
              <a:gd name="T1" fmla="*/ 48 h 48"/>
              <a:gd name="T2" fmla="*/ 46 w 54"/>
              <a:gd name="T3" fmla="*/ 48 h 48"/>
              <a:gd name="T4" fmla="*/ 5 w 54"/>
              <a:gd name="T5" fmla="*/ 39 h 48"/>
              <a:gd name="T6" fmla="*/ 0 w 54"/>
              <a:gd name="T7" fmla="*/ 34 h 48"/>
              <a:gd name="T8" fmla="*/ 2 w 54"/>
              <a:gd name="T9" fmla="*/ 28 h 48"/>
              <a:gd name="T10" fmla="*/ 36 w 54"/>
              <a:gd name="T11" fmla="*/ 2 h 48"/>
              <a:gd name="T12" fmla="*/ 44 w 54"/>
              <a:gd name="T13" fmla="*/ 3 h 48"/>
              <a:gd name="T14" fmla="*/ 43 w 54"/>
              <a:gd name="T15" fmla="*/ 11 h 48"/>
              <a:gd name="T16" fmla="*/ 20 w 54"/>
              <a:gd name="T17" fmla="*/ 30 h 48"/>
              <a:gd name="T18" fmla="*/ 49 w 54"/>
              <a:gd name="T19" fmla="*/ 36 h 48"/>
              <a:gd name="T20" fmla="*/ 53 w 54"/>
              <a:gd name="T21" fmla="*/ 43 h 48"/>
              <a:gd name="T22" fmla="*/ 47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47" y="48"/>
                </a:moveTo>
                <a:cubicBezTo>
                  <a:pt x="47" y="48"/>
                  <a:pt x="47" y="48"/>
                  <a:pt x="46" y="48"/>
                </a:cubicBezTo>
                <a:cubicBezTo>
                  <a:pt x="5" y="39"/>
                  <a:pt x="5" y="39"/>
                  <a:pt x="5" y="39"/>
                </a:cubicBezTo>
                <a:cubicBezTo>
                  <a:pt x="2" y="38"/>
                  <a:pt x="1" y="36"/>
                  <a:pt x="0" y="34"/>
                </a:cubicBezTo>
                <a:cubicBezTo>
                  <a:pt x="0" y="32"/>
                  <a:pt x="0" y="30"/>
                  <a:pt x="2" y="28"/>
                </a:cubicBezTo>
                <a:cubicBezTo>
                  <a:pt x="36" y="2"/>
                  <a:pt x="36" y="2"/>
                  <a:pt x="36" y="2"/>
                </a:cubicBezTo>
                <a:cubicBezTo>
                  <a:pt x="38" y="0"/>
                  <a:pt x="42" y="0"/>
                  <a:pt x="44" y="3"/>
                </a:cubicBezTo>
                <a:cubicBezTo>
                  <a:pt x="46" y="6"/>
                  <a:pt x="46" y="9"/>
                  <a:pt x="43" y="11"/>
                </a:cubicBezTo>
                <a:cubicBezTo>
                  <a:pt x="20" y="30"/>
                  <a:pt x="20" y="30"/>
                  <a:pt x="20" y="30"/>
                </a:cubicBezTo>
                <a:cubicBezTo>
                  <a:pt x="49" y="36"/>
                  <a:pt x="49" y="36"/>
                  <a:pt x="49" y="36"/>
                </a:cubicBezTo>
                <a:cubicBezTo>
                  <a:pt x="52" y="37"/>
                  <a:pt x="54" y="40"/>
                  <a:pt x="53" y="43"/>
                </a:cubicBezTo>
                <a:cubicBezTo>
                  <a:pt x="53" y="46"/>
                  <a:pt x="50" y="48"/>
                  <a:pt x="47"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4">
            <a:extLst>
              <a:ext uri="{FF2B5EF4-FFF2-40B4-BE49-F238E27FC236}">
                <a16:creationId xmlns:a16="http://schemas.microsoft.com/office/drawing/2014/main" id="{96235668-C2C4-47AF-B529-4A7F85BA4021}"/>
              </a:ext>
            </a:extLst>
          </p:cNvPr>
          <p:cNvSpPr>
            <a:spLocks/>
          </p:cNvSpPr>
          <p:nvPr/>
        </p:nvSpPr>
        <p:spPr bwMode="auto">
          <a:xfrm>
            <a:off x="5201749" y="5369689"/>
            <a:ext cx="189266" cy="218892"/>
          </a:xfrm>
          <a:custGeom>
            <a:avLst/>
            <a:gdLst>
              <a:gd name="T0" fmla="*/ 6 w 46"/>
              <a:gd name="T1" fmla="*/ 55 h 55"/>
              <a:gd name="T2" fmla="*/ 3 w 46"/>
              <a:gd name="T3" fmla="*/ 54 h 55"/>
              <a:gd name="T4" fmla="*/ 0 w 46"/>
              <a:gd name="T5" fmla="*/ 49 h 55"/>
              <a:gd name="T6" fmla="*/ 0 w 46"/>
              <a:gd name="T7" fmla="*/ 6 h 55"/>
              <a:gd name="T8" fmla="*/ 6 w 46"/>
              <a:gd name="T9" fmla="*/ 0 h 55"/>
              <a:gd name="T10" fmla="*/ 6 w 46"/>
              <a:gd name="T11" fmla="*/ 0 h 55"/>
              <a:gd name="T12" fmla="*/ 12 w 46"/>
              <a:gd name="T13" fmla="*/ 6 h 55"/>
              <a:gd name="T14" fmla="*/ 12 w 46"/>
              <a:gd name="T15" fmla="*/ 36 h 55"/>
              <a:gd name="T16" fmla="*/ 35 w 46"/>
              <a:gd name="T17" fmla="*/ 17 h 55"/>
              <a:gd name="T18" fmla="*/ 43 w 46"/>
              <a:gd name="T19" fmla="*/ 18 h 55"/>
              <a:gd name="T20" fmla="*/ 43 w 46"/>
              <a:gd name="T21" fmla="*/ 27 h 55"/>
              <a:gd name="T22" fmla="*/ 10 w 46"/>
              <a:gd name="T23" fmla="*/ 53 h 55"/>
              <a:gd name="T24" fmla="*/ 6 w 46"/>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5">
                <a:moveTo>
                  <a:pt x="6" y="55"/>
                </a:moveTo>
                <a:cubicBezTo>
                  <a:pt x="5" y="55"/>
                  <a:pt x="4" y="54"/>
                  <a:pt x="3" y="54"/>
                </a:cubicBezTo>
                <a:cubicBezTo>
                  <a:pt x="1" y="53"/>
                  <a:pt x="0" y="51"/>
                  <a:pt x="0" y="49"/>
                </a:cubicBezTo>
                <a:cubicBezTo>
                  <a:pt x="0" y="6"/>
                  <a:pt x="0" y="6"/>
                  <a:pt x="0" y="6"/>
                </a:cubicBezTo>
                <a:cubicBezTo>
                  <a:pt x="0" y="3"/>
                  <a:pt x="3" y="0"/>
                  <a:pt x="6" y="0"/>
                </a:cubicBezTo>
                <a:cubicBezTo>
                  <a:pt x="6" y="0"/>
                  <a:pt x="6" y="0"/>
                  <a:pt x="6" y="0"/>
                </a:cubicBezTo>
                <a:cubicBezTo>
                  <a:pt x="9" y="0"/>
                  <a:pt x="12" y="3"/>
                  <a:pt x="12" y="6"/>
                </a:cubicBezTo>
                <a:cubicBezTo>
                  <a:pt x="12" y="36"/>
                  <a:pt x="12" y="36"/>
                  <a:pt x="12" y="36"/>
                </a:cubicBezTo>
                <a:cubicBezTo>
                  <a:pt x="35" y="17"/>
                  <a:pt x="35" y="17"/>
                  <a:pt x="35" y="17"/>
                </a:cubicBezTo>
                <a:cubicBezTo>
                  <a:pt x="38" y="15"/>
                  <a:pt x="41" y="16"/>
                  <a:pt x="43" y="18"/>
                </a:cubicBezTo>
                <a:cubicBezTo>
                  <a:pt x="46" y="21"/>
                  <a:pt x="45" y="25"/>
                  <a:pt x="43" y="27"/>
                </a:cubicBezTo>
                <a:cubicBezTo>
                  <a:pt x="10" y="53"/>
                  <a:pt x="10" y="53"/>
                  <a:pt x="10" y="53"/>
                </a:cubicBezTo>
                <a:cubicBezTo>
                  <a:pt x="9" y="54"/>
                  <a:pt x="7" y="55"/>
                  <a:pt x="6" y="5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6">
            <a:extLst>
              <a:ext uri="{FF2B5EF4-FFF2-40B4-BE49-F238E27FC236}">
                <a16:creationId xmlns:a16="http://schemas.microsoft.com/office/drawing/2014/main" id="{A5F50408-C5BB-4E21-A69A-417ED4D7FEAB}"/>
              </a:ext>
            </a:extLst>
          </p:cNvPr>
          <p:cNvSpPr>
            <a:spLocks/>
          </p:cNvSpPr>
          <p:nvPr/>
        </p:nvSpPr>
        <p:spPr bwMode="auto">
          <a:xfrm>
            <a:off x="7882337" y="4113517"/>
            <a:ext cx="224240" cy="191284"/>
          </a:xfrm>
          <a:custGeom>
            <a:avLst/>
            <a:gdLst>
              <a:gd name="T0" fmla="*/ 6 w 54"/>
              <a:gd name="T1" fmla="*/ 48 h 48"/>
              <a:gd name="T2" fmla="*/ 1 w 54"/>
              <a:gd name="T3" fmla="*/ 43 h 48"/>
              <a:gd name="T4" fmla="*/ 5 w 54"/>
              <a:gd name="T5" fmla="*/ 36 h 48"/>
              <a:gd name="T6" fmla="*/ 34 w 54"/>
              <a:gd name="T7" fmla="*/ 30 h 48"/>
              <a:gd name="T8" fmla="*/ 11 w 54"/>
              <a:gd name="T9" fmla="*/ 11 h 48"/>
              <a:gd name="T10" fmla="*/ 10 w 54"/>
              <a:gd name="T11" fmla="*/ 3 h 48"/>
              <a:gd name="T12" fmla="*/ 18 w 54"/>
              <a:gd name="T13" fmla="*/ 2 h 48"/>
              <a:gd name="T14" fmla="*/ 52 w 54"/>
              <a:gd name="T15" fmla="*/ 28 h 48"/>
              <a:gd name="T16" fmla="*/ 54 w 54"/>
              <a:gd name="T17" fmla="*/ 34 h 48"/>
              <a:gd name="T18" fmla="*/ 49 w 54"/>
              <a:gd name="T19" fmla="*/ 39 h 48"/>
              <a:gd name="T20" fmla="*/ 8 w 54"/>
              <a:gd name="T21" fmla="*/ 48 h 48"/>
              <a:gd name="T22" fmla="*/ 6 w 5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6" y="48"/>
                </a:moveTo>
                <a:cubicBezTo>
                  <a:pt x="4" y="48"/>
                  <a:pt x="1" y="46"/>
                  <a:pt x="1" y="43"/>
                </a:cubicBezTo>
                <a:cubicBezTo>
                  <a:pt x="0" y="40"/>
                  <a:pt x="2" y="37"/>
                  <a:pt x="5" y="36"/>
                </a:cubicBezTo>
                <a:cubicBezTo>
                  <a:pt x="34" y="30"/>
                  <a:pt x="34" y="30"/>
                  <a:pt x="34" y="30"/>
                </a:cubicBezTo>
                <a:cubicBezTo>
                  <a:pt x="11" y="11"/>
                  <a:pt x="11" y="11"/>
                  <a:pt x="11" y="11"/>
                </a:cubicBezTo>
                <a:cubicBezTo>
                  <a:pt x="8" y="9"/>
                  <a:pt x="8" y="5"/>
                  <a:pt x="10" y="3"/>
                </a:cubicBezTo>
                <a:cubicBezTo>
                  <a:pt x="12" y="0"/>
                  <a:pt x="16" y="0"/>
                  <a:pt x="18" y="2"/>
                </a:cubicBezTo>
                <a:cubicBezTo>
                  <a:pt x="52" y="28"/>
                  <a:pt x="52" y="28"/>
                  <a:pt x="52" y="28"/>
                </a:cubicBezTo>
                <a:cubicBezTo>
                  <a:pt x="53" y="29"/>
                  <a:pt x="54" y="32"/>
                  <a:pt x="54" y="34"/>
                </a:cubicBezTo>
                <a:cubicBezTo>
                  <a:pt x="53" y="36"/>
                  <a:pt x="51" y="38"/>
                  <a:pt x="49" y="39"/>
                </a:cubicBezTo>
                <a:cubicBezTo>
                  <a:pt x="8" y="48"/>
                  <a:pt x="8" y="48"/>
                  <a:pt x="8" y="48"/>
                </a:cubicBezTo>
                <a:cubicBezTo>
                  <a:pt x="7" y="48"/>
                  <a:pt x="7" y="48"/>
                  <a:pt x="6"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7">
            <a:extLst>
              <a:ext uri="{FF2B5EF4-FFF2-40B4-BE49-F238E27FC236}">
                <a16:creationId xmlns:a16="http://schemas.microsoft.com/office/drawing/2014/main" id="{3738B4F9-0124-46A0-853E-9F72C3BC3170}"/>
              </a:ext>
            </a:extLst>
          </p:cNvPr>
          <p:cNvSpPr>
            <a:spLocks/>
          </p:cNvSpPr>
          <p:nvPr/>
        </p:nvSpPr>
        <p:spPr bwMode="auto">
          <a:xfrm>
            <a:off x="7491460" y="2573379"/>
            <a:ext cx="224240" cy="199173"/>
          </a:xfrm>
          <a:custGeom>
            <a:avLst/>
            <a:gdLst>
              <a:gd name="T0" fmla="*/ 29 w 54"/>
              <a:gd name="T1" fmla="*/ 50 h 50"/>
              <a:gd name="T2" fmla="*/ 26 w 54"/>
              <a:gd name="T3" fmla="*/ 50 h 50"/>
              <a:gd name="T4" fmla="*/ 24 w 54"/>
              <a:gd name="T5" fmla="*/ 42 h 50"/>
              <a:gd name="T6" fmla="*/ 37 w 54"/>
              <a:gd name="T7" fmla="*/ 15 h 50"/>
              <a:gd name="T8" fmla="*/ 8 w 54"/>
              <a:gd name="T9" fmla="*/ 22 h 50"/>
              <a:gd name="T10" fmla="*/ 0 w 54"/>
              <a:gd name="T11" fmla="*/ 17 h 50"/>
              <a:gd name="T12" fmla="*/ 5 w 54"/>
              <a:gd name="T13" fmla="*/ 10 h 50"/>
              <a:gd name="T14" fmla="*/ 46 w 54"/>
              <a:gd name="T15" fmla="*/ 0 h 50"/>
              <a:gd name="T16" fmla="*/ 52 w 54"/>
              <a:gd name="T17" fmla="*/ 2 h 50"/>
              <a:gd name="T18" fmla="*/ 53 w 54"/>
              <a:gd name="T19" fmla="*/ 9 h 50"/>
              <a:gd name="T20" fmla="*/ 34 w 54"/>
              <a:gd name="T21" fmla="*/ 47 h 50"/>
              <a:gd name="T22" fmla="*/ 29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9" y="50"/>
                </a:moveTo>
                <a:cubicBezTo>
                  <a:pt x="28" y="50"/>
                  <a:pt x="27" y="50"/>
                  <a:pt x="26" y="50"/>
                </a:cubicBezTo>
                <a:cubicBezTo>
                  <a:pt x="23" y="48"/>
                  <a:pt x="22" y="45"/>
                  <a:pt x="24" y="42"/>
                </a:cubicBezTo>
                <a:cubicBezTo>
                  <a:pt x="37" y="15"/>
                  <a:pt x="37" y="15"/>
                  <a:pt x="37" y="15"/>
                </a:cubicBezTo>
                <a:cubicBezTo>
                  <a:pt x="8" y="22"/>
                  <a:pt x="8" y="22"/>
                  <a:pt x="8" y="22"/>
                </a:cubicBezTo>
                <a:cubicBezTo>
                  <a:pt x="4" y="23"/>
                  <a:pt x="1" y="21"/>
                  <a:pt x="0" y="17"/>
                </a:cubicBezTo>
                <a:cubicBezTo>
                  <a:pt x="0" y="14"/>
                  <a:pt x="2" y="11"/>
                  <a:pt x="5" y="10"/>
                </a:cubicBezTo>
                <a:cubicBezTo>
                  <a:pt x="46" y="0"/>
                  <a:pt x="46" y="0"/>
                  <a:pt x="46" y="0"/>
                </a:cubicBezTo>
                <a:cubicBezTo>
                  <a:pt x="48" y="0"/>
                  <a:pt x="51" y="1"/>
                  <a:pt x="52" y="2"/>
                </a:cubicBezTo>
                <a:cubicBezTo>
                  <a:pt x="54" y="4"/>
                  <a:pt x="54" y="7"/>
                  <a:pt x="53" y="9"/>
                </a:cubicBezTo>
                <a:cubicBezTo>
                  <a:pt x="34" y="47"/>
                  <a:pt x="34" y="47"/>
                  <a:pt x="34" y="47"/>
                </a:cubicBezTo>
                <a:cubicBezTo>
                  <a:pt x="33" y="49"/>
                  <a:pt x="31" y="50"/>
                  <a:pt x="29" y="5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8">
            <a:extLst>
              <a:ext uri="{FF2B5EF4-FFF2-40B4-BE49-F238E27FC236}">
                <a16:creationId xmlns:a16="http://schemas.microsoft.com/office/drawing/2014/main" id="{2BD0D3FB-88AB-4397-A897-BCA37ECE6052}"/>
              </a:ext>
            </a:extLst>
          </p:cNvPr>
          <p:cNvSpPr>
            <a:spLocks/>
          </p:cNvSpPr>
          <p:nvPr/>
        </p:nvSpPr>
        <p:spPr bwMode="auto">
          <a:xfrm>
            <a:off x="5997904" y="1843734"/>
            <a:ext cx="209838" cy="203117"/>
          </a:xfrm>
          <a:custGeom>
            <a:avLst/>
            <a:gdLst>
              <a:gd name="T0" fmla="*/ 7 w 50"/>
              <a:gd name="T1" fmla="*/ 50 h 51"/>
              <a:gd name="T2" fmla="*/ 5 w 50"/>
              <a:gd name="T3" fmla="*/ 49 h 51"/>
              <a:gd name="T4" fmla="*/ 2 w 50"/>
              <a:gd name="T5" fmla="*/ 41 h 51"/>
              <a:gd name="T6" fmla="*/ 20 w 50"/>
              <a:gd name="T7" fmla="*/ 3 h 51"/>
              <a:gd name="T8" fmla="*/ 25 w 50"/>
              <a:gd name="T9" fmla="*/ 0 h 51"/>
              <a:gd name="T10" fmla="*/ 31 w 50"/>
              <a:gd name="T11" fmla="*/ 3 h 51"/>
              <a:gd name="T12" fmla="*/ 49 w 50"/>
              <a:gd name="T13" fmla="*/ 41 h 51"/>
              <a:gd name="T14" fmla="*/ 46 w 50"/>
              <a:gd name="T15" fmla="*/ 49 h 51"/>
              <a:gd name="T16" fmla="*/ 38 w 50"/>
              <a:gd name="T17" fmla="*/ 47 h 51"/>
              <a:gd name="T18" fmla="*/ 25 w 50"/>
              <a:gd name="T19" fmla="*/ 20 h 51"/>
              <a:gd name="T20" fmla="*/ 13 w 50"/>
              <a:gd name="T21" fmla="*/ 47 h 51"/>
              <a:gd name="T22" fmla="*/ 7 w 50"/>
              <a:gd name="T23"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1">
                <a:moveTo>
                  <a:pt x="7" y="50"/>
                </a:moveTo>
                <a:cubicBezTo>
                  <a:pt x="6" y="50"/>
                  <a:pt x="5" y="50"/>
                  <a:pt x="5" y="49"/>
                </a:cubicBezTo>
                <a:cubicBezTo>
                  <a:pt x="2" y="48"/>
                  <a:pt x="0" y="44"/>
                  <a:pt x="2" y="41"/>
                </a:cubicBezTo>
                <a:cubicBezTo>
                  <a:pt x="20" y="3"/>
                  <a:pt x="20" y="3"/>
                  <a:pt x="20" y="3"/>
                </a:cubicBezTo>
                <a:cubicBezTo>
                  <a:pt x="21" y="1"/>
                  <a:pt x="23" y="0"/>
                  <a:pt x="25" y="0"/>
                </a:cubicBezTo>
                <a:cubicBezTo>
                  <a:pt x="28" y="0"/>
                  <a:pt x="30" y="1"/>
                  <a:pt x="31" y="3"/>
                </a:cubicBezTo>
                <a:cubicBezTo>
                  <a:pt x="49" y="41"/>
                  <a:pt x="49" y="41"/>
                  <a:pt x="49" y="41"/>
                </a:cubicBezTo>
                <a:cubicBezTo>
                  <a:pt x="50" y="44"/>
                  <a:pt x="49" y="48"/>
                  <a:pt x="46" y="49"/>
                </a:cubicBezTo>
                <a:cubicBezTo>
                  <a:pt x="43" y="51"/>
                  <a:pt x="39" y="50"/>
                  <a:pt x="38" y="47"/>
                </a:cubicBezTo>
                <a:cubicBezTo>
                  <a:pt x="25" y="20"/>
                  <a:pt x="25" y="20"/>
                  <a:pt x="25" y="20"/>
                </a:cubicBezTo>
                <a:cubicBezTo>
                  <a:pt x="13" y="47"/>
                  <a:pt x="13" y="47"/>
                  <a:pt x="13" y="47"/>
                </a:cubicBezTo>
                <a:cubicBezTo>
                  <a:pt x="12" y="49"/>
                  <a:pt x="9" y="50"/>
                  <a:pt x="7" y="5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9">
            <a:extLst>
              <a:ext uri="{FF2B5EF4-FFF2-40B4-BE49-F238E27FC236}">
                <a16:creationId xmlns:a16="http://schemas.microsoft.com/office/drawing/2014/main" id="{0FE27C37-CA88-443D-848B-BAE25BFB3356}"/>
              </a:ext>
            </a:extLst>
          </p:cNvPr>
          <p:cNvSpPr>
            <a:spLocks/>
          </p:cNvSpPr>
          <p:nvPr/>
        </p:nvSpPr>
        <p:spPr bwMode="auto">
          <a:xfrm>
            <a:off x="4494058" y="2573379"/>
            <a:ext cx="224240" cy="199173"/>
          </a:xfrm>
          <a:custGeom>
            <a:avLst/>
            <a:gdLst>
              <a:gd name="T0" fmla="*/ 25 w 54"/>
              <a:gd name="T1" fmla="*/ 50 h 50"/>
              <a:gd name="T2" fmla="*/ 19 w 54"/>
              <a:gd name="T3" fmla="*/ 47 h 50"/>
              <a:gd name="T4" fmla="*/ 1 w 54"/>
              <a:gd name="T5" fmla="*/ 9 h 50"/>
              <a:gd name="T6" fmla="*/ 1 w 54"/>
              <a:gd name="T7" fmla="*/ 3 h 50"/>
              <a:gd name="T8" fmla="*/ 7 w 54"/>
              <a:gd name="T9" fmla="*/ 1 h 50"/>
              <a:gd name="T10" fmla="*/ 49 w 54"/>
              <a:gd name="T11" fmla="*/ 10 h 50"/>
              <a:gd name="T12" fmla="*/ 53 w 54"/>
              <a:gd name="T13" fmla="*/ 17 h 50"/>
              <a:gd name="T14" fmla="*/ 46 w 54"/>
              <a:gd name="T15" fmla="*/ 22 h 50"/>
              <a:gd name="T16" fmla="*/ 17 w 54"/>
              <a:gd name="T17" fmla="*/ 15 h 50"/>
              <a:gd name="T18" fmla="*/ 30 w 54"/>
              <a:gd name="T19" fmla="*/ 42 h 50"/>
              <a:gd name="T20" fmla="*/ 27 w 54"/>
              <a:gd name="T21" fmla="*/ 50 h 50"/>
              <a:gd name="T22" fmla="*/ 25 w 54"/>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50">
                <a:moveTo>
                  <a:pt x="25" y="50"/>
                </a:moveTo>
                <a:cubicBezTo>
                  <a:pt x="23" y="50"/>
                  <a:pt x="20" y="49"/>
                  <a:pt x="19" y="47"/>
                </a:cubicBezTo>
                <a:cubicBezTo>
                  <a:pt x="1" y="9"/>
                  <a:pt x="1" y="9"/>
                  <a:pt x="1" y="9"/>
                </a:cubicBezTo>
                <a:cubicBezTo>
                  <a:pt x="0" y="7"/>
                  <a:pt x="0" y="4"/>
                  <a:pt x="1" y="3"/>
                </a:cubicBezTo>
                <a:cubicBezTo>
                  <a:pt x="3" y="1"/>
                  <a:pt x="5" y="0"/>
                  <a:pt x="7" y="1"/>
                </a:cubicBezTo>
                <a:cubicBezTo>
                  <a:pt x="49" y="10"/>
                  <a:pt x="49" y="10"/>
                  <a:pt x="49" y="10"/>
                </a:cubicBezTo>
                <a:cubicBezTo>
                  <a:pt x="52" y="11"/>
                  <a:pt x="54" y="14"/>
                  <a:pt x="53" y="17"/>
                </a:cubicBezTo>
                <a:cubicBezTo>
                  <a:pt x="52" y="21"/>
                  <a:pt x="49" y="23"/>
                  <a:pt x="46" y="22"/>
                </a:cubicBezTo>
                <a:cubicBezTo>
                  <a:pt x="17" y="15"/>
                  <a:pt x="17" y="15"/>
                  <a:pt x="17" y="15"/>
                </a:cubicBezTo>
                <a:cubicBezTo>
                  <a:pt x="30" y="42"/>
                  <a:pt x="30" y="42"/>
                  <a:pt x="30" y="42"/>
                </a:cubicBezTo>
                <a:cubicBezTo>
                  <a:pt x="32" y="45"/>
                  <a:pt x="30" y="48"/>
                  <a:pt x="27" y="50"/>
                </a:cubicBezTo>
                <a:cubicBezTo>
                  <a:pt x="27" y="50"/>
                  <a:pt x="26" y="50"/>
                  <a:pt x="25" y="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2">
            <a:extLst>
              <a:ext uri="{FF2B5EF4-FFF2-40B4-BE49-F238E27FC236}">
                <a16:creationId xmlns:a16="http://schemas.microsoft.com/office/drawing/2014/main" id="{6E19C658-9EC2-40C2-B241-23248250FFAC}"/>
              </a:ext>
            </a:extLst>
          </p:cNvPr>
          <p:cNvSpPr>
            <a:spLocks/>
          </p:cNvSpPr>
          <p:nvPr/>
        </p:nvSpPr>
        <p:spPr bwMode="auto">
          <a:xfrm>
            <a:off x="4818690" y="2573589"/>
            <a:ext cx="2596814" cy="2491527"/>
          </a:xfrm>
          <a:custGeom>
            <a:avLst/>
            <a:gdLst>
              <a:gd name="T0" fmla="*/ 909 w 3233"/>
              <a:gd name="T1" fmla="*/ 391 h 3233"/>
              <a:gd name="T2" fmla="*/ 2843 w 3233"/>
              <a:gd name="T3" fmla="*/ 909 h 3233"/>
              <a:gd name="T4" fmla="*/ 2325 w 3233"/>
              <a:gd name="T5" fmla="*/ 2842 h 3233"/>
              <a:gd name="T6" fmla="*/ 391 w 3233"/>
              <a:gd name="T7" fmla="*/ 2324 h 3233"/>
              <a:gd name="T8" fmla="*/ 909 w 3233"/>
              <a:gd name="T9" fmla="*/ 391 h 3233"/>
            </a:gdLst>
            <a:ahLst/>
            <a:cxnLst>
              <a:cxn ang="0">
                <a:pos x="T0" y="T1"/>
              </a:cxn>
              <a:cxn ang="0">
                <a:pos x="T2" y="T3"/>
              </a:cxn>
              <a:cxn ang="0">
                <a:pos x="T4" y="T5"/>
              </a:cxn>
              <a:cxn ang="0">
                <a:pos x="T6" y="T7"/>
              </a:cxn>
              <a:cxn ang="0">
                <a:pos x="T8" y="T9"/>
              </a:cxn>
            </a:cxnLst>
            <a:rect l="0" t="0" r="r" b="b"/>
            <a:pathLst>
              <a:path w="3233" h="3233">
                <a:moveTo>
                  <a:pt x="909" y="391"/>
                </a:moveTo>
                <a:cubicBezTo>
                  <a:pt x="1586" y="0"/>
                  <a:pt x="2452" y="232"/>
                  <a:pt x="2843" y="909"/>
                </a:cubicBezTo>
                <a:cubicBezTo>
                  <a:pt x="3233" y="1586"/>
                  <a:pt x="3001" y="2452"/>
                  <a:pt x="2325" y="2842"/>
                </a:cubicBezTo>
                <a:cubicBezTo>
                  <a:pt x="1648" y="3233"/>
                  <a:pt x="782" y="3001"/>
                  <a:pt x="391" y="2324"/>
                </a:cubicBezTo>
                <a:cubicBezTo>
                  <a:pt x="0" y="1648"/>
                  <a:pt x="232" y="782"/>
                  <a:pt x="909" y="391"/>
                </a:cubicBezTo>
                <a:close/>
              </a:path>
            </a:pathLst>
          </a:custGeom>
          <a:solidFill>
            <a:schemeClr val="bg1"/>
          </a:solidFill>
          <a:ln>
            <a:noFill/>
          </a:ln>
          <a:effectLst/>
        </p:spPr>
        <p:txBody>
          <a:bodyPr vert="horz" wrap="square" lIns="91440" tIns="45720" rIns="91440" bIns="45720" numCol="1" anchor="ctr" anchorCtr="0" compatLnSpc="1">
            <a:prstTxWarp prst="textNoShape">
              <a:avLst/>
            </a:prstTxWarp>
          </a:bodyPr>
          <a:lstStyle/>
          <a:p>
            <a:pPr algn="ctr"/>
            <a:endParaRPr lang="en-US" b="1">
              <a:solidFill>
                <a:schemeClr val="accent1"/>
              </a:solidFill>
            </a:endParaRPr>
          </a:p>
        </p:txBody>
      </p:sp>
      <p:sp>
        <p:nvSpPr>
          <p:cNvPr id="20" name="Oval 19">
            <a:extLst>
              <a:ext uri="{FF2B5EF4-FFF2-40B4-BE49-F238E27FC236}">
                <a16:creationId xmlns:a16="http://schemas.microsoft.com/office/drawing/2014/main" id="{92EF6745-8D81-45CC-B19E-40AEA3189173}"/>
              </a:ext>
            </a:extLst>
          </p:cNvPr>
          <p:cNvSpPr/>
          <p:nvPr/>
        </p:nvSpPr>
        <p:spPr bwMode="auto">
          <a:xfrm>
            <a:off x="5672122" y="1412776"/>
            <a:ext cx="788999" cy="756311"/>
          </a:xfrm>
          <a:prstGeom prst="ellipse">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1" name="Oval 20">
            <a:extLst>
              <a:ext uri="{FF2B5EF4-FFF2-40B4-BE49-F238E27FC236}">
                <a16:creationId xmlns:a16="http://schemas.microsoft.com/office/drawing/2014/main" id="{60D72E11-FD56-4294-8267-E0CF3FD70572}"/>
              </a:ext>
            </a:extLst>
          </p:cNvPr>
          <p:cNvSpPr/>
          <p:nvPr/>
        </p:nvSpPr>
        <p:spPr bwMode="auto">
          <a:xfrm>
            <a:off x="7409600" y="2177134"/>
            <a:ext cx="788999" cy="756311"/>
          </a:xfrm>
          <a:prstGeom prst="ellipse">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2" name="Oval 21">
            <a:extLst>
              <a:ext uri="{FF2B5EF4-FFF2-40B4-BE49-F238E27FC236}">
                <a16:creationId xmlns:a16="http://schemas.microsoft.com/office/drawing/2014/main" id="{CB952DC0-AD87-4599-9508-78635B9310C0}"/>
              </a:ext>
            </a:extLst>
          </p:cNvPr>
          <p:cNvSpPr/>
          <p:nvPr/>
        </p:nvSpPr>
        <p:spPr bwMode="auto">
          <a:xfrm>
            <a:off x="7795707" y="3882857"/>
            <a:ext cx="788999" cy="756311"/>
          </a:xfrm>
          <a:prstGeom prst="ellipse">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3" name="Oval 22">
            <a:extLst>
              <a:ext uri="{FF2B5EF4-FFF2-40B4-BE49-F238E27FC236}">
                <a16:creationId xmlns:a16="http://schemas.microsoft.com/office/drawing/2014/main" id="{124A0628-2086-4535-B0FB-A28D70B6A068}"/>
              </a:ext>
            </a:extLst>
          </p:cNvPr>
          <p:cNvSpPr/>
          <p:nvPr/>
        </p:nvSpPr>
        <p:spPr bwMode="auto">
          <a:xfrm>
            <a:off x="6628995" y="5290884"/>
            <a:ext cx="788999" cy="756311"/>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4" name="Oval 23">
            <a:extLst>
              <a:ext uri="{FF2B5EF4-FFF2-40B4-BE49-F238E27FC236}">
                <a16:creationId xmlns:a16="http://schemas.microsoft.com/office/drawing/2014/main" id="{8AA786AD-3DC8-473C-BC6C-3090A2DE1239}"/>
              </a:ext>
            </a:extLst>
          </p:cNvPr>
          <p:cNvSpPr/>
          <p:nvPr/>
        </p:nvSpPr>
        <p:spPr bwMode="auto">
          <a:xfrm>
            <a:off x="4790793" y="5274792"/>
            <a:ext cx="788999" cy="756311"/>
          </a:xfrm>
          <a:prstGeom prst="ellipse">
            <a:avLst/>
          </a:prstGeom>
          <a:solidFill>
            <a:schemeClr val="accent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5" name="Oval 24">
            <a:extLst>
              <a:ext uri="{FF2B5EF4-FFF2-40B4-BE49-F238E27FC236}">
                <a16:creationId xmlns:a16="http://schemas.microsoft.com/office/drawing/2014/main" id="{152D96B1-75BB-4CD9-AC7B-F009641CCDFC}"/>
              </a:ext>
            </a:extLst>
          </p:cNvPr>
          <p:cNvSpPr/>
          <p:nvPr/>
        </p:nvSpPr>
        <p:spPr bwMode="auto">
          <a:xfrm>
            <a:off x="3607293" y="3898949"/>
            <a:ext cx="788999" cy="756311"/>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26" name="Oval 25">
            <a:extLst>
              <a:ext uri="{FF2B5EF4-FFF2-40B4-BE49-F238E27FC236}">
                <a16:creationId xmlns:a16="http://schemas.microsoft.com/office/drawing/2014/main" id="{E5EB8978-5638-48D6-B978-0A0B7FFE5012}"/>
              </a:ext>
            </a:extLst>
          </p:cNvPr>
          <p:cNvSpPr/>
          <p:nvPr/>
        </p:nvSpPr>
        <p:spPr bwMode="auto">
          <a:xfrm>
            <a:off x="4001792" y="2161042"/>
            <a:ext cx="788999" cy="756311"/>
          </a:xfrm>
          <a:prstGeom prst="ellipse">
            <a:avLst/>
          </a:prstGeom>
          <a:solidFill>
            <a:schemeClr val="tx2">
              <a:lumMod val="90000"/>
              <a:lumOff val="1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grpSp>
        <p:nvGrpSpPr>
          <p:cNvPr id="117" name="Groupe 299">
            <a:extLst>
              <a:ext uri="{FF2B5EF4-FFF2-40B4-BE49-F238E27FC236}">
                <a16:creationId xmlns:a16="http://schemas.microsoft.com/office/drawing/2014/main" id="{C8352A97-FB98-461A-BFA1-ACA381450628}"/>
              </a:ext>
            </a:extLst>
          </p:cNvPr>
          <p:cNvGrpSpPr/>
          <p:nvPr/>
        </p:nvGrpSpPr>
        <p:grpSpPr>
          <a:xfrm>
            <a:off x="4158739" y="2394984"/>
            <a:ext cx="490466" cy="282474"/>
            <a:chOff x="4572000" y="4300538"/>
            <a:chExt cx="385763" cy="231775"/>
          </a:xfrm>
        </p:grpSpPr>
        <p:sp>
          <p:nvSpPr>
            <p:cNvPr id="118" name="Freeform 828">
              <a:extLst>
                <a:ext uri="{FF2B5EF4-FFF2-40B4-BE49-F238E27FC236}">
                  <a16:creationId xmlns:a16="http://schemas.microsoft.com/office/drawing/2014/main" id="{34186393-10F4-403C-B8B7-6CBE10ED2F62}"/>
                </a:ext>
              </a:extLst>
            </p:cNvPr>
            <p:cNvSpPr>
              <a:spLocks/>
            </p:cNvSpPr>
            <p:nvPr/>
          </p:nvSpPr>
          <p:spPr bwMode="auto">
            <a:xfrm>
              <a:off x="4572000" y="4306888"/>
              <a:ext cx="385763" cy="225425"/>
            </a:xfrm>
            <a:custGeom>
              <a:avLst/>
              <a:gdLst/>
              <a:ahLst/>
              <a:cxnLst>
                <a:cxn ang="0">
                  <a:pos x="0" y="0"/>
                </a:cxn>
                <a:cxn ang="0">
                  <a:pos x="0" y="142"/>
                </a:cxn>
                <a:cxn ang="0">
                  <a:pos x="243" y="142"/>
                </a:cxn>
              </a:cxnLst>
              <a:rect l="0" t="0" r="r" b="b"/>
              <a:pathLst>
                <a:path w="243" h="142">
                  <a:moveTo>
                    <a:pt x="0" y="0"/>
                  </a:moveTo>
                  <a:lnTo>
                    <a:pt x="0" y="142"/>
                  </a:lnTo>
                  <a:lnTo>
                    <a:pt x="243" y="142"/>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19" name="Freeform 829">
              <a:extLst>
                <a:ext uri="{FF2B5EF4-FFF2-40B4-BE49-F238E27FC236}">
                  <a16:creationId xmlns:a16="http://schemas.microsoft.com/office/drawing/2014/main" id="{BE280F3F-94BC-4C1B-9D1C-A06B62D47BD7}"/>
                </a:ext>
              </a:extLst>
            </p:cNvPr>
            <p:cNvSpPr>
              <a:spLocks/>
            </p:cNvSpPr>
            <p:nvPr/>
          </p:nvSpPr>
          <p:spPr bwMode="auto">
            <a:xfrm>
              <a:off x="4611688" y="4337051"/>
              <a:ext cx="260350" cy="168275"/>
            </a:xfrm>
            <a:custGeom>
              <a:avLst/>
              <a:gdLst/>
              <a:ahLst/>
              <a:cxnLst>
                <a:cxn ang="0">
                  <a:pos x="0" y="106"/>
                </a:cxn>
                <a:cxn ang="0">
                  <a:pos x="48" y="57"/>
                </a:cxn>
                <a:cxn ang="0">
                  <a:pos x="77" y="86"/>
                </a:cxn>
                <a:cxn ang="0">
                  <a:pos x="164" y="0"/>
                </a:cxn>
              </a:cxnLst>
              <a:rect l="0" t="0" r="r" b="b"/>
              <a:pathLst>
                <a:path w="164" h="106">
                  <a:moveTo>
                    <a:pt x="0" y="106"/>
                  </a:moveTo>
                  <a:lnTo>
                    <a:pt x="48" y="57"/>
                  </a:lnTo>
                  <a:lnTo>
                    <a:pt x="77" y="86"/>
                  </a:lnTo>
                  <a:lnTo>
                    <a:pt x="164" y="0"/>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20" name="Freeform 831">
              <a:extLst>
                <a:ext uri="{FF2B5EF4-FFF2-40B4-BE49-F238E27FC236}">
                  <a16:creationId xmlns:a16="http://schemas.microsoft.com/office/drawing/2014/main" id="{7A7BBAE7-7208-4B9A-B4D4-63541770FD3E}"/>
                </a:ext>
              </a:extLst>
            </p:cNvPr>
            <p:cNvSpPr>
              <a:spLocks/>
            </p:cNvSpPr>
            <p:nvPr/>
          </p:nvSpPr>
          <p:spPr bwMode="auto">
            <a:xfrm>
              <a:off x="4829175" y="4300538"/>
              <a:ext cx="74613" cy="77788"/>
            </a:xfrm>
            <a:custGeom>
              <a:avLst/>
              <a:gdLst/>
              <a:ahLst/>
              <a:cxnLst>
                <a:cxn ang="0">
                  <a:pos x="0" y="0"/>
                </a:cxn>
                <a:cxn ang="0">
                  <a:pos x="47" y="0"/>
                </a:cxn>
                <a:cxn ang="0">
                  <a:pos x="47" y="49"/>
                </a:cxn>
              </a:cxnLst>
              <a:rect l="0" t="0" r="r" b="b"/>
              <a:pathLst>
                <a:path w="47" h="49">
                  <a:moveTo>
                    <a:pt x="0" y="0"/>
                  </a:moveTo>
                  <a:lnTo>
                    <a:pt x="47" y="0"/>
                  </a:lnTo>
                  <a:lnTo>
                    <a:pt x="47" y="49"/>
                  </a:ln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sp>
        <p:nvSpPr>
          <p:cNvPr id="129" name="Text Placeholder 2">
            <a:extLst>
              <a:ext uri="{FF2B5EF4-FFF2-40B4-BE49-F238E27FC236}">
                <a16:creationId xmlns:a16="http://schemas.microsoft.com/office/drawing/2014/main" id="{B37FDAB7-8D97-47E1-BF0B-3131104836E3}"/>
              </a:ext>
            </a:extLst>
          </p:cNvPr>
          <p:cNvSpPr>
            <a:spLocks noGrp="1"/>
          </p:cNvSpPr>
          <p:nvPr>
            <p:ph type="body" sz="quarter" idx="10"/>
          </p:nvPr>
        </p:nvSpPr>
        <p:spPr>
          <a:xfrm>
            <a:off x="5177352" y="1090089"/>
            <a:ext cx="4464496" cy="379884"/>
          </a:xfrm>
        </p:spPr>
        <p:txBody>
          <a:bodyPr>
            <a:normAutofit/>
          </a:bodyPr>
          <a:lstStyle/>
          <a:p>
            <a:r>
              <a:rPr lang="nb-NO" sz="1800"/>
              <a:t>Data Management</a:t>
            </a:r>
          </a:p>
          <a:p>
            <a:endParaRPr lang="nb-NO" sz="1800"/>
          </a:p>
        </p:txBody>
      </p:sp>
      <p:sp>
        <p:nvSpPr>
          <p:cNvPr id="134" name="TextBox 133">
            <a:extLst>
              <a:ext uri="{FF2B5EF4-FFF2-40B4-BE49-F238E27FC236}">
                <a16:creationId xmlns:a16="http://schemas.microsoft.com/office/drawing/2014/main" id="{065B4607-6A64-4F40-872A-6FC523FB5AF2}"/>
              </a:ext>
            </a:extLst>
          </p:cNvPr>
          <p:cNvSpPr txBox="1"/>
          <p:nvPr/>
        </p:nvSpPr>
        <p:spPr>
          <a:xfrm>
            <a:off x="2511173" y="2267691"/>
            <a:ext cx="2592288" cy="369332"/>
          </a:xfrm>
          <a:prstGeom prst="rect">
            <a:avLst/>
          </a:prstGeom>
          <a:noFill/>
        </p:spPr>
        <p:txBody>
          <a:bodyPr wrap="square" rtlCol="0">
            <a:spAutoFit/>
          </a:bodyPr>
          <a:lstStyle/>
          <a:p>
            <a:r>
              <a:rPr lang="nb-NO"/>
              <a:t>Data Quality</a:t>
            </a:r>
          </a:p>
        </p:txBody>
      </p:sp>
      <p:sp>
        <p:nvSpPr>
          <p:cNvPr id="138" name="TextBox 137">
            <a:extLst>
              <a:ext uri="{FF2B5EF4-FFF2-40B4-BE49-F238E27FC236}">
                <a16:creationId xmlns:a16="http://schemas.microsoft.com/office/drawing/2014/main" id="{90380516-9C9C-4176-88A2-225F3967286A}"/>
              </a:ext>
            </a:extLst>
          </p:cNvPr>
          <p:cNvSpPr txBox="1"/>
          <p:nvPr/>
        </p:nvSpPr>
        <p:spPr>
          <a:xfrm>
            <a:off x="8584706" y="4092438"/>
            <a:ext cx="3024336" cy="369332"/>
          </a:xfrm>
          <a:prstGeom prst="rect">
            <a:avLst/>
          </a:prstGeom>
          <a:noFill/>
        </p:spPr>
        <p:txBody>
          <a:bodyPr wrap="square" rtlCol="0">
            <a:spAutoFit/>
          </a:bodyPr>
          <a:lstStyle/>
          <a:p>
            <a:r>
              <a:rPr lang="nb-NO"/>
              <a:t>Data </a:t>
            </a:r>
            <a:r>
              <a:rPr lang="nb-NO" err="1"/>
              <a:t>Privacy</a:t>
            </a:r>
            <a:endParaRPr lang="nb-NO"/>
          </a:p>
        </p:txBody>
      </p:sp>
      <p:sp>
        <p:nvSpPr>
          <p:cNvPr id="141" name="Text Placeholder 2">
            <a:extLst>
              <a:ext uri="{FF2B5EF4-FFF2-40B4-BE49-F238E27FC236}">
                <a16:creationId xmlns:a16="http://schemas.microsoft.com/office/drawing/2014/main" id="{C2CCBCE7-0B5E-4C89-BD9D-3C8C28A3B29E}"/>
              </a:ext>
            </a:extLst>
          </p:cNvPr>
          <p:cNvSpPr txBox="1">
            <a:spLocks/>
          </p:cNvSpPr>
          <p:nvPr/>
        </p:nvSpPr>
        <p:spPr>
          <a:xfrm>
            <a:off x="8274555" y="2372938"/>
            <a:ext cx="4464496"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a:t>Data Architecture</a:t>
            </a:r>
          </a:p>
          <a:p>
            <a:endParaRPr lang="nb-NO" sz="1800"/>
          </a:p>
        </p:txBody>
      </p:sp>
      <p:sp>
        <p:nvSpPr>
          <p:cNvPr id="143" name="Text Placeholder 2">
            <a:extLst>
              <a:ext uri="{FF2B5EF4-FFF2-40B4-BE49-F238E27FC236}">
                <a16:creationId xmlns:a16="http://schemas.microsoft.com/office/drawing/2014/main" id="{603A37C6-02A0-46D9-ADFF-9687AC583F38}"/>
              </a:ext>
            </a:extLst>
          </p:cNvPr>
          <p:cNvSpPr txBox="1">
            <a:spLocks/>
          </p:cNvSpPr>
          <p:nvPr/>
        </p:nvSpPr>
        <p:spPr>
          <a:xfrm>
            <a:off x="1908260" y="4113517"/>
            <a:ext cx="4464496" cy="37988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a:t>Data </a:t>
            </a:r>
            <a:r>
              <a:rPr lang="nb-NO" sz="1800" err="1"/>
              <a:t>Modelling</a:t>
            </a:r>
            <a:endParaRPr lang="nb-NO" sz="1800"/>
          </a:p>
          <a:p>
            <a:endParaRPr lang="nb-NO" sz="1800"/>
          </a:p>
        </p:txBody>
      </p:sp>
      <p:sp>
        <p:nvSpPr>
          <p:cNvPr id="144" name="TextBox 143">
            <a:extLst>
              <a:ext uri="{FF2B5EF4-FFF2-40B4-BE49-F238E27FC236}">
                <a16:creationId xmlns:a16="http://schemas.microsoft.com/office/drawing/2014/main" id="{62DB5779-885E-4C34-BAA4-94F35CC481CE}"/>
              </a:ext>
            </a:extLst>
          </p:cNvPr>
          <p:cNvSpPr txBox="1"/>
          <p:nvPr/>
        </p:nvSpPr>
        <p:spPr>
          <a:xfrm>
            <a:off x="7409600" y="5703780"/>
            <a:ext cx="2880320" cy="369332"/>
          </a:xfrm>
          <a:prstGeom prst="rect">
            <a:avLst/>
          </a:prstGeom>
          <a:noFill/>
        </p:spPr>
        <p:txBody>
          <a:bodyPr wrap="square" rtlCol="0">
            <a:spAutoFit/>
          </a:bodyPr>
          <a:lstStyle/>
          <a:p>
            <a:r>
              <a:rPr lang="nb-NO"/>
              <a:t>Metadata</a:t>
            </a:r>
          </a:p>
        </p:txBody>
      </p:sp>
      <p:sp>
        <p:nvSpPr>
          <p:cNvPr id="145" name="TextBox 144">
            <a:extLst>
              <a:ext uri="{FF2B5EF4-FFF2-40B4-BE49-F238E27FC236}">
                <a16:creationId xmlns:a16="http://schemas.microsoft.com/office/drawing/2014/main" id="{0830D84A-6645-4A0C-8472-0630991843CE}"/>
              </a:ext>
            </a:extLst>
          </p:cNvPr>
          <p:cNvSpPr txBox="1"/>
          <p:nvPr/>
        </p:nvSpPr>
        <p:spPr>
          <a:xfrm>
            <a:off x="3097511" y="5745666"/>
            <a:ext cx="2085995" cy="369332"/>
          </a:xfrm>
          <a:prstGeom prst="rect">
            <a:avLst/>
          </a:prstGeom>
          <a:noFill/>
        </p:spPr>
        <p:txBody>
          <a:bodyPr wrap="square" rtlCol="0">
            <a:spAutoFit/>
          </a:bodyPr>
          <a:lstStyle/>
          <a:p>
            <a:r>
              <a:rPr lang="nb-NO" err="1"/>
              <a:t>Documentation</a:t>
            </a:r>
            <a:endParaRPr lang="nb-NO"/>
          </a:p>
        </p:txBody>
      </p:sp>
      <p:pic>
        <p:nvPicPr>
          <p:cNvPr id="122" name="Graphic 121" descr="Label with solid fill">
            <a:extLst>
              <a:ext uri="{FF2B5EF4-FFF2-40B4-BE49-F238E27FC236}">
                <a16:creationId xmlns:a16="http://schemas.microsoft.com/office/drawing/2014/main" id="{265EA163-75B5-418B-A8D1-0BC40BB752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26020" y="5392412"/>
            <a:ext cx="610338" cy="610338"/>
          </a:xfrm>
          <a:prstGeom prst="rect">
            <a:avLst/>
          </a:prstGeom>
        </p:spPr>
      </p:pic>
      <p:pic>
        <p:nvPicPr>
          <p:cNvPr id="146" name="Graphic 145" descr="Blockchain with solid fill">
            <a:extLst>
              <a:ext uri="{FF2B5EF4-FFF2-40B4-BE49-F238E27FC236}">
                <a16:creationId xmlns:a16="http://schemas.microsoft.com/office/drawing/2014/main" id="{2D57AD4C-A153-44E3-89F5-E4AF840186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04360" y="3926049"/>
            <a:ext cx="610338" cy="610338"/>
          </a:xfrm>
          <a:prstGeom prst="rect">
            <a:avLst/>
          </a:prstGeom>
        </p:spPr>
      </p:pic>
      <p:pic>
        <p:nvPicPr>
          <p:cNvPr id="148" name="Graphic 147" descr="Drawing compass with solid fill">
            <a:extLst>
              <a:ext uri="{FF2B5EF4-FFF2-40B4-BE49-F238E27FC236}">
                <a16:creationId xmlns:a16="http://schemas.microsoft.com/office/drawing/2014/main" id="{94A47B4E-A779-4279-936A-AFD045537C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21844" y="2253212"/>
            <a:ext cx="610338" cy="610338"/>
          </a:xfrm>
          <a:prstGeom prst="rect">
            <a:avLst/>
          </a:prstGeom>
        </p:spPr>
      </p:pic>
      <p:pic>
        <p:nvPicPr>
          <p:cNvPr id="150" name="Graphic 149" descr="Board Of Directors with solid fill">
            <a:extLst>
              <a:ext uri="{FF2B5EF4-FFF2-40B4-BE49-F238E27FC236}">
                <a16:creationId xmlns:a16="http://schemas.microsoft.com/office/drawing/2014/main" id="{FFD7AD13-770B-43E5-8B7E-907AA0BAA96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74739" y="1462162"/>
            <a:ext cx="610338" cy="610338"/>
          </a:xfrm>
          <a:prstGeom prst="rect">
            <a:avLst/>
          </a:prstGeom>
        </p:spPr>
      </p:pic>
      <p:pic>
        <p:nvPicPr>
          <p:cNvPr id="154" name="Graphic 153" descr="Folder Search with solid fill">
            <a:extLst>
              <a:ext uri="{FF2B5EF4-FFF2-40B4-BE49-F238E27FC236}">
                <a16:creationId xmlns:a16="http://schemas.microsoft.com/office/drawing/2014/main" id="{C359D303-3C1A-4207-AA46-BF1CF727666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07493" y="5341152"/>
            <a:ext cx="599452" cy="599452"/>
          </a:xfrm>
          <a:prstGeom prst="rect">
            <a:avLst/>
          </a:prstGeom>
        </p:spPr>
      </p:pic>
      <p:sp>
        <p:nvSpPr>
          <p:cNvPr id="52" name="Text Placeholder 2">
            <a:extLst>
              <a:ext uri="{FF2B5EF4-FFF2-40B4-BE49-F238E27FC236}">
                <a16:creationId xmlns:a16="http://schemas.microsoft.com/office/drawing/2014/main" id="{AA4A6385-DEB8-4F1E-B148-26F78DB92D6F}"/>
              </a:ext>
            </a:extLst>
          </p:cNvPr>
          <p:cNvSpPr txBox="1">
            <a:spLocks/>
          </p:cNvSpPr>
          <p:nvPr/>
        </p:nvSpPr>
        <p:spPr>
          <a:xfrm>
            <a:off x="5207219" y="3496493"/>
            <a:ext cx="1833445" cy="74104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nb-NO" sz="1800"/>
              <a:t>DATA GOVERNANCE</a:t>
            </a:r>
          </a:p>
          <a:p>
            <a:pPr algn="ctr"/>
            <a:endParaRPr lang="nb-NO" sz="1800"/>
          </a:p>
        </p:txBody>
      </p:sp>
      <p:sp>
        <p:nvSpPr>
          <p:cNvPr id="53" name="Oval 52">
            <a:extLst>
              <a:ext uri="{FF2B5EF4-FFF2-40B4-BE49-F238E27FC236}">
                <a16:creationId xmlns:a16="http://schemas.microsoft.com/office/drawing/2014/main" id="{38B395AC-9DFA-4379-B632-AD1CAF7715C6}"/>
              </a:ext>
            </a:extLst>
          </p:cNvPr>
          <p:cNvSpPr/>
          <p:nvPr/>
        </p:nvSpPr>
        <p:spPr bwMode="auto">
          <a:xfrm>
            <a:off x="3654119" y="2979747"/>
            <a:ext cx="788999" cy="756311"/>
          </a:xfrm>
          <a:prstGeom prst="ellipse">
            <a:avLst/>
          </a:prstGeom>
          <a:solidFill>
            <a:schemeClr val="tx2">
              <a:lumMod val="90000"/>
              <a:lumOff val="1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4" name="Oval 53">
            <a:extLst>
              <a:ext uri="{FF2B5EF4-FFF2-40B4-BE49-F238E27FC236}">
                <a16:creationId xmlns:a16="http://schemas.microsoft.com/office/drawing/2014/main" id="{9336BEEE-AA0C-4285-B362-D5EA297899C7}"/>
              </a:ext>
            </a:extLst>
          </p:cNvPr>
          <p:cNvSpPr/>
          <p:nvPr/>
        </p:nvSpPr>
        <p:spPr bwMode="auto">
          <a:xfrm>
            <a:off x="4017432" y="4706680"/>
            <a:ext cx="788999" cy="756311"/>
          </a:xfrm>
          <a:prstGeom prst="ellipse">
            <a:avLst/>
          </a:prstGeom>
          <a:solidFill>
            <a:schemeClr val="accent1">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5" name="Oval 54">
            <a:extLst>
              <a:ext uri="{FF2B5EF4-FFF2-40B4-BE49-F238E27FC236}">
                <a16:creationId xmlns:a16="http://schemas.microsoft.com/office/drawing/2014/main" id="{82237457-7B31-46BC-9B3F-9AB50A205A89}"/>
              </a:ext>
            </a:extLst>
          </p:cNvPr>
          <p:cNvSpPr/>
          <p:nvPr/>
        </p:nvSpPr>
        <p:spPr bwMode="auto">
          <a:xfrm>
            <a:off x="5708323" y="5416815"/>
            <a:ext cx="788999" cy="756311"/>
          </a:xfrm>
          <a:prstGeom prst="ellipse">
            <a:avLst/>
          </a:prstGeom>
          <a:solidFill>
            <a:schemeClr val="accent2">
              <a:lumMod val="5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6" name="Oval 55">
            <a:extLst>
              <a:ext uri="{FF2B5EF4-FFF2-40B4-BE49-F238E27FC236}">
                <a16:creationId xmlns:a16="http://schemas.microsoft.com/office/drawing/2014/main" id="{1C6F6ABF-20BA-4864-B7E1-F795B4E02870}"/>
              </a:ext>
            </a:extLst>
          </p:cNvPr>
          <p:cNvSpPr/>
          <p:nvPr/>
        </p:nvSpPr>
        <p:spPr bwMode="auto">
          <a:xfrm>
            <a:off x="7408141" y="4689446"/>
            <a:ext cx="788999" cy="756311"/>
          </a:xfrm>
          <a:prstGeom prst="ellips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7" name="Oval 56">
            <a:extLst>
              <a:ext uri="{FF2B5EF4-FFF2-40B4-BE49-F238E27FC236}">
                <a16:creationId xmlns:a16="http://schemas.microsoft.com/office/drawing/2014/main" id="{75A6203A-1162-4F2E-AA32-B99878C96E21}"/>
              </a:ext>
            </a:extLst>
          </p:cNvPr>
          <p:cNvSpPr/>
          <p:nvPr/>
        </p:nvSpPr>
        <p:spPr bwMode="auto">
          <a:xfrm>
            <a:off x="7786874" y="3002401"/>
            <a:ext cx="788999" cy="756311"/>
          </a:xfrm>
          <a:prstGeom prst="ellipse">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8" name="Oval 57">
            <a:extLst>
              <a:ext uri="{FF2B5EF4-FFF2-40B4-BE49-F238E27FC236}">
                <a16:creationId xmlns:a16="http://schemas.microsoft.com/office/drawing/2014/main" id="{3EF13A74-153B-4109-A0BC-6B4379768288}"/>
              </a:ext>
            </a:extLst>
          </p:cNvPr>
          <p:cNvSpPr/>
          <p:nvPr/>
        </p:nvSpPr>
        <p:spPr bwMode="auto">
          <a:xfrm>
            <a:off x="6706840" y="1567136"/>
            <a:ext cx="788999" cy="756311"/>
          </a:xfrm>
          <a:prstGeom prst="ellipse">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59" name="Oval 58">
            <a:extLst>
              <a:ext uri="{FF2B5EF4-FFF2-40B4-BE49-F238E27FC236}">
                <a16:creationId xmlns:a16="http://schemas.microsoft.com/office/drawing/2014/main" id="{692517F4-9C03-4CF6-ACE3-91979496ED93}"/>
              </a:ext>
            </a:extLst>
          </p:cNvPr>
          <p:cNvSpPr/>
          <p:nvPr/>
        </p:nvSpPr>
        <p:spPr bwMode="auto">
          <a:xfrm>
            <a:off x="4781994" y="1543964"/>
            <a:ext cx="788999" cy="756311"/>
          </a:xfrm>
          <a:prstGeom prst="ellipse">
            <a:avLst/>
          </a:prstGeom>
          <a:solidFill>
            <a:schemeClr val="tx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a:ln>
                <a:noFill/>
              </a:ln>
              <a:effectLst/>
              <a:cs typeface="Arial" charset="0"/>
            </a:endParaRPr>
          </a:p>
        </p:txBody>
      </p:sp>
      <p:sp>
        <p:nvSpPr>
          <p:cNvPr id="60" name="TextBox 59">
            <a:extLst>
              <a:ext uri="{FF2B5EF4-FFF2-40B4-BE49-F238E27FC236}">
                <a16:creationId xmlns:a16="http://schemas.microsoft.com/office/drawing/2014/main" id="{BDBC6530-A1BF-44B4-91F4-EBF9CDF59D28}"/>
              </a:ext>
            </a:extLst>
          </p:cNvPr>
          <p:cNvSpPr txBox="1"/>
          <p:nvPr/>
        </p:nvSpPr>
        <p:spPr>
          <a:xfrm>
            <a:off x="5356621" y="6141264"/>
            <a:ext cx="2085995" cy="646331"/>
          </a:xfrm>
          <a:prstGeom prst="rect">
            <a:avLst/>
          </a:prstGeom>
          <a:noFill/>
        </p:spPr>
        <p:txBody>
          <a:bodyPr wrap="square" rtlCol="0">
            <a:spAutoFit/>
          </a:bodyPr>
          <a:lstStyle/>
          <a:p>
            <a:r>
              <a:rPr lang="nb-NO"/>
              <a:t>Data Catalog</a:t>
            </a:r>
          </a:p>
          <a:p>
            <a:endParaRPr lang="nb-NO"/>
          </a:p>
        </p:txBody>
      </p:sp>
      <p:sp>
        <p:nvSpPr>
          <p:cNvPr id="61" name="TextBox 60">
            <a:extLst>
              <a:ext uri="{FF2B5EF4-FFF2-40B4-BE49-F238E27FC236}">
                <a16:creationId xmlns:a16="http://schemas.microsoft.com/office/drawing/2014/main" id="{5A4FD6D8-ED8C-4FF1-B05B-43412BDCBB74}"/>
              </a:ext>
            </a:extLst>
          </p:cNvPr>
          <p:cNvSpPr txBox="1"/>
          <p:nvPr/>
        </p:nvSpPr>
        <p:spPr>
          <a:xfrm>
            <a:off x="7415504" y="1434527"/>
            <a:ext cx="2268252" cy="369332"/>
          </a:xfrm>
          <a:prstGeom prst="rect">
            <a:avLst/>
          </a:prstGeom>
          <a:noFill/>
        </p:spPr>
        <p:txBody>
          <a:bodyPr wrap="square" rtlCol="0">
            <a:spAutoFit/>
          </a:bodyPr>
          <a:lstStyle/>
          <a:p>
            <a:r>
              <a:rPr lang="nb-NO"/>
              <a:t>Business </a:t>
            </a:r>
            <a:r>
              <a:rPr lang="nb-NO" err="1"/>
              <a:t>Glossary</a:t>
            </a:r>
            <a:endParaRPr lang="nb-NO"/>
          </a:p>
        </p:txBody>
      </p:sp>
      <p:sp>
        <p:nvSpPr>
          <p:cNvPr id="62" name="TextBox 61">
            <a:extLst>
              <a:ext uri="{FF2B5EF4-FFF2-40B4-BE49-F238E27FC236}">
                <a16:creationId xmlns:a16="http://schemas.microsoft.com/office/drawing/2014/main" id="{4C211ACA-D01C-4A8E-9DC3-1AC40D28EA81}"/>
              </a:ext>
            </a:extLst>
          </p:cNvPr>
          <p:cNvSpPr txBox="1"/>
          <p:nvPr/>
        </p:nvSpPr>
        <p:spPr>
          <a:xfrm>
            <a:off x="2072524" y="3185459"/>
            <a:ext cx="1860790" cy="369332"/>
          </a:xfrm>
          <a:prstGeom prst="rect">
            <a:avLst/>
          </a:prstGeom>
          <a:noFill/>
        </p:spPr>
        <p:txBody>
          <a:bodyPr wrap="square" rtlCol="0">
            <a:spAutoFit/>
          </a:bodyPr>
          <a:lstStyle/>
          <a:p>
            <a:r>
              <a:rPr lang="nb-NO"/>
              <a:t>Data </a:t>
            </a:r>
            <a:r>
              <a:rPr lang="nb-NO" err="1"/>
              <a:t>Lineage</a:t>
            </a:r>
            <a:endParaRPr lang="nb-NO"/>
          </a:p>
        </p:txBody>
      </p:sp>
      <p:pic>
        <p:nvPicPr>
          <p:cNvPr id="63" name="Graphic 62" descr="Books with solid fill">
            <a:extLst>
              <a:ext uri="{FF2B5EF4-FFF2-40B4-BE49-F238E27FC236}">
                <a16:creationId xmlns:a16="http://schemas.microsoft.com/office/drawing/2014/main" id="{E760C45F-EDCC-47C2-956A-A32EF530E96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63453" y="5559690"/>
            <a:ext cx="496944" cy="496944"/>
          </a:xfrm>
          <a:prstGeom prst="rect">
            <a:avLst/>
          </a:prstGeom>
        </p:spPr>
      </p:pic>
      <p:pic>
        <p:nvPicPr>
          <p:cNvPr id="64" name="Graphic 63" descr="Cause And Effect with solid fill">
            <a:extLst>
              <a:ext uri="{FF2B5EF4-FFF2-40B4-BE49-F238E27FC236}">
                <a16:creationId xmlns:a16="http://schemas.microsoft.com/office/drawing/2014/main" id="{8BD94A63-31D7-4134-B216-17325DD75B2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732713" y="3102718"/>
            <a:ext cx="610338" cy="610338"/>
          </a:xfrm>
          <a:prstGeom prst="rect">
            <a:avLst/>
          </a:prstGeom>
        </p:spPr>
      </p:pic>
      <p:pic>
        <p:nvPicPr>
          <p:cNvPr id="65" name="Graphic 64" descr="Calligraphy Pen with solid fill">
            <a:extLst>
              <a:ext uri="{FF2B5EF4-FFF2-40B4-BE49-F238E27FC236}">
                <a16:creationId xmlns:a16="http://schemas.microsoft.com/office/drawing/2014/main" id="{323F2383-9340-4A16-AA21-077FE7F73EE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851123" y="1691941"/>
            <a:ext cx="457826" cy="457826"/>
          </a:xfrm>
          <a:prstGeom prst="rect">
            <a:avLst/>
          </a:prstGeom>
        </p:spPr>
      </p:pic>
      <p:pic>
        <p:nvPicPr>
          <p:cNvPr id="27" name="Graphic 26" descr="Continuous Improvement with solid fill">
            <a:extLst>
              <a:ext uri="{FF2B5EF4-FFF2-40B4-BE49-F238E27FC236}">
                <a16:creationId xmlns:a16="http://schemas.microsoft.com/office/drawing/2014/main" id="{5D9F01D5-28FC-4430-85D3-B3ECF73F182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516585" y="4777023"/>
            <a:ext cx="607200" cy="607200"/>
          </a:xfrm>
          <a:prstGeom prst="rect">
            <a:avLst/>
          </a:prstGeom>
        </p:spPr>
      </p:pic>
      <p:pic>
        <p:nvPicPr>
          <p:cNvPr id="29" name="Graphic 28" descr="Box with solid fill">
            <a:extLst>
              <a:ext uri="{FF2B5EF4-FFF2-40B4-BE49-F238E27FC236}">
                <a16:creationId xmlns:a16="http://schemas.microsoft.com/office/drawing/2014/main" id="{ABCAB84B-8C5B-41C4-8998-D78C04A7849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877773" y="3068350"/>
            <a:ext cx="607200" cy="607200"/>
          </a:xfrm>
          <a:prstGeom prst="rect">
            <a:avLst/>
          </a:prstGeom>
        </p:spPr>
      </p:pic>
      <p:pic>
        <p:nvPicPr>
          <p:cNvPr id="71" name="Graphic 70" descr="Checklist">
            <a:extLst>
              <a:ext uri="{FF2B5EF4-FFF2-40B4-BE49-F238E27FC236}">
                <a16:creationId xmlns:a16="http://schemas.microsoft.com/office/drawing/2014/main" id="{D2C5906F-67CD-49B5-8236-2CF6981D6B0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129391" y="4826464"/>
            <a:ext cx="533460" cy="533460"/>
          </a:xfrm>
          <a:prstGeom prst="rect">
            <a:avLst/>
          </a:prstGeom>
        </p:spPr>
      </p:pic>
      <p:pic>
        <p:nvPicPr>
          <p:cNvPr id="72" name="Graphic 71" descr="Target Audience">
            <a:extLst>
              <a:ext uri="{FF2B5EF4-FFF2-40B4-BE49-F238E27FC236}">
                <a16:creationId xmlns:a16="http://schemas.microsoft.com/office/drawing/2014/main" id="{0EE8E924-26F2-4A78-AC82-07D7BE4922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868965" y="1617389"/>
            <a:ext cx="583297" cy="583297"/>
          </a:xfrm>
          <a:prstGeom prst="rect">
            <a:avLst/>
          </a:prstGeom>
        </p:spPr>
      </p:pic>
      <p:sp>
        <p:nvSpPr>
          <p:cNvPr id="73" name="TextBox 72">
            <a:extLst>
              <a:ext uri="{FF2B5EF4-FFF2-40B4-BE49-F238E27FC236}">
                <a16:creationId xmlns:a16="http://schemas.microsoft.com/office/drawing/2014/main" id="{5BF1D4E2-7215-43BD-B974-46C405A86C65}"/>
              </a:ext>
            </a:extLst>
          </p:cNvPr>
          <p:cNvSpPr txBox="1"/>
          <p:nvPr/>
        </p:nvSpPr>
        <p:spPr>
          <a:xfrm>
            <a:off x="8713821" y="3185459"/>
            <a:ext cx="3024336" cy="369332"/>
          </a:xfrm>
          <a:prstGeom prst="rect">
            <a:avLst/>
          </a:prstGeom>
          <a:noFill/>
        </p:spPr>
        <p:txBody>
          <a:bodyPr wrap="square" rtlCol="0">
            <a:spAutoFit/>
          </a:bodyPr>
          <a:lstStyle/>
          <a:p>
            <a:r>
              <a:rPr lang="nb-NO"/>
              <a:t>Data Storage</a:t>
            </a:r>
          </a:p>
        </p:txBody>
      </p:sp>
      <p:sp>
        <p:nvSpPr>
          <p:cNvPr id="74" name="TextBox 73">
            <a:extLst>
              <a:ext uri="{FF2B5EF4-FFF2-40B4-BE49-F238E27FC236}">
                <a16:creationId xmlns:a16="http://schemas.microsoft.com/office/drawing/2014/main" id="{4B9D27CA-68F1-4C52-AB63-15D5F6714E22}"/>
              </a:ext>
            </a:extLst>
          </p:cNvPr>
          <p:cNvSpPr txBox="1"/>
          <p:nvPr/>
        </p:nvSpPr>
        <p:spPr>
          <a:xfrm>
            <a:off x="8268923" y="4971820"/>
            <a:ext cx="3024336" cy="369332"/>
          </a:xfrm>
          <a:prstGeom prst="rect">
            <a:avLst/>
          </a:prstGeom>
          <a:noFill/>
        </p:spPr>
        <p:txBody>
          <a:bodyPr wrap="square" rtlCol="0">
            <a:spAutoFit/>
          </a:bodyPr>
          <a:lstStyle/>
          <a:p>
            <a:r>
              <a:rPr lang="nb-NO" err="1"/>
              <a:t>Processes</a:t>
            </a:r>
            <a:endParaRPr lang="nb-NO"/>
          </a:p>
        </p:txBody>
      </p:sp>
      <p:sp>
        <p:nvSpPr>
          <p:cNvPr id="75" name="TextBox 74">
            <a:extLst>
              <a:ext uri="{FF2B5EF4-FFF2-40B4-BE49-F238E27FC236}">
                <a16:creationId xmlns:a16="http://schemas.microsoft.com/office/drawing/2014/main" id="{0545D77D-F10C-4930-8BE5-0E83A9280A5D}"/>
              </a:ext>
            </a:extLst>
          </p:cNvPr>
          <p:cNvSpPr txBox="1"/>
          <p:nvPr/>
        </p:nvSpPr>
        <p:spPr>
          <a:xfrm>
            <a:off x="2661207" y="5026615"/>
            <a:ext cx="3024336" cy="369332"/>
          </a:xfrm>
          <a:prstGeom prst="rect">
            <a:avLst/>
          </a:prstGeom>
          <a:noFill/>
        </p:spPr>
        <p:txBody>
          <a:bodyPr wrap="square" rtlCol="0">
            <a:spAutoFit/>
          </a:bodyPr>
          <a:lstStyle/>
          <a:p>
            <a:r>
              <a:rPr lang="nb-NO" err="1"/>
              <a:t>Policies</a:t>
            </a:r>
            <a:endParaRPr lang="nb-NO"/>
          </a:p>
        </p:txBody>
      </p:sp>
      <p:sp>
        <p:nvSpPr>
          <p:cNvPr id="76" name="TextBox 75">
            <a:extLst>
              <a:ext uri="{FF2B5EF4-FFF2-40B4-BE49-F238E27FC236}">
                <a16:creationId xmlns:a16="http://schemas.microsoft.com/office/drawing/2014/main" id="{96025B90-1E78-46AA-BCCB-D63CDFB3A2F3}"/>
              </a:ext>
            </a:extLst>
          </p:cNvPr>
          <p:cNvSpPr txBox="1"/>
          <p:nvPr/>
        </p:nvSpPr>
        <p:spPr>
          <a:xfrm>
            <a:off x="3929065" y="1392347"/>
            <a:ext cx="3024336" cy="369332"/>
          </a:xfrm>
          <a:prstGeom prst="rect">
            <a:avLst/>
          </a:prstGeom>
          <a:noFill/>
        </p:spPr>
        <p:txBody>
          <a:bodyPr wrap="square" rtlCol="0">
            <a:spAutoFit/>
          </a:bodyPr>
          <a:lstStyle/>
          <a:p>
            <a:r>
              <a:rPr lang="nb-NO" err="1"/>
              <a:t>Roles</a:t>
            </a:r>
            <a:endParaRPr lang="nb-NO"/>
          </a:p>
        </p:txBody>
      </p:sp>
      <p:pic>
        <p:nvPicPr>
          <p:cNvPr id="66" name="Graphic 65" descr="Police female outline">
            <a:extLst>
              <a:ext uri="{FF2B5EF4-FFF2-40B4-BE49-F238E27FC236}">
                <a16:creationId xmlns:a16="http://schemas.microsoft.com/office/drawing/2014/main" id="{25798BED-1FF3-4AA4-BFAC-AFDBB4A66290}"/>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931437" y="4025305"/>
            <a:ext cx="517537" cy="517537"/>
          </a:xfrm>
          <a:prstGeom prst="rect">
            <a:avLst/>
          </a:prstGeom>
        </p:spPr>
      </p:pic>
    </p:spTree>
    <p:extLst>
      <p:ext uri="{BB962C8B-B14F-4D97-AF65-F5344CB8AC3E}">
        <p14:creationId xmlns:p14="http://schemas.microsoft.com/office/powerpoint/2010/main" val="37739316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9" ma:contentTypeDescription="Create a new document." ma:contentTypeScope="" ma:versionID="6e9e2595fa1084b1a028894ca2627931">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42542138c7c0860554875b300c3d4ef7"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Confidential (Sec 1)</Classification>
  </documentManagement>
</p:properties>
</file>

<file path=customXml/itemProps1.xml><?xml version="1.0" encoding="utf-8"?>
<ds:datastoreItem xmlns:ds="http://schemas.openxmlformats.org/officeDocument/2006/customXml" ds:itemID="{45A12B7A-91D0-4963-8273-A191D47164EB}">
  <ds:schemaRefs>
    <ds:schemaRef ds:uri="83fd27e2-85d6-4e10-9bbd-a3e555ecf21b"/>
    <ds:schemaRef ds:uri="f1122fed-4606-4ec8-90ef-13536176a3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8765F6DA-EDFD-4C3F-B2EB-EDE359E124E2}">
  <ds:schemaRefs>
    <ds:schemaRef ds:uri="http://schemas.microsoft.com/office/2006/metadata/properties"/>
    <ds:schemaRef ds:uri="http://www.w3.org/XML/1998/namespace"/>
    <ds:schemaRef ds:uri="83fd27e2-85d6-4e10-9bbd-a3e555ecf21b"/>
    <ds:schemaRef ds:uri="http://purl.org/dc/elements/1.1/"/>
    <ds:schemaRef ds:uri="f1122fed-4606-4ec8-90ef-13536176a38c"/>
    <ds:schemaRef ds:uri="http://purl.org/dc/dcmitype/"/>
    <ds:schemaRef ds:uri="http://purl.org/dc/terms/"/>
    <ds:schemaRef ds:uri="http://schemas.microsoft.com/office/2006/documentManagement/type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Capgemini Template</Template>
  <TotalTime>2093</TotalTime>
  <Words>3501</Words>
  <Application>Microsoft Macintosh PowerPoint</Application>
  <PresentationFormat>Widescreen</PresentationFormat>
  <Paragraphs>991</Paragraphs>
  <Slides>81</Slides>
  <Notes>33</Notes>
  <HiddenSlides>5</HiddenSlides>
  <MMClips>0</MMClips>
  <ScaleCrop>false</ScaleCrop>
  <HeadingPairs>
    <vt:vector size="8" baseType="variant">
      <vt:variant>
        <vt:lpstr>Brukte skrifter</vt:lpstr>
      </vt:variant>
      <vt:variant>
        <vt:i4>9</vt:i4>
      </vt:variant>
      <vt:variant>
        <vt:lpstr>Tema</vt:lpstr>
      </vt:variant>
      <vt:variant>
        <vt:i4>2</vt:i4>
      </vt:variant>
      <vt:variant>
        <vt:lpstr>Innebygde OLE-servere</vt:lpstr>
      </vt:variant>
      <vt:variant>
        <vt:i4>1</vt:i4>
      </vt:variant>
      <vt:variant>
        <vt:lpstr>Lysbildetitler</vt:lpstr>
      </vt:variant>
      <vt:variant>
        <vt:i4>81</vt:i4>
      </vt:variant>
    </vt:vector>
  </HeadingPairs>
  <TitlesOfParts>
    <vt:vector size="93" baseType="lpstr">
      <vt:lpstr>Calibri</vt:lpstr>
      <vt:lpstr>Arial</vt:lpstr>
      <vt:lpstr>Wingdings</vt:lpstr>
      <vt:lpstr>Ubuntu Medium</vt:lpstr>
      <vt:lpstr>Verdana</vt:lpstr>
      <vt:lpstr>Open Sans</vt:lpstr>
      <vt:lpstr>Ubuntu Light</vt:lpstr>
      <vt:lpstr>Ubuntu</vt:lpstr>
      <vt:lpstr>Arial</vt:lpstr>
      <vt:lpstr>Capgemini Master 2021</vt:lpstr>
      <vt:lpstr>Cover options_Section</vt:lpstr>
      <vt:lpstr>think-cell Slide</vt:lpstr>
      <vt:lpstr>Building trust in your data</vt:lpstr>
      <vt:lpstr>Agenda</vt:lpstr>
      <vt:lpstr>Marthe Moengen</vt:lpstr>
      <vt:lpstr>Johan Ludvig Brattås</vt:lpstr>
      <vt:lpstr>What is data governance?</vt:lpstr>
      <vt:lpstr>What is data governance?</vt:lpstr>
      <vt:lpstr>What is data governance?</vt:lpstr>
      <vt:lpstr>Why Should you care?</vt:lpstr>
      <vt:lpstr>What is data governance?</vt:lpstr>
      <vt:lpstr>What is data governance?</vt:lpstr>
      <vt:lpstr>Data management</vt:lpstr>
      <vt:lpstr>Data management</vt:lpstr>
      <vt:lpstr>Data catalog</vt:lpstr>
      <vt:lpstr>DEMO</vt:lpstr>
      <vt:lpstr>Data catalog</vt:lpstr>
      <vt:lpstr>PowerPoint-presentasjon</vt:lpstr>
      <vt:lpstr>PowerPoint-presentasjon</vt:lpstr>
      <vt:lpstr>PowerPoint-presentasjon</vt:lpstr>
      <vt:lpstr>PowerPoint-presentasjon</vt:lpstr>
      <vt:lpstr>PowerPoint-presentasjon</vt:lpstr>
      <vt:lpstr>Business glossary</vt:lpstr>
      <vt:lpstr>DEMO</vt:lpstr>
      <vt:lpstr>Data quality</vt:lpstr>
      <vt:lpstr>Data quality</vt:lpstr>
      <vt:lpstr>Data linEage</vt:lpstr>
      <vt:lpstr>DEMO</vt:lpstr>
      <vt:lpstr>Data LOSS PREVENTION &amp; privacy</vt:lpstr>
      <vt:lpstr>DEMO</vt:lpstr>
      <vt:lpstr>So, should you care?</vt:lpstr>
      <vt:lpstr>So, should you care?</vt:lpstr>
      <vt:lpstr>So, should you care?</vt:lpstr>
      <vt:lpstr>So, should you care?</vt:lpstr>
      <vt:lpstr>THANK YOU!</vt:lpstr>
      <vt:lpstr>PowerPoint-presentasjon</vt:lpstr>
      <vt:lpstr>So, should you care?</vt:lpstr>
      <vt:lpstr>So, should you care?</vt:lpstr>
      <vt:lpstr>PowerPoint-presentasjon</vt:lpstr>
      <vt:lpstr>Data LOSS PREVENTION &amp; privacy</vt:lpstr>
      <vt:lpstr>What is data governance?</vt:lpstr>
      <vt:lpstr>Icons Collection (non-exhaustive list)</vt:lpstr>
      <vt:lpstr>Data linage</vt:lpstr>
      <vt:lpstr>Icons Collection (non-exhaustive list)</vt:lpstr>
      <vt:lpstr>Icons Collection (non-exhaustive list)</vt:lpstr>
      <vt:lpstr>PowerPoint-presentasjon</vt:lpstr>
      <vt:lpstr>Title of presentation</vt:lpstr>
      <vt:lpstr>Title         of the presentation</vt:lpstr>
      <vt:lpstr>SECTION TITLE ALL CAPS, LOREM IPSUM DOLOR AMET.</vt:lpstr>
      <vt:lpstr>SECTION TITLE</vt:lpstr>
      <vt:lpstr>TITLE</vt:lpstr>
      <vt:lpstr>It captures the spirit  &amp; energy of Capgemini</vt:lpstr>
      <vt:lpstr>PowerPoint-presentasjon</vt:lpstr>
      <vt:lpstr>PowerPoint-presentasjon</vt:lpstr>
      <vt:lpstr>TITLE UBUNTU CAPS (WORK FOR 1 OR 2 LINES OF TITLE)</vt:lpstr>
      <vt:lpstr>TITLE UBUNTU CAPS (WORK FOR 1 OR 2 LINES OF TITLE)</vt:lpstr>
      <vt:lpstr>Title Ubuntu CAPS (Work for 1 or 2 lines of title)</vt:lpstr>
      <vt:lpstr>TITLE UBUNTU CAPS (WORK FOR 1 OR 2 LINES OF TITLE)</vt:lpstr>
      <vt:lpstr>PowerPoint-presentasjon</vt:lpstr>
      <vt:lpstr>PowerPoint-presentasjon</vt:lpstr>
      <vt:lpstr>“This is a VERY           IMPORTANT AND  CLEAR QUOTE”</vt:lpstr>
      <vt:lpstr>Title (Work for 1 or 2 lines of title)</vt:lpstr>
      <vt:lpstr>Title (Work for 1 or 2 lines of title)</vt:lpstr>
      <vt:lpstr>Title (Work for 1 or 2 lines of title)</vt:lpstr>
      <vt:lpstr>Charts MUST stick to one palette per chart</vt:lpstr>
      <vt:lpstr>Charts MUST stick to one palette per chart</vt:lpstr>
      <vt:lpstr>TITLE UBUNTU CAPS</vt:lpstr>
      <vt:lpstr>Cool palette use example</vt:lpstr>
      <vt:lpstr>Warm palette use example</vt:lpstr>
      <vt:lpstr>Title (Work for 1 or 2 lines of title)</vt:lpstr>
      <vt:lpstr>Title (Work for 1 or 2 lines of title)</vt:lpstr>
      <vt:lpstr>Contacts </vt:lpstr>
      <vt:lpstr>PowerPoint-presentasjon</vt:lpstr>
      <vt:lpstr>PowerPoint-presentasjon</vt:lpstr>
      <vt:lpstr>PowerPoint-presentasjon</vt:lpstr>
      <vt:lpstr>SUPPORTING  GRAPHIC ELEMENT STYLE</vt:lpstr>
      <vt:lpstr>PowerPoint-presentasjon</vt:lpstr>
      <vt:lpstr>Color palette </vt:lpstr>
      <vt:lpstr>PowerPoint-presentasjon</vt:lpstr>
      <vt:lpstr>PowerPoint-presentasjon</vt:lpstr>
      <vt:lpstr>ILLUSTRATION STYLE 2-colors only from primary or secondary palette</vt:lpstr>
      <vt:lpstr>ICONS STYLE</vt:lpstr>
      <vt:lpstr>PowerPoint-presentasj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Capgemini template</dc:subject>
  <dc:creator>Moengen, Marthe</dc:creator>
  <cp:lastModifiedBy>Brattås, Johan Ludvig</cp:lastModifiedBy>
  <cp:revision>2</cp:revision>
  <dcterms:created xsi:type="dcterms:W3CDTF">2021-09-17T05:52:58Z</dcterms:created>
  <dcterms:modified xsi:type="dcterms:W3CDTF">2022-06-07T10:25:56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ies>
</file>